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7.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8.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0.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1.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2.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3.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4.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15.xml" ContentType="application/vnd.openxmlformats-officedocument.theme+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16.xml" ContentType="application/vnd.openxmlformats-officedocument.theme+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tags/tag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heme/themeOverride1.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4" r:id="rId1"/>
    <p:sldMasterId id="2147483994" r:id="rId2"/>
    <p:sldMasterId id="2147484267" r:id="rId3"/>
    <p:sldMasterId id="2147484317" r:id="rId4"/>
    <p:sldMasterId id="2147484353" r:id="rId5"/>
    <p:sldMasterId id="2147484387" r:id="rId6"/>
    <p:sldMasterId id="2147484411" r:id="rId7"/>
    <p:sldMasterId id="2147484447" r:id="rId8"/>
    <p:sldMasterId id="2147484460" r:id="rId9"/>
    <p:sldMasterId id="2147484480" r:id="rId10"/>
    <p:sldMasterId id="2147484502" r:id="rId11"/>
    <p:sldMasterId id="2147484523" r:id="rId12"/>
    <p:sldMasterId id="2147484535" r:id="rId13"/>
    <p:sldMasterId id="2147484632" r:id="rId14"/>
    <p:sldMasterId id="2147484676" r:id="rId15"/>
    <p:sldMasterId id="2147484733" r:id="rId16"/>
    <p:sldMasterId id="2147484741" r:id="rId17"/>
  </p:sldMasterIdLst>
  <p:notesMasterIdLst>
    <p:notesMasterId r:id="rId79"/>
  </p:notesMasterIdLst>
  <p:sldIdLst>
    <p:sldId id="2076136272" r:id="rId18"/>
    <p:sldId id="2076136293" r:id="rId19"/>
    <p:sldId id="2076136294" r:id="rId20"/>
    <p:sldId id="2134804900" r:id="rId21"/>
    <p:sldId id="2134804902" r:id="rId22"/>
    <p:sldId id="4655" r:id="rId23"/>
    <p:sldId id="483" r:id="rId24"/>
    <p:sldId id="10586" r:id="rId25"/>
    <p:sldId id="2076137765" r:id="rId26"/>
    <p:sldId id="2076137690" r:id="rId27"/>
    <p:sldId id="2076137598" r:id="rId28"/>
    <p:sldId id="2076137599" r:id="rId29"/>
    <p:sldId id="2076137600" r:id="rId30"/>
    <p:sldId id="2076137601" r:id="rId31"/>
    <p:sldId id="272" r:id="rId32"/>
    <p:sldId id="2147471622" r:id="rId33"/>
    <p:sldId id="262" r:id="rId34"/>
    <p:sldId id="2076136060" r:id="rId35"/>
    <p:sldId id="263" r:id="rId36"/>
    <p:sldId id="2076136051" r:id="rId37"/>
    <p:sldId id="261" r:id="rId38"/>
    <p:sldId id="2076136061" r:id="rId39"/>
    <p:sldId id="4627" r:id="rId40"/>
    <p:sldId id="2134804911" r:id="rId41"/>
    <p:sldId id="2147471623" r:id="rId42"/>
    <p:sldId id="293" r:id="rId43"/>
    <p:sldId id="294" r:id="rId44"/>
    <p:sldId id="2134804904" r:id="rId45"/>
    <p:sldId id="324" r:id="rId46"/>
    <p:sldId id="325" r:id="rId47"/>
    <p:sldId id="326" r:id="rId48"/>
    <p:sldId id="327" r:id="rId49"/>
    <p:sldId id="328" r:id="rId50"/>
    <p:sldId id="329" r:id="rId51"/>
    <p:sldId id="330" r:id="rId52"/>
    <p:sldId id="331" r:id="rId53"/>
    <p:sldId id="332" r:id="rId54"/>
    <p:sldId id="333" r:id="rId55"/>
    <p:sldId id="334" r:id="rId56"/>
    <p:sldId id="2147471608" r:id="rId57"/>
    <p:sldId id="2147471609" r:id="rId58"/>
    <p:sldId id="2147471610" r:id="rId59"/>
    <p:sldId id="2147471611" r:id="rId60"/>
    <p:sldId id="2147471612" r:id="rId61"/>
    <p:sldId id="2147471613" r:id="rId62"/>
    <p:sldId id="2147471614" r:id="rId63"/>
    <p:sldId id="2147471615" r:id="rId64"/>
    <p:sldId id="2147471616" r:id="rId65"/>
    <p:sldId id="2147471617" r:id="rId66"/>
    <p:sldId id="2147471618" r:id="rId67"/>
    <p:sldId id="2147471619" r:id="rId68"/>
    <p:sldId id="2147471620" r:id="rId69"/>
    <p:sldId id="2147471621" r:id="rId70"/>
    <p:sldId id="2147471624" r:id="rId71"/>
    <p:sldId id="278" r:id="rId72"/>
    <p:sldId id="273" r:id="rId73"/>
    <p:sldId id="277" r:id="rId74"/>
    <p:sldId id="2147471607" r:id="rId75"/>
    <p:sldId id="2076136873" r:id="rId76"/>
    <p:sldId id="2076136299" r:id="rId77"/>
    <p:sldId id="2076136302"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EA94E37-A767-40B5-B46B-B7107A627240}">
          <p14:sldIdLst>
            <p14:sldId id="2076136272"/>
            <p14:sldId id="2076136293"/>
            <p14:sldId id="2076136294"/>
            <p14:sldId id="2134804900"/>
            <p14:sldId id="2134804902"/>
            <p14:sldId id="4655"/>
            <p14:sldId id="483"/>
            <p14:sldId id="10586"/>
            <p14:sldId id="2076137765"/>
            <p14:sldId id="2076137690"/>
            <p14:sldId id="2076137598"/>
            <p14:sldId id="2076137599"/>
            <p14:sldId id="2076137600"/>
            <p14:sldId id="2076137601"/>
            <p14:sldId id="272"/>
            <p14:sldId id="2147471622"/>
            <p14:sldId id="262"/>
            <p14:sldId id="2076136060"/>
            <p14:sldId id="263"/>
            <p14:sldId id="2076136051"/>
            <p14:sldId id="261"/>
            <p14:sldId id="2076136061"/>
            <p14:sldId id="4627"/>
            <p14:sldId id="2134804911"/>
            <p14:sldId id="2147471623"/>
            <p14:sldId id="293"/>
            <p14:sldId id="294"/>
            <p14:sldId id="2134804904"/>
            <p14:sldId id="324"/>
            <p14:sldId id="325"/>
            <p14:sldId id="326"/>
            <p14:sldId id="327"/>
            <p14:sldId id="328"/>
            <p14:sldId id="329"/>
            <p14:sldId id="330"/>
            <p14:sldId id="331"/>
            <p14:sldId id="332"/>
            <p14:sldId id="333"/>
            <p14:sldId id="334"/>
            <p14:sldId id="2147471608"/>
            <p14:sldId id="2147471609"/>
            <p14:sldId id="2147471610"/>
            <p14:sldId id="2147471611"/>
            <p14:sldId id="2147471612"/>
            <p14:sldId id="2147471613"/>
            <p14:sldId id="2147471614"/>
            <p14:sldId id="2147471615"/>
            <p14:sldId id="2147471616"/>
            <p14:sldId id="2147471617"/>
            <p14:sldId id="2147471618"/>
            <p14:sldId id="2147471619"/>
            <p14:sldId id="2147471620"/>
            <p14:sldId id="2147471621"/>
            <p14:sldId id="2147471624"/>
            <p14:sldId id="278"/>
            <p14:sldId id="273"/>
            <p14:sldId id="277"/>
            <p14:sldId id="2147471607"/>
            <p14:sldId id="2076136873"/>
            <p14:sldId id="2076136299"/>
            <p14:sldId id="207613630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17" autoAdjust="0"/>
    <p:restoredTop sz="94660"/>
  </p:normalViewPr>
  <p:slideViewPr>
    <p:cSldViewPr snapToGrid="0">
      <p:cViewPr varScale="1">
        <p:scale>
          <a:sx n="108" d="100"/>
          <a:sy n="108" d="100"/>
        </p:scale>
        <p:origin x="39" y="8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microsoft.com/office/2016/11/relationships/changesInfo" Target="changesInfos/changesInfo1.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44.xml"/><Relationship Id="rId82" Type="http://schemas.openxmlformats.org/officeDocument/2006/relationships/theme" Target="theme/theme1.xml"/><Relationship Id="rId19" Type="http://schemas.openxmlformats.org/officeDocument/2006/relationships/slide" Target="slides/slide2.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slideMaster" Target="slideMasters/slideMaster8.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7" Type="http://schemas.openxmlformats.org/officeDocument/2006/relationships/slideMaster" Target="slideMasters/slideMaster7.xml"/><Relationship Id="rId71" Type="http://schemas.openxmlformats.org/officeDocument/2006/relationships/slide" Target="slides/slide54.xml"/><Relationship Id="rId2" Type="http://schemas.openxmlformats.org/officeDocument/2006/relationships/slideMaster" Target="slideMasters/slideMaster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nya Sriram" userId="31246c95-b325-49bd-b9d7-da3f09848d21" providerId="ADAL" clId="{BD20BE7E-72EA-4327-8326-1145F18CD28D}"/>
    <pc:docChg chg="undo custSel addSld delSld modSld sldOrd delMainMaster modMainMaster modSection">
      <pc:chgData name="Saranya Sriram" userId="31246c95-b325-49bd-b9d7-da3f09848d21" providerId="ADAL" clId="{BD20BE7E-72EA-4327-8326-1145F18CD28D}" dt="2022-10-21T00:24:27.867" v="1001" actId="729"/>
      <pc:docMkLst>
        <pc:docMk/>
      </pc:docMkLst>
      <pc:sldChg chg="modSp add del mod setBg">
        <pc:chgData name="Saranya Sriram" userId="31246c95-b325-49bd-b9d7-da3f09848d21" providerId="ADAL" clId="{BD20BE7E-72EA-4327-8326-1145F18CD28D}" dt="2022-10-20T11:32:22.209" v="958" actId="1076"/>
        <pc:sldMkLst>
          <pc:docMk/>
          <pc:sldMk cId="2399107941" sldId="257"/>
        </pc:sldMkLst>
        <pc:spChg chg="mod">
          <ac:chgData name="Saranya Sriram" userId="31246c95-b325-49bd-b9d7-da3f09848d21" providerId="ADAL" clId="{BD20BE7E-72EA-4327-8326-1145F18CD28D}" dt="2022-10-20T11:32:13.040" v="954" actId="1076"/>
          <ac:spMkLst>
            <pc:docMk/>
            <pc:sldMk cId="2399107941" sldId="257"/>
            <ac:spMk id="2" creationId="{3F08C4C3-8D30-09E1-9665-F07EB6896518}"/>
          </ac:spMkLst>
        </pc:spChg>
        <pc:spChg chg="mod">
          <ac:chgData name="Saranya Sriram" userId="31246c95-b325-49bd-b9d7-da3f09848d21" providerId="ADAL" clId="{BD20BE7E-72EA-4327-8326-1145F18CD28D}" dt="2022-10-20T11:32:22.209" v="958" actId="1076"/>
          <ac:spMkLst>
            <pc:docMk/>
            <pc:sldMk cId="2399107941" sldId="257"/>
            <ac:spMk id="3" creationId="{744406DF-1C80-C80B-CC2A-6F1D77C39784}"/>
          </ac:spMkLst>
        </pc:spChg>
        <pc:picChg chg="mod">
          <ac:chgData name="Saranya Sriram" userId="31246c95-b325-49bd-b9d7-da3f09848d21" providerId="ADAL" clId="{BD20BE7E-72EA-4327-8326-1145F18CD28D}" dt="2022-10-20T11:32:06.967" v="953" actId="1076"/>
          <ac:picMkLst>
            <pc:docMk/>
            <pc:sldMk cId="2399107941" sldId="257"/>
            <ac:picMk id="1026" creationId="{B5CEF84F-E0F5-041E-3683-5D4E45007FC1}"/>
          </ac:picMkLst>
        </pc:picChg>
      </pc:sldChg>
      <pc:sldChg chg="modSp add del mod ord">
        <pc:chgData name="Saranya Sriram" userId="31246c95-b325-49bd-b9d7-da3f09848d21" providerId="ADAL" clId="{BD20BE7E-72EA-4327-8326-1145F18CD28D}" dt="2022-10-20T11:31:47.080" v="949" actId="47"/>
        <pc:sldMkLst>
          <pc:docMk/>
          <pc:sldMk cId="1200036845" sldId="258"/>
        </pc:sldMkLst>
        <pc:spChg chg="mod">
          <ac:chgData name="Saranya Sriram" userId="31246c95-b325-49bd-b9d7-da3f09848d21" providerId="ADAL" clId="{BD20BE7E-72EA-4327-8326-1145F18CD28D}" dt="2022-10-20T11:24:19.107" v="750" actId="6549"/>
          <ac:spMkLst>
            <pc:docMk/>
            <pc:sldMk cId="1200036845" sldId="258"/>
            <ac:spMk id="2" creationId="{22099538-33DE-7069-4907-A571C8B508A0}"/>
          </ac:spMkLst>
        </pc:spChg>
        <pc:spChg chg="mod">
          <ac:chgData name="Saranya Sriram" userId="31246c95-b325-49bd-b9d7-da3f09848d21" providerId="ADAL" clId="{BD20BE7E-72EA-4327-8326-1145F18CD28D}" dt="2022-10-20T11:31:37.100" v="948" actId="6549"/>
          <ac:spMkLst>
            <pc:docMk/>
            <pc:sldMk cId="1200036845" sldId="258"/>
            <ac:spMk id="3" creationId="{69A25E41-92A3-F6BB-C477-9B4AB8FBA433}"/>
          </ac:spMkLst>
        </pc:spChg>
      </pc:sldChg>
      <pc:sldChg chg="del">
        <pc:chgData name="Saranya Sriram" userId="31246c95-b325-49bd-b9d7-da3f09848d21" providerId="ADAL" clId="{BD20BE7E-72EA-4327-8326-1145F18CD28D}" dt="2022-10-20T10:18:37.242" v="542" actId="47"/>
        <pc:sldMkLst>
          <pc:docMk/>
          <pc:sldMk cId="4076938399" sldId="266"/>
        </pc:sldMkLst>
      </pc:sldChg>
      <pc:sldChg chg="mod modShow">
        <pc:chgData name="Saranya Sriram" userId="31246c95-b325-49bd-b9d7-da3f09848d21" providerId="ADAL" clId="{BD20BE7E-72EA-4327-8326-1145F18CD28D}" dt="2022-10-21T00:24:27.867" v="1001" actId="729"/>
        <pc:sldMkLst>
          <pc:docMk/>
          <pc:sldMk cId="1838407168" sldId="327"/>
        </pc:sldMkLst>
      </pc:sldChg>
      <pc:sldChg chg="mod modShow">
        <pc:chgData name="Saranya Sriram" userId="31246c95-b325-49bd-b9d7-da3f09848d21" providerId="ADAL" clId="{BD20BE7E-72EA-4327-8326-1145F18CD28D}" dt="2022-10-21T00:24:27.867" v="1001" actId="729"/>
        <pc:sldMkLst>
          <pc:docMk/>
          <pc:sldMk cId="4023108316" sldId="328"/>
        </pc:sldMkLst>
      </pc:sldChg>
      <pc:sldChg chg="mod modShow">
        <pc:chgData name="Saranya Sriram" userId="31246c95-b325-49bd-b9d7-da3f09848d21" providerId="ADAL" clId="{BD20BE7E-72EA-4327-8326-1145F18CD28D}" dt="2022-10-21T00:24:27.867" v="1001" actId="729"/>
        <pc:sldMkLst>
          <pc:docMk/>
          <pc:sldMk cId="846420661" sldId="329"/>
        </pc:sldMkLst>
      </pc:sldChg>
      <pc:sldChg chg="mod modShow">
        <pc:chgData name="Saranya Sriram" userId="31246c95-b325-49bd-b9d7-da3f09848d21" providerId="ADAL" clId="{BD20BE7E-72EA-4327-8326-1145F18CD28D}" dt="2022-10-21T00:24:27.867" v="1001" actId="729"/>
        <pc:sldMkLst>
          <pc:docMk/>
          <pc:sldMk cId="2921325512" sldId="330"/>
        </pc:sldMkLst>
      </pc:sldChg>
      <pc:sldChg chg="mod modShow">
        <pc:chgData name="Saranya Sriram" userId="31246c95-b325-49bd-b9d7-da3f09848d21" providerId="ADAL" clId="{BD20BE7E-72EA-4327-8326-1145F18CD28D}" dt="2022-10-21T00:24:27.867" v="1001" actId="729"/>
        <pc:sldMkLst>
          <pc:docMk/>
          <pc:sldMk cId="346958051" sldId="331"/>
        </pc:sldMkLst>
      </pc:sldChg>
      <pc:sldChg chg="mod modShow">
        <pc:chgData name="Saranya Sriram" userId="31246c95-b325-49bd-b9d7-da3f09848d21" providerId="ADAL" clId="{BD20BE7E-72EA-4327-8326-1145F18CD28D}" dt="2022-10-21T00:24:27.867" v="1001" actId="729"/>
        <pc:sldMkLst>
          <pc:docMk/>
          <pc:sldMk cId="2324839824" sldId="332"/>
        </pc:sldMkLst>
      </pc:sldChg>
      <pc:sldChg chg="del">
        <pc:chgData name="Saranya Sriram" userId="31246c95-b325-49bd-b9d7-da3f09848d21" providerId="ADAL" clId="{BD20BE7E-72EA-4327-8326-1145F18CD28D}" dt="2022-10-20T15:38:23.605" v="977" actId="47"/>
        <pc:sldMkLst>
          <pc:docMk/>
          <pc:sldMk cId="1441770186" sldId="1796"/>
        </pc:sldMkLst>
      </pc:sldChg>
      <pc:sldChg chg="modSp mod">
        <pc:chgData name="Saranya Sriram" userId="31246c95-b325-49bd-b9d7-da3f09848d21" providerId="ADAL" clId="{BD20BE7E-72EA-4327-8326-1145F18CD28D}" dt="2022-10-20T15:42:24.901" v="1000" actId="20577"/>
        <pc:sldMkLst>
          <pc:docMk/>
          <pc:sldMk cId="3594037179" sldId="4655"/>
        </pc:sldMkLst>
        <pc:spChg chg="mod">
          <ac:chgData name="Saranya Sriram" userId="31246c95-b325-49bd-b9d7-da3f09848d21" providerId="ADAL" clId="{BD20BE7E-72EA-4327-8326-1145F18CD28D}" dt="2022-10-20T15:42:24.901" v="1000" actId="20577"/>
          <ac:spMkLst>
            <pc:docMk/>
            <pc:sldMk cId="3594037179" sldId="4655"/>
            <ac:spMk id="8" creationId="{54FF628B-6CC3-462E-AF13-3E1490D9B525}"/>
          </ac:spMkLst>
        </pc:spChg>
      </pc:sldChg>
      <pc:sldChg chg="addSp delSp modSp mod modAnim">
        <pc:chgData name="Saranya Sriram" userId="31246c95-b325-49bd-b9d7-da3f09848d21" providerId="ADAL" clId="{BD20BE7E-72EA-4327-8326-1145F18CD28D}" dt="2022-10-20T10:46:35.654" v="609" actId="1076"/>
        <pc:sldMkLst>
          <pc:docMk/>
          <pc:sldMk cId="2957099409" sldId="10586"/>
        </pc:sldMkLst>
        <pc:spChg chg="add mod">
          <ac:chgData name="Saranya Sriram" userId="31246c95-b325-49bd-b9d7-da3f09848d21" providerId="ADAL" clId="{BD20BE7E-72EA-4327-8326-1145F18CD28D}" dt="2022-10-20T10:46:31.361" v="608" actId="1076"/>
          <ac:spMkLst>
            <pc:docMk/>
            <pc:sldMk cId="2957099409" sldId="10586"/>
            <ac:spMk id="19" creationId="{6E7D5A0B-D934-56A4-8DEB-9F0E28EBEC65}"/>
          </ac:spMkLst>
        </pc:spChg>
        <pc:spChg chg="add del mod">
          <ac:chgData name="Saranya Sriram" userId="31246c95-b325-49bd-b9d7-da3f09848d21" providerId="ADAL" clId="{BD20BE7E-72EA-4327-8326-1145F18CD28D}" dt="2022-10-20T10:40:30.170" v="567"/>
          <ac:spMkLst>
            <pc:docMk/>
            <pc:sldMk cId="2957099409" sldId="10586"/>
            <ac:spMk id="21" creationId="{B717D492-71B1-D0E4-C36D-0ACCA2D7F96A}"/>
          </ac:spMkLst>
        </pc:spChg>
        <pc:spChg chg="add">
          <ac:chgData name="Saranya Sriram" userId="31246c95-b325-49bd-b9d7-da3f09848d21" providerId="ADAL" clId="{BD20BE7E-72EA-4327-8326-1145F18CD28D}" dt="2022-10-20T10:40:34.774" v="568"/>
          <ac:spMkLst>
            <pc:docMk/>
            <pc:sldMk cId="2957099409" sldId="10586"/>
            <ac:spMk id="22" creationId="{F6DB34F6-D415-17B2-4C62-10B512E7391F}"/>
          </ac:spMkLst>
        </pc:spChg>
        <pc:spChg chg="add mod">
          <ac:chgData name="Saranya Sriram" userId="31246c95-b325-49bd-b9d7-da3f09848d21" providerId="ADAL" clId="{BD20BE7E-72EA-4327-8326-1145F18CD28D}" dt="2022-10-20T10:40:59.576" v="571"/>
          <ac:spMkLst>
            <pc:docMk/>
            <pc:sldMk cId="2957099409" sldId="10586"/>
            <ac:spMk id="23" creationId="{8F21803C-1942-E8C6-7876-696C5F9EA540}"/>
          </ac:spMkLst>
        </pc:spChg>
        <pc:spChg chg="add del mod">
          <ac:chgData name="Saranya Sriram" userId="31246c95-b325-49bd-b9d7-da3f09848d21" providerId="ADAL" clId="{BD20BE7E-72EA-4327-8326-1145F18CD28D}" dt="2022-10-20T10:41:35.865" v="573"/>
          <ac:spMkLst>
            <pc:docMk/>
            <pc:sldMk cId="2957099409" sldId="10586"/>
            <ac:spMk id="24" creationId="{137503DC-B499-7086-898F-6BB6349E3BE8}"/>
          </ac:spMkLst>
        </pc:spChg>
        <pc:spChg chg="mod">
          <ac:chgData name="Saranya Sriram" userId="31246c95-b325-49bd-b9d7-da3f09848d21" providerId="ADAL" clId="{BD20BE7E-72EA-4327-8326-1145F18CD28D}" dt="2022-10-20T10:45:21.902" v="584"/>
          <ac:spMkLst>
            <pc:docMk/>
            <pc:sldMk cId="2957099409" sldId="10586"/>
            <ac:spMk id="27" creationId="{D3BC7B4B-A746-73E7-C904-6274A3E6769F}"/>
          </ac:spMkLst>
        </pc:spChg>
        <pc:spChg chg="mod">
          <ac:chgData name="Saranya Sriram" userId="31246c95-b325-49bd-b9d7-da3f09848d21" providerId="ADAL" clId="{BD20BE7E-72EA-4327-8326-1145F18CD28D}" dt="2022-10-20T10:45:21.902" v="584"/>
          <ac:spMkLst>
            <pc:docMk/>
            <pc:sldMk cId="2957099409" sldId="10586"/>
            <ac:spMk id="28" creationId="{E053A5F6-0255-FD8B-40D7-308DE8269019}"/>
          </ac:spMkLst>
        </pc:spChg>
        <pc:spChg chg="mod">
          <ac:chgData name="Saranya Sriram" userId="31246c95-b325-49bd-b9d7-da3f09848d21" providerId="ADAL" clId="{BD20BE7E-72EA-4327-8326-1145F18CD28D}" dt="2022-10-20T10:45:21.902" v="584"/>
          <ac:spMkLst>
            <pc:docMk/>
            <pc:sldMk cId="2957099409" sldId="10586"/>
            <ac:spMk id="29" creationId="{4D453549-C5D7-9050-5FC9-355878105155}"/>
          </ac:spMkLst>
        </pc:spChg>
        <pc:spChg chg="mod">
          <ac:chgData name="Saranya Sriram" userId="31246c95-b325-49bd-b9d7-da3f09848d21" providerId="ADAL" clId="{BD20BE7E-72EA-4327-8326-1145F18CD28D}" dt="2022-10-20T10:45:21.902" v="584"/>
          <ac:spMkLst>
            <pc:docMk/>
            <pc:sldMk cId="2957099409" sldId="10586"/>
            <ac:spMk id="30" creationId="{E6918F32-ECDD-8EB2-C470-C3F0B9DAF103}"/>
          </ac:spMkLst>
        </pc:spChg>
        <pc:spChg chg="mod">
          <ac:chgData name="Saranya Sriram" userId="31246c95-b325-49bd-b9d7-da3f09848d21" providerId="ADAL" clId="{BD20BE7E-72EA-4327-8326-1145F18CD28D}" dt="2022-10-20T10:45:21.902" v="584"/>
          <ac:spMkLst>
            <pc:docMk/>
            <pc:sldMk cId="2957099409" sldId="10586"/>
            <ac:spMk id="31" creationId="{FCEFDD94-94ED-CA58-9E01-D5DD419956E7}"/>
          </ac:spMkLst>
        </pc:spChg>
        <pc:spChg chg="mod">
          <ac:chgData name="Saranya Sriram" userId="31246c95-b325-49bd-b9d7-da3f09848d21" providerId="ADAL" clId="{BD20BE7E-72EA-4327-8326-1145F18CD28D}" dt="2022-10-20T10:45:21.902" v="584"/>
          <ac:spMkLst>
            <pc:docMk/>
            <pc:sldMk cId="2957099409" sldId="10586"/>
            <ac:spMk id="32" creationId="{61008D0E-4F4F-203D-163E-608728A67B1D}"/>
          </ac:spMkLst>
        </pc:spChg>
        <pc:spChg chg="mod">
          <ac:chgData name="Saranya Sriram" userId="31246c95-b325-49bd-b9d7-da3f09848d21" providerId="ADAL" clId="{BD20BE7E-72EA-4327-8326-1145F18CD28D}" dt="2022-10-20T10:45:21.902" v="584"/>
          <ac:spMkLst>
            <pc:docMk/>
            <pc:sldMk cId="2957099409" sldId="10586"/>
            <ac:spMk id="33" creationId="{35633F73-8DB7-069D-4AA8-3CEB5F98300F}"/>
          </ac:spMkLst>
        </pc:spChg>
        <pc:spChg chg="add mod">
          <ac:chgData name="Saranya Sriram" userId="31246c95-b325-49bd-b9d7-da3f09848d21" providerId="ADAL" clId="{BD20BE7E-72EA-4327-8326-1145F18CD28D}" dt="2022-10-20T10:46:05.538" v="602" actId="1076"/>
          <ac:spMkLst>
            <pc:docMk/>
            <pc:sldMk cId="2957099409" sldId="10586"/>
            <ac:spMk id="34" creationId="{DC0B7A22-C068-DEE9-2FAA-37B913522A81}"/>
          </ac:spMkLst>
        </pc:spChg>
        <pc:spChg chg="mod">
          <ac:chgData name="Saranya Sriram" userId="31246c95-b325-49bd-b9d7-da3f09848d21" providerId="ADAL" clId="{BD20BE7E-72EA-4327-8326-1145F18CD28D}" dt="2022-10-20T10:46:23.524" v="606" actId="1076"/>
          <ac:spMkLst>
            <pc:docMk/>
            <pc:sldMk cId="2957099409" sldId="10586"/>
            <ac:spMk id="102" creationId="{AD9C9A99-5A34-48F0-8113-90B132EF6B58}"/>
          </ac:spMkLst>
        </pc:spChg>
        <pc:spChg chg="mod">
          <ac:chgData name="Saranya Sriram" userId="31246c95-b325-49bd-b9d7-da3f09848d21" providerId="ADAL" clId="{BD20BE7E-72EA-4327-8326-1145F18CD28D}" dt="2022-10-20T10:46:19.303" v="605" actId="1076"/>
          <ac:spMkLst>
            <pc:docMk/>
            <pc:sldMk cId="2957099409" sldId="10586"/>
            <ac:spMk id="129" creationId="{3CD89C3D-A152-4322-93C1-1960C7B7C55B}"/>
          </ac:spMkLst>
        </pc:spChg>
        <pc:spChg chg="mod">
          <ac:chgData name="Saranya Sriram" userId="31246c95-b325-49bd-b9d7-da3f09848d21" providerId="ADAL" clId="{BD20BE7E-72EA-4327-8326-1145F18CD28D}" dt="2022-10-20T10:40:38.097" v="570" actId="1076"/>
          <ac:spMkLst>
            <pc:docMk/>
            <pc:sldMk cId="2957099409" sldId="10586"/>
            <ac:spMk id="183" creationId="{00000000-0000-0000-0000-000000000000}"/>
          </ac:spMkLst>
        </pc:spChg>
        <pc:grpChg chg="mod">
          <ac:chgData name="Saranya Sriram" userId="31246c95-b325-49bd-b9d7-da3f09848d21" providerId="ADAL" clId="{BD20BE7E-72EA-4327-8326-1145F18CD28D}" dt="2022-10-20T10:46:11.338" v="603" actId="1076"/>
          <ac:grpSpMkLst>
            <pc:docMk/>
            <pc:sldMk cId="2957099409" sldId="10586"/>
            <ac:grpSpMk id="14" creationId="{3E4BEB5F-9BD8-4935-BB62-0304D488C247}"/>
          </ac:grpSpMkLst>
        </pc:grpChg>
        <pc:grpChg chg="add mod">
          <ac:chgData name="Saranya Sriram" userId="31246c95-b325-49bd-b9d7-da3f09848d21" providerId="ADAL" clId="{BD20BE7E-72EA-4327-8326-1145F18CD28D}" dt="2022-10-20T10:45:55.904" v="600" actId="14100"/>
          <ac:grpSpMkLst>
            <pc:docMk/>
            <pc:sldMk cId="2957099409" sldId="10586"/>
            <ac:grpSpMk id="26" creationId="{BBF864C7-347C-1661-5F3E-56513AFCC1CF}"/>
          </ac:grpSpMkLst>
        </pc:grpChg>
        <pc:picChg chg="add del mod">
          <ac:chgData name="Saranya Sriram" userId="31246c95-b325-49bd-b9d7-da3f09848d21" providerId="ADAL" clId="{BD20BE7E-72EA-4327-8326-1145F18CD28D}" dt="2022-10-20T10:28:45.280" v="564" actId="478"/>
          <ac:picMkLst>
            <pc:docMk/>
            <pc:sldMk cId="2957099409" sldId="10586"/>
            <ac:picMk id="13" creationId="{CB4644A0-22EF-BE81-F22E-1BBE913218AB}"/>
          </ac:picMkLst>
        </pc:picChg>
        <pc:picChg chg="add mod">
          <ac:chgData name="Saranya Sriram" userId="31246c95-b325-49bd-b9d7-da3f09848d21" providerId="ADAL" clId="{BD20BE7E-72EA-4327-8326-1145F18CD28D}" dt="2022-10-20T10:46:35.654" v="609" actId="1076"/>
          <ac:picMkLst>
            <pc:docMk/>
            <pc:sldMk cId="2957099409" sldId="10586"/>
            <ac:picMk id="25" creationId="{AC87932E-CB58-5FE4-A4B3-D6BC5E15B501}"/>
          </ac:picMkLst>
        </pc:picChg>
        <pc:picChg chg="mod">
          <ac:chgData name="Saranya Sriram" userId="31246c95-b325-49bd-b9d7-da3f09848d21" providerId="ADAL" clId="{BD20BE7E-72EA-4327-8326-1145F18CD28D}" dt="2022-10-20T10:46:16.007" v="604" actId="1076"/>
          <ac:picMkLst>
            <pc:docMk/>
            <pc:sldMk cId="2957099409" sldId="10586"/>
            <ac:picMk id="99" creationId="{00000000-0000-0000-0000-000000000000}"/>
          </ac:picMkLst>
        </pc:picChg>
        <pc:picChg chg="mod">
          <ac:chgData name="Saranya Sriram" userId="31246c95-b325-49bd-b9d7-da3f09848d21" providerId="ADAL" clId="{BD20BE7E-72EA-4327-8326-1145F18CD28D}" dt="2022-10-20T10:46:28.122" v="607" actId="1076"/>
          <ac:picMkLst>
            <pc:docMk/>
            <pc:sldMk cId="2957099409" sldId="10586"/>
            <ac:picMk id="127" creationId="{1AB9531E-C57A-4C6E-BCE9-73AEDDA05974}"/>
          </ac:picMkLst>
        </pc:picChg>
      </pc:sldChg>
      <pc:sldChg chg="add del">
        <pc:chgData name="Saranya Sriram" userId="31246c95-b325-49bd-b9d7-da3f09848d21" providerId="ADAL" clId="{BD20BE7E-72EA-4327-8326-1145F18CD28D}" dt="2022-10-20T15:29:42.046" v="963"/>
        <pc:sldMkLst>
          <pc:docMk/>
          <pc:sldMk cId="1265037104" sldId="2076136272"/>
        </pc:sldMkLst>
      </pc:sldChg>
      <pc:sldChg chg="add del">
        <pc:chgData name="Saranya Sriram" userId="31246c95-b325-49bd-b9d7-da3f09848d21" providerId="ADAL" clId="{BD20BE7E-72EA-4327-8326-1145F18CD28D}" dt="2022-10-20T15:29:42.046" v="963"/>
        <pc:sldMkLst>
          <pc:docMk/>
          <pc:sldMk cId="817327830" sldId="2076136293"/>
        </pc:sldMkLst>
      </pc:sldChg>
      <pc:sldChg chg="add del">
        <pc:chgData name="Saranya Sriram" userId="31246c95-b325-49bd-b9d7-da3f09848d21" providerId="ADAL" clId="{BD20BE7E-72EA-4327-8326-1145F18CD28D}" dt="2022-10-20T15:29:42.046" v="963"/>
        <pc:sldMkLst>
          <pc:docMk/>
          <pc:sldMk cId="2654086310" sldId="2076136294"/>
        </pc:sldMkLst>
      </pc:sldChg>
      <pc:sldChg chg="add">
        <pc:chgData name="Saranya Sriram" userId="31246c95-b325-49bd-b9d7-da3f09848d21" providerId="ADAL" clId="{BD20BE7E-72EA-4327-8326-1145F18CD28D}" dt="2022-10-20T15:38:16.641" v="975"/>
        <pc:sldMkLst>
          <pc:docMk/>
          <pc:sldMk cId="2791352240" sldId="2076136299"/>
        </pc:sldMkLst>
      </pc:sldChg>
      <pc:sldChg chg="add">
        <pc:chgData name="Saranya Sriram" userId="31246c95-b325-49bd-b9d7-da3f09848d21" providerId="ADAL" clId="{BD20BE7E-72EA-4327-8326-1145F18CD28D}" dt="2022-10-20T15:38:16.641" v="975"/>
        <pc:sldMkLst>
          <pc:docMk/>
          <pc:sldMk cId="3584195944" sldId="2076136302"/>
        </pc:sldMkLst>
      </pc:sldChg>
      <pc:sldChg chg="modSp del mod">
        <pc:chgData name="Saranya Sriram" userId="31246c95-b325-49bd-b9d7-da3f09848d21" providerId="ADAL" clId="{BD20BE7E-72EA-4327-8326-1145F18CD28D}" dt="2022-10-20T15:29:44.519" v="974" actId="47"/>
        <pc:sldMkLst>
          <pc:docMk/>
          <pc:sldMk cId="563274325" sldId="2076137272"/>
        </pc:sldMkLst>
        <pc:spChg chg="mod">
          <ac:chgData name="Saranya Sriram" userId="31246c95-b325-49bd-b9d7-da3f09848d21" providerId="ADAL" clId="{BD20BE7E-72EA-4327-8326-1145F18CD28D}" dt="2022-10-20T10:18:32.609" v="540" actId="14100"/>
          <ac:spMkLst>
            <pc:docMk/>
            <pc:sldMk cId="563274325" sldId="2076137272"/>
            <ac:spMk id="2" creationId="{4CAC3DB0-6687-4FE1-803F-11956A29767A}"/>
          </ac:spMkLst>
        </pc:spChg>
      </pc:sldChg>
      <pc:sldChg chg="addSp delSp modSp mod">
        <pc:chgData name="Saranya Sriram" userId="31246c95-b325-49bd-b9d7-da3f09848d21" providerId="ADAL" clId="{BD20BE7E-72EA-4327-8326-1145F18CD28D}" dt="2022-10-20T11:06:54.514" v="730" actId="14100"/>
        <pc:sldMkLst>
          <pc:docMk/>
          <pc:sldMk cId="1687055591" sldId="2076137765"/>
        </pc:sldMkLst>
        <pc:spChg chg="mod">
          <ac:chgData name="Saranya Sriram" userId="31246c95-b325-49bd-b9d7-da3f09848d21" providerId="ADAL" clId="{BD20BE7E-72EA-4327-8326-1145F18CD28D}" dt="2022-10-20T11:03:36.478" v="632" actId="1076"/>
          <ac:spMkLst>
            <pc:docMk/>
            <pc:sldMk cId="1687055591" sldId="2076137765"/>
            <ac:spMk id="2" creationId="{49B048C3-B9D4-4691-959E-5DADD95C68D9}"/>
          </ac:spMkLst>
        </pc:spChg>
        <pc:spChg chg="mod">
          <ac:chgData name="Saranya Sriram" userId="31246c95-b325-49bd-b9d7-da3f09848d21" providerId="ADAL" clId="{BD20BE7E-72EA-4327-8326-1145F18CD28D}" dt="2022-10-20T11:04:39.937" v="659" actId="6549"/>
          <ac:spMkLst>
            <pc:docMk/>
            <pc:sldMk cId="1687055591" sldId="2076137765"/>
            <ac:spMk id="3" creationId="{83E262E4-F619-4C2C-B70F-70014EB31B88}"/>
          </ac:spMkLst>
        </pc:spChg>
        <pc:spChg chg="add mod">
          <ac:chgData name="Saranya Sriram" userId="31246c95-b325-49bd-b9d7-da3f09848d21" providerId="ADAL" clId="{BD20BE7E-72EA-4327-8326-1145F18CD28D}" dt="2022-10-20T11:06:36.302" v="728" actId="1076"/>
          <ac:spMkLst>
            <pc:docMk/>
            <pc:sldMk cId="1687055591" sldId="2076137765"/>
            <ac:spMk id="5" creationId="{97B181D9-6C3F-07BB-760A-386933F40A5E}"/>
          </ac:spMkLst>
        </pc:spChg>
        <pc:spChg chg="mod">
          <ac:chgData name="Saranya Sriram" userId="31246c95-b325-49bd-b9d7-da3f09848d21" providerId="ADAL" clId="{BD20BE7E-72EA-4327-8326-1145F18CD28D}" dt="2022-10-20T11:05:01.941" v="666" actId="1076"/>
          <ac:spMkLst>
            <pc:docMk/>
            <pc:sldMk cId="1687055591" sldId="2076137765"/>
            <ac:spMk id="7" creationId="{14CB3FA9-861C-49CF-B27F-30F7C9E4F0D3}"/>
          </ac:spMkLst>
        </pc:spChg>
        <pc:spChg chg="mod">
          <ac:chgData name="Saranya Sriram" userId="31246c95-b325-49bd-b9d7-da3f09848d21" providerId="ADAL" clId="{BD20BE7E-72EA-4327-8326-1145F18CD28D}" dt="2022-10-20T11:04:56.377" v="664" actId="1076"/>
          <ac:spMkLst>
            <pc:docMk/>
            <pc:sldMk cId="1687055591" sldId="2076137765"/>
            <ac:spMk id="8" creationId="{FC66DF5F-1BB5-4F84-A304-2F203EC7D591}"/>
          </ac:spMkLst>
        </pc:spChg>
        <pc:spChg chg="add del mod">
          <ac:chgData name="Saranya Sriram" userId="31246c95-b325-49bd-b9d7-da3f09848d21" providerId="ADAL" clId="{BD20BE7E-72EA-4327-8326-1145F18CD28D}" dt="2022-10-20T11:06:26.017" v="726" actId="478"/>
          <ac:spMkLst>
            <pc:docMk/>
            <pc:sldMk cId="1687055591" sldId="2076137765"/>
            <ac:spMk id="9" creationId="{F8E4A696-4468-EAB3-A256-14FEE9814416}"/>
          </ac:spMkLst>
        </pc:spChg>
        <pc:spChg chg="mod">
          <ac:chgData name="Saranya Sriram" userId="31246c95-b325-49bd-b9d7-da3f09848d21" providerId="ADAL" clId="{BD20BE7E-72EA-4327-8326-1145F18CD28D}" dt="2022-10-20T11:03:32.880" v="631" actId="1076"/>
          <ac:spMkLst>
            <pc:docMk/>
            <pc:sldMk cId="1687055591" sldId="2076137765"/>
            <ac:spMk id="40" creationId="{27A0127E-0686-794D-9BC4-29A76883BA65}"/>
          </ac:spMkLst>
        </pc:spChg>
        <pc:cxnChg chg="add mod">
          <ac:chgData name="Saranya Sriram" userId="31246c95-b325-49bd-b9d7-da3f09848d21" providerId="ADAL" clId="{BD20BE7E-72EA-4327-8326-1145F18CD28D}" dt="2022-10-20T11:04:58.929" v="665" actId="1076"/>
          <ac:cxnSpMkLst>
            <pc:docMk/>
            <pc:sldMk cId="1687055591" sldId="2076137765"/>
            <ac:cxnSpMk id="4" creationId="{8D94FB51-6E0A-AFE3-5A01-449773F9FBF5}"/>
          </ac:cxnSpMkLst>
        </pc:cxnChg>
        <pc:cxnChg chg="mod">
          <ac:chgData name="Saranya Sriram" userId="31246c95-b325-49bd-b9d7-da3f09848d21" providerId="ADAL" clId="{BD20BE7E-72EA-4327-8326-1145F18CD28D}" dt="2022-10-20T11:06:54.514" v="730" actId="14100"/>
          <ac:cxnSpMkLst>
            <pc:docMk/>
            <pc:sldMk cId="1687055591" sldId="2076137765"/>
            <ac:cxnSpMk id="146" creationId="{BFACAE2E-50FD-4A1E-AF57-EDD33B016D7C}"/>
          </ac:cxnSpMkLst>
        </pc:cxnChg>
        <pc:cxnChg chg="mod">
          <ac:chgData name="Saranya Sriram" userId="31246c95-b325-49bd-b9d7-da3f09848d21" providerId="ADAL" clId="{BD20BE7E-72EA-4327-8326-1145F18CD28D}" dt="2022-10-20T11:04:46.837" v="660" actId="1076"/>
          <ac:cxnSpMkLst>
            <pc:docMk/>
            <pc:sldMk cId="1687055591" sldId="2076137765"/>
            <ac:cxnSpMk id="147" creationId="{797405D9-47C6-4BEC-9886-41230EC421D3}"/>
          </ac:cxnSpMkLst>
        </pc:cxnChg>
      </pc:sldChg>
      <pc:sldChg chg="del">
        <pc:chgData name="Saranya Sriram" userId="31246c95-b325-49bd-b9d7-da3f09848d21" providerId="ADAL" clId="{BD20BE7E-72EA-4327-8326-1145F18CD28D}" dt="2022-10-20T10:18:36.406" v="541" actId="47"/>
        <pc:sldMkLst>
          <pc:docMk/>
          <pc:sldMk cId="3056045645" sldId="2134804901"/>
        </pc:sldMkLst>
      </pc:sldChg>
      <pc:sldChg chg="del">
        <pc:chgData name="Saranya Sriram" userId="31246c95-b325-49bd-b9d7-da3f09848d21" providerId="ADAL" clId="{BD20BE7E-72EA-4327-8326-1145F18CD28D}" dt="2022-10-20T15:38:20.896" v="976" actId="47"/>
        <pc:sldMkLst>
          <pc:docMk/>
          <pc:sldMk cId="2143349201" sldId="2134804910"/>
        </pc:sldMkLst>
      </pc:sldChg>
      <pc:sldChg chg="modSp mod">
        <pc:chgData name="Saranya Sriram" userId="31246c95-b325-49bd-b9d7-da3f09848d21" providerId="ADAL" clId="{BD20BE7E-72EA-4327-8326-1145F18CD28D}" dt="2022-10-20T11:31:30.004" v="947" actId="1076"/>
        <pc:sldMkLst>
          <pc:docMk/>
          <pc:sldMk cId="2407292317" sldId="2147471625"/>
        </pc:sldMkLst>
        <pc:spChg chg="mod">
          <ac:chgData name="Saranya Sriram" userId="31246c95-b325-49bd-b9d7-da3f09848d21" providerId="ADAL" clId="{BD20BE7E-72EA-4327-8326-1145F18CD28D}" dt="2022-10-20T11:30:50.140" v="937" actId="14100"/>
          <ac:spMkLst>
            <pc:docMk/>
            <pc:sldMk cId="2407292317" sldId="2147471625"/>
            <ac:spMk id="5" creationId="{ACAA475D-D25B-4EFB-8A76-C63841AA0FCA}"/>
          </ac:spMkLst>
        </pc:spChg>
        <pc:spChg chg="mod">
          <ac:chgData name="Saranya Sriram" userId="31246c95-b325-49bd-b9d7-da3f09848d21" providerId="ADAL" clId="{BD20BE7E-72EA-4327-8326-1145F18CD28D}" dt="2022-10-20T11:25:31.152" v="787" actId="1076"/>
          <ac:spMkLst>
            <pc:docMk/>
            <pc:sldMk cId="2407292317" sldId="2147471625"/>
            <ac:spMk id="10" creationId="{82D2A851-77C4-434A-A77E-7723ED5028AE}"/>
          </ac:spMkLst>
        </pc:spChg>
        <pc:spChg chg="mod">
          <ac:chgData name="Saranya Sriram" userId="31246c95-b325-49bd-b9d7-da3f09848d21" providerId="ADAL" clId="{BD20BE7E-72EA-4327-8326-1145F18CD28D}" dt="2022-10-20T11:26:49.955" v="813" actId="1076"/>
          <ac:spMkLst>
            <pc:docMk/>
            <pc:sldMk cId="2407292317" sldId="2147471625"/>
            <ac:spMk id="12" creationId="{C3B3238F-2933-4DE9-7009-4D14CAFA2388}"/>
          </ac:spMkLst>
        </pc:spChg>
        <pc:spChg chg="mod">
          <ac:chgData name="Saranya Sriram" userId="31246c95-b325-49bd-b9d7-da3f09848d21" providerId="ADAL" clId="{BD20BE7E-72EA-4327-8326-1145F18CD28D}" dt="2022-10-20T11:26:14.652" v="791" actId="1076"/>
          <ac:spMkLst>
            <pc:docMk/>
            <pc:sldMk cId="2407292317" sldId="2147471625"/>
            <ac:spMk id="15" creationId="{E564DF08-A254-4E12-B745-26C098436B43}"/>
          </ac:spMkLst>
        </pc:spChg>
        <pc:spChg chg="mod">
          <ac:chgData name="Saranya Sriram" userId="31246c95-b325-49bd-b9d7-da3f09848d21" providerId="ADAL" clId="{BD20BE7E-72EA-4327-8326-1145F18CD28D}" dt="2022-10-20T11:28:30.018" v="882" actId="20577"/>
          <ac:spMkLst>
            <pc:docMk/>
            <pc:sldMk cId="2407292317" sldId="2147471625"/>
            <ac:spMk id="30" creationId="{C74C5DA2-4922-4336-B6BA-AEF3152B4B65}"/>
          </ac:spMkLst>
        </pc:spChg>
        <pc:spChg chg="mod">
          <ac:chgData name="Saranya Sriram" userId="31246c95-b325-49bd-b9d7-da3f09848d21" providerId="ADAL" clId="{BD20BE7E-72EA-4327-8326-1145F18CD28D}" dt="2022-10-20T11:26:31.025" v="809" actId="1076"/>
          <ac:spMkLst>
            <pc:docMk/>
            <pc:sldMk cId="2407292317" sldId="2147471625"/>
            <ac:spMk id="44" creationId="{E5FA1A55-768D-4919-ADE4-175BDF64F45F}"/>
          </ac:spMkLst>
        </pc:spChg>
        <pc:spChg chg="mod">
          <ac:chgData name="Saranya Sriram" userId="31246c95-b325-49bd-b9d7-da3f09848d21" providerId="ADAL" clId="{BD20BE7E-72EA-4327-8326-1145F18CD28D}" dt="2022-10-20T11:26:53.676" v="814" actId="1076"/>
          <ac:spMkLst>
            <pc:docMk/>
            <pc:sldMk cId="2407292317" sldId="2147471625"/>
            <ac:spMk id="48" creationId="{B98D8D59-5CA2-483A-BB62-BFD0679C559F}"/>
          </ac:spMkLst>
        </pc:spChg>
        <pc:spChg chg="mod">
          <ac:chgData name="Saranya Sriram" userId="31246c95-b325-49bd-b9d7-da3f09848d21" providerId="ADAL" clId="{BD20BE7E-72EA-4327-8326-1145F18CD28D}" dt="2022-10-20T11:25:27.405" v="786" actId="1076"/>
          <ac:spMkLst>
            <pc:docMk/>
            <pc:sldMk cId="2407292317" sldId="2147471625"/>
            <ac:spMk id="49" creationId="{E60F03B3-CE83-4402-9BB3-F18815A98AD8}"/>
          </ac:spMkLst>
        </pc:spChg>
        <pc:spChg chg="mod">
          <ac:chgData name="Saranya Sriram" userId="31246c95-b325-49bd-b9d7-da3f09848d21" providerId="ADAL" clId="{BD20BE7E-72EA-4327-8326-1145F18CD28D}" dt="2022-10-20T11:25:33.740" v="788" actId="1076"/>
          <ac:spMkLst>
            <pc:docMk/>
            <pc:sldMk cId="2407292317" sldId="2147471625"/>
            <ac:spMk id="53" creationId="{8299744E-5EB6-46A7-81D8-CEEE8D72331B}"/>
          </ac:spMkLst>
        </pc:spChg>
        <pc:spChg chg="mod">
          <ac:chgData name="Saranya Sriram" userId="31246c95-b325-49bd-b9d7-da3f09848d21" providerId="ADAL" clId="{BD20BE7E-72EA-4327-8326-1145F18CD28D}" dt="2022-10-20T11:31:30.004" v="947" actId="1076"/>
          <ac:spMkLst>
            <pc:docMk/>
            <pc:sldMk cId="2407292317" sldId="2147471625"/>
            <ac:spMk id="56" creationId="{706FB2F6-2CC1-4D37-9895-04AF1808598E}"/>
          </ac:spMkLst>
        </pc:spChg>
        <pc:spChg chg="mod">
          <ac:chgData name="Saranya Sriram" userId="31246c95-b325-49bd-b9d7-da3f09848d21" providerId="ADAL" clId="{BD20BE7E-72EA-4327-8326-1145F18CD28D}" dt="2022-10-20T11:31:13.825" v="943" actId="108"/>
          <ac:spMkLst>
            <pc:docMk/>
            <pc:sldMk cId="2407292317" sldId="2147471625"/>
            <ac:spMk id="81" creationId="{19534B1A-4A51-4975-9B63-AC96EA115ADC}"/>
          </ac:spMkLst>
        </pc:spChg>
        <pc:cxnChg chg="mod">
          <ac:chgData name="Saranya Sriram" userId="31246c95-b325-49bd-b9d7-da3f09848d21" providerId="ADAL" clId="{BD20BE7E-72EA-4327-8326-1145F18CD28D}" dt="2022-10-20T11:26:34.217" v="810" actId="1076"/>
          <ac:cxnSpMkLst>
            <pc:docMk/>
            <pc:sldMk cId="2407292317" sldId="2147471625"/>
            <ac:cxnSpMk id="2" creationId="{6C157A98-FE85-4D16-BAAD-D0D60FC2E03A}"/>
          </ac:cxnSpMkLst>
        </pc:cxnChg>
        <pc:cxnChg chg="mod">
          <ac:chgData name="Saranya Sriram" userId="31246c95-b325-49bd-b9d7-da3f09848d21" providerId="ADAL" clId="{BD20BE7E-72EA-4327-8326-1145F18CD28D}" dt="2022-10-20T11:30:07.860" v="891" actId="1076"/>
          <ac:cxnSpMkLst>
            <pc:docMk/>
            <pc:sldMk cId="2407292317" sldId="2147471625"/>
            <ac:cxnSpMk id="22" creationId="{3E617FC7-209D-4EEA-BA91-C4EF6450C747}"/>
          </ac:cxnSpMkLst>
        </pc:cxnChg>
        <pc:cxnChg chg="mod">
          <ac:chgData name="Saranya Sriram" userId="31246c95-b325-49bd-b9d7-da3f09848d21" providerId="ADAL" clId="{BD20BE7E-72EA-4327-8326-1145F18CD28D}" dt="2022-10-20T11:25:36.973" v="789" actId="1076"/>
          <ac:cxnSpMkLst>
            <pc:docMk/>
            <pc:sldMk cId="2407292317" sldId="2147471625"/>
            <ac:cxnSpMk id="31" creationId="{17566533-F4CD-4A9A-9B96-A4BDF7DA872D}"/>
          </ac:cxnSpMkLst>
        </pc:cxnChg>
        <pc:cxnChg chg="mod">
          <ac:chgData name="Saranya Sriram" userId="31246c95-b325-49bd-b9d7-da3f09848d21" providerId="ADAL" clId="{BD20BE7E-72EA-4327-8326-1145F18CD28D}" dt="2022-10-20T11:31:24.289" v="946" actId="1076"/>
          <ac:cxnSpMkLst>
            <pc:docMk/>
            <pc:sldMk cId="2407292317" sldId="2147471625"/>
            <ac:cxnSpMk id="32" creationId="{120DB417-058A-41E7-B7FF-B402A85CA2F6}"/>
          </ac:cxnSpMkLst>
        </pc:cxnChg>
      </pc:sldChg>
      <pc:sldChg chg="addSp delSp modSp new del mod ord">
        <pc:chgData name="Saranya Sriram" userId="31246c95-b325-49bd-b9d7-da3f09848d21" providerId="ADAL" clId="{BD20BE7E-72EA-4327-8326-1145F18CD28D}" dt="2022-10-20T11:14:41.962" v="739" actId="47"/>
        <pc:sldMkLst>
          <pc:docMk/>
          <pc:sldMk cId="88757310" sldId="2147471626"/>
        </pc:sldMkLst>
        <pc:spChg chg="del">
          <ac:chgData name="Saranya Sriram" userId="31246c95-b325-49bd-b9d7-da3f09848d21" providerId="ADAL" clId="{BD20BE7E-72EA-4327-8326-1145F18CD28D}" dt="2022-10-20T11:11:25.145" v="733" actId="478"/>
          <ac:spMkLst>
            <pc:docMk/>
            <pc:sldMk cId="88757310" sldId="2147471626"/>
            <ac:spMk id="2" creationId="{00A61C96-F09F-B7AF-D350-9F2D49040C03}"/>
          </ac:spMkLst>
        </pc:spChg>
        <pc:picChg chg="add mod">
          <ac:chgData name="Saranya Sriram" userId="31246c95-b325-49bd-b9d7-da3f09848d21" providerId="ADAL" clId="{BD20BE7E-72EA-4327-8326-1145F18CD28D}" dt="2022-10-20T11:11:32.187" v="736" actId="1076"/>
          <ac:picMkLst>
            <pc:docMk/>
            <pc:sldMk cId="88757310" sldId="2147471626"/>
            <ac:picMk id="4" creationId="{4792F455-9628-D30F-AA5A-505AE82D146E}"/>
          </ac:picMkLst>
        </pc:picChg>
      </pc:sldChg>
      <pc:sldChg chg="add">
        <pc:chgData name="Saranya Sriram" userId="31246c95-b325-49bd-b9d7-da3f09848d21" providerId="ADAL" clId="{BD20BE7E-72EA-4327-8326-1145F18CD28D}" dt="2022-10-20T14:31:12.633" v="960"/>
        <pc:sldMkLst>
          <pc:docMk/>
          <pc:sldMk cId="5367975" sldId="2147478830"/>
        </pc:sldMkLst>
      </pc:sldChg>
      <pc:sldChg chg="add del">
        <pc:chgData name="Saranya Sriram" userId="31246c95-b325-49bd-b9d7-da3f09848d21" providerId="ADAL" clId="{BD20BE7E-72EA-4327-8326-1145F18CD28D}" dt="2022-10-20T14:30:55.454" v="959" actId="2696"/>
        <pc:sldMkLst>
          <pc:docMk/>
          <pc:sldMk cId="2170403908" sldId="2147478830"/>
        </pc:sldMkLst>
      </pc:sldChg>
      <pc:sldMasterChg chg="del delSldLayout">
        <pc:chgData name="Saranya Sriram" userId="31246c95-b325-49bd-b9d7-da3f09848d21" providerId="ADAL" clId="{BD20BE7E-72EA-4327-8326-1145F18CD28D}" dt="2022-10-20T10:17:38.868" v="331" actId="2696"/>
        <pc:sldMasterMkLst>
          <pc:docMk/>
          <pc:sldMasterMk cId="1073391005" sldId="2147483660"/>
        </pc:sldMasterMkLst>
        <pc:sldLayoutChg chg="del">
          <pc:chgData name="Saranya Sriram" userId="31246c95-b325-49bd-b9d7-da3f09848d21" providerId="ADAL" clId="{BD20BE7E-72EA-4327-8326-1145F18CD28D}" dt="2022-10-20T10:17:38.694" v="278" actId="2696"/>
          <pc:sldLayoutMkLst>
            <pc:docMk/>
            <pc:sldMasterMk cId="1073391005" sldId="2147483660"/>
            <pc:sldLayoutMk cId="4032870143" sldId="2147483661"/>
          </pc:sldLayoutMkLst>
        </pc:sldLayoutChg>
        <pc:sldLayoutChg chg="del">
          <pc:chgData name="Saranya Sriram" userId="31246c95-b325-49bd-b9d7-da3f09848d21" providerId="ADAL" clId="{BD20BE7E-72EA-4327-8326-1145F18CD28D}" dt="2022-10-20T10:17:38.710" v="279" actId="2696"/>
          <pc:sldLayoutMkLst>
            <pc:docMk/>
            <pc:sldMasterMk cId="1073391005" sldId="2147483660"/>
            <pc:sldLayoutMk cId="3052714743" sldId="2147483662"/>
          </pc:sldLayoutMkLst>
        </pc:sldLayoutChg>
        <pc:sldLayoutChg chg="del">
          <pc:chgData name="Saranya Sriram" userId="31246c95-b325-49bd-b9d7-da3f09848d21" providerId="ADAL" clId="{BD20BE7E-72EA-4327-8326-1145F18CD28D}" dt="2022-10-20T10:17:38.719" v="280" actId="2696"/>
          <pc:sldLayoutMkLst>
            <pc:docMk/>
            <pc:sldMasterMk cId="1073391005" sldId="2147483660"/>
            <pc:sldLayoutMk cId="728365843" sldId="2147483663"/>
          </pc:sldLayoutMkLst>
        </pc:sldLayoutChg>
        <pc:sldLayoutChg chg="del">
          <pc:chgData name="Saranya Sriram" userId="31246c95-b325-49bd-b9d7-da3f09848d21" providerId="ADAL" clId="{BD20BE7E-72EA-4327-8326-1145F18CD28D}" dt="2022-10-20T10:17:38.731" v="281" actId="2696"/>
          <pc:sldLayoutMkLst>
            <pc:docMk/>
            <pc:sldMasterMk cId="1073391005" sldId="2147483660"/>
            <pc:sldLayoutMk cId="2516251636" sldId="2147483664"/>
          </pc:sldLayoutMkLst>
        </pc:sldLayoutChg>
        <pc:sldLayoutChg chg="del">
          <pc:chgData name="Saranya Sriram" userId="31246c95-b325-49bd-b9d7-da3f09848d21" providerId="ADAL" clId="{BD20BE7E-72EA-4327-8326-1145F18CD28D}" dt="2022-10-20T10:17:38.734" v="282" actId="2696"/>
          <pc:sldLayoutMkLst>
            <pc:docMk/>
            <pc:sldMasterMk cId="1073391005" sldId="2147483660"/>
            <pc:sldLayoutMk cId="1510476865" sldId="2147483665"/>
          </pc:sldLayoutMkLst>
        </pc:sldLayoutChg>
        <pc:sldLayoutChg chg="del">
          <pc:chgData name="Saranya Sriram" userId="31246c95-b325-49bd-b9d7-da3f09848d21" providerId="ADAL" clId="{BD20BE7E-72EA-4327-8326-1145F18CD28D}" dt="2022-10-20T10:17:38.736" v="283" actId="2696"/>
          <pc:sldLayoutMkLst>
            <pc:docMk/>
            <pc:sldMasterMk cId="1073391005" sldId="2147483660"/>
            <pc:sldLayoutMk cId="808152959" sldId="2147483666"/>
          </pc:sldLayoutMkLst>
        </pc:sldLayoutChg>
        <pc:sldLayoutChg chg="del">
          <pc:chgData name="Saranya Sriram" userId="31246c95-b325-49bd-b9d7-da3f09848d21" providerId="ADAL" clId="{BD20BE7E-72EA-4327-8326-1145F18CD28D}" dt="2022-10-20T10:17:38.737" v="284" actId="2696"/>
          <pc:sldLayoutMkLst>
            <pc:docMk/>
            <pc:sldMasterMk cId="1073391005" sldId="2147483660"/>
            <pc:sldLayoutMk cId="4152632850" sldId="2147483667"/>
          </pc:sldLayoutMkLst>
        </pc:sldLayoutChg>
        <pc:sldLayoutChg chg="del">
          <pc:chgData name="Saranya Sriram" userId="31246c95-b325-49bd-b9d7-da3f09848d21" providerId="ADAL" clId="{BD20BE7E-72EA-4327-8326-1145F18CD28D}" dt="2022-10-20T10:17:38.742" v="285" actId="2696"/>
          <pc:sldLayoutMkLst>
            <pc:docMk/>
            <pc:sldMasterMk cId="1073391005" sldId="2147483660"/>
            <pc:sldLayoutMk cId="3129601450" sldId="2147483668"/>
          </pc:sldLayoutMkLst>
        </pc:sldLayoutChg>
        <pc:sldLayoutChg chg="del">
          <pc:chgData name="Saranya Sriram" userId="31246c95-b325-49bd-b9d7-da3f09848d21" providerId="ADAL" clId="{BD20BE7E-72EA-4327-8326-1145F18CD28D}" dt="2022-10-20T10:17:38.743" v="286" actId="2696"/>
          <pc:sldLayoutMkLst>
            <pc:docMk/>
            <pc:sldMasterMk cId="1073391005" sldId="2147483660"/>
            <pc:sldLayoutMk cId="849449023" sldId="2147483669"/>
          </pc:sldLayoutMkLst>
        </pc:sldLayoutChg>
        <pc:sldLayoutChg chg="del">
          <pc:chgData name="Saranya Sriram" userId="31246c95-b325-49bd-b9d7-da3f09848d21" providerId="ADAL" clId="{BD20BE7E-72EA-4327-8326-1145F18CD28D}" dt="2022-10-20T10:17:38.746" v="287" actId="2696"/>
          <pc:sldLayoutMkLst>
            <pc:docMk/>
            <pc:sldMasterMk cId="1073391005" sldId="2147483660"/>
            <pc:sldLayoutMk cId="2498584786" sldId="2147483670"/>
          </pc:sldLayoutMkLst>
        </pc:sldLayoutChg>
        <pc:sldLayoutChg chg="del">
          <pc:chgData name="Saranya Sriram" userId="31246c95-b325-49bd-b9d7-da3f09848d21" providerId="ADAL" clId="{BD20BE7E-72EA-4327-8326-1145F18CD28D}" dt="2022-10-20T10:17:38.747" v="288" actId="2696"/>
          <pc:sldLayoutMkLst>
            <pc:docMk/>
            <pc:sldMasterMk cId="1073391005" sldId="2147483660"/>
            <pc:sldLayoutMk cId="1787059730" sldId="2147483671"/>
          </pc:sldLayoutMkLst>
        </pc:sldLayoutChg>
        <pc:sldLayoutChg chg="del">
          <pc:chgData name="Saranya Sriram" userId="31246c95-b325-49bd-b9d7-da3f09848d21" providerId="ADAL" clId="{BD20BE7E-72EA-4327-8326-1145F18CD28D}" dt="2022-10-20T10:17:38.750" v="289" actId="2696"/>
          <pc:sldLayoutMkLst>
            <pc:docMk/>
            <pc:sldMasterMk cId="1073391005" sldId="2147483660"/>
            <pc:sldLayoutMk cId="2044520604" sldId="2147483672"/>
          </pc:sldLayoutMkLst>
        </pc:sldLayoutChg>
        <pc:sldLayoutChg chg="del">
          <pc:chgData name="Saranya Sriram" userId="31246c95-b325-49bd-b9d7-da3f09848d21" providerId="ADAL" clId="{BD20BE7E-72EA-4327-8326-1145F18CD28D}" dt="2022-10-20T10:17:38.753" v="290" actId="2696"/>
          <pc:sldLayoutMkLst>
            <pc:docMk/>
            <pc:sldMasterMk cId="1073391005" sldId="2147483660"/>
            <pc:sldLayoutMk cId="2045381687" sldId="2147483673"/>
          </pc:sldLayoutMkLst>
        </pc:sldLayoutChg>
        <pc:sldLayoutChg chg="del">
          <pc:chgData name="Saranya Sriram" userId="31246c95-b325-49bd-b9d7-da3f09848d21" providerId="ADAL" clId="{BD20BE7E-72EA-4327-8326-1145F18CD28D}" dt="2022-10-20T10:17:38.756" v="291" actId="2696"/>
          <pc:sldLayoutMkLst>
            <pc:docMk/>
            <pc:sldMasterMk cId="1073391005" sldId="2147483660"/>
            <pc:sldLayoutMk cId="4086675571" sldId="2147483674"/>
          </pc:sldLayoutMkLst>
        </pc:sldLayoutChg>
        <pc:sldLayoutChg chg="del">
          <pc:chgData name="Saranya Sriram" userId="31246c95-b325-49bd-b9d7-da3f09848d21" providerId="ADAL" clId="{BD20BE7E-72EA-4327-8326-1145F18CD28D}" dt="2022-10-20T10:17:38.758" v="292" actId="2696"/>
          <pc:sldLayoutMkLst>
            <pc:docMk/>
            <pc:sldMasterMk cId="1073391005" sldId="2147483660"/>
            <pc:sldLayoutMk cId="2664904940" sldId="2147483675"/>
          </pc:sldLayoutMkLst>
        </pc:sldLayoutChg>
        <pc:sldLayoutChg chg="del">
          <pc:chgData name="Saranya Sriram" userId="31246c95-b325-49bd-b9d7-da3f09848d21" providerId="ADAL" clId="{BD20BE7E-72EA-4327-8326-1145F18CD28D}" dt="2022-10-20T10:17:38.759" v="293" actId="2696"/>
          <pc:sldLayoutMkLst>
            <pc:docMk/>
            <pc:sldMasterMk cId="1073391005" sldId="2147483660"/>
            <pc:sldLayoutMk cId="3698752306" sldId="2147483676"/>
          </pc:sldLayoutMkLst>
        </pc:sldLayoutChg>
        <pc:sldLayoutChg chg="del">
          <pc:chgData name="Saranya Sriram" userId="31246c95-b325-49bd-b9d7-da3f09848d21" providerId="ADAL" clId="{BD20BE7E-72EA-4327-8326-1145F18CD28D}" dt="2022-10-20T10:17:38.759" v="294" actId="2696"/>
          <pc:sldLayoutMkLst>
            <pc:docMk/>
            <pc:sldMasterMk cId="1073391005" sldId="2147483660"/>
            <pc:sldLayoutMk cId="302730191" sldId="2147483677"/>
          </pc:sldLayoutMkLst>
        </pc:sldLayoutChg>
        <pc:sldLayoutChg chg="del">
          <pc:chgData name="Saranya Sriram" userId="31246c95-b325-49bd-b9d7-da3f09848d21" providerId="ADAL" clId="{BD20BE7E-72EA-4327-8326-1145F18CD28D}" dt="2022-10-20T10:17:38.766" v="295" actId="2696"/>
          <pc:sldLayoutMkLst>
            <pc:docMk/>
            <pc:sldMasterMk cId="1073391005" sldId="2147483660"/>
            <pc:sldLayoutMk cId="3574677075" sldId="2147483678"/>
          </pc:sldLayoutMkLst>
        </pc:sldLayoutChg>
        <pc:sldLayoutChg chg="del">
          <pc:chgData name="Saranya Sriram" userId="31246c95-b325-49bd-b9d7-da3f09848d21" providerId="ADAL" clId="{BD20BE7E-72EA-4327-8326-1145F18CD28D}" dt="2022-10-20T10:17:38.769" v="296" actId="2696"/>
          <pc:sldLayoutMkLst>
            <pc:docMk/>
            <pc:sldMasterMk cId="1073391005" sldId="2147483660"/>
            <pc:sldLayoutMk cId="478968747" sldId="2147483679"/>
          </pc:sldLayoutMkLst>
        </pc:sldLayoutChg>
        <pc:sldLayoutChg chg="del">
          <pc:chgData name="Saranya Sriram" userId="31246c95-b325-49bd-b9d7-da3f09848d21" providerId="ADAL" clId="{BD20BE7E-72EA-4327-8326-1145F18CD28D}" dt="2022-10-20T10:17:38.772" v="297" actId="2696"/>
          <pc:sldLayoutMkLst>
            <pc:docMk/>
            <pc:sldMasterMk cId="1073391005" sldId="2147483660"/>
            <pc:sldLayoutMk cId="2141753549" sldId="2147483680"/>
          </pc:sldLayoutMkLst>
        </pc:sldLayoutChg>
        <pc:sldLayoutChg chg="del">
          <pc:chgData name="Saranya Sriram" userId="31246c95-b325-49bd-b9d7-da3f09848d21" providerId="ADAL" clId="{BD20BE7E-72EA-4327-8326-1145F18CD28D}" dt="2022-10-20T10:17:38.774" v="298" actId="2696"/>
          <pc:sldLayoutMkLst>
            <pc:docMk/>
            <pc:sldMasterMk cId="1073391005" sldId="2147483660"/>
            <pc:sldLayoutMk cId="387929810" sldId="2147483681"/>
          </pc:sldLayoutMkLst>
        </pc:sldLayoutChg>
        <pc:sldLayoutChg chg="del">
          <pc:chgData name="Saranya Sriram" userId="31246c95-b325-49bd-b9d7-da3f09848d21" providerId="ADAL" clId="{BD20BE7E-72EA-4327-8326-1145F18CD28D}" dt="2022-10-20T10:17:38.774" v="299" actId="2696"/>
          <pc:sldLayoutMkLst>
            <pc:docMk/>
            <pc:sldMasterMk cId="1073391005" sldId="2147483660"/>
            <pc:sldLayoutMk cId="3966652966" sldId="2147483682"/>
          </pc:sldLayoutMkLst>
        </pc:sldLayoutChg>
        <pc:sldLayoutChg chg="del">
          <pc:chgData name="Saranya Sriram" userId="31246c95-b325-49bd-b9d7-da3f09848d21" providerId="ADAL" clId="{BD20BE7E-72EA-4327-8326-1145F18CD28D}" dt="2022-10-20T10:17:38.774" v="300" actId="2696"/>
          <pc:sldLayoutMkLst>
            <pc:docMk/>
            <pc:sldMasterMk cId="1073391005" sldId="2147483660"/>
            <pc:sldLayoutMk cId="1780327213" sldId="2147483683"/>
          </pc:sldLayoutMkLst>
        </pc:sldLayoutChg>
        <pc:sldLayoutChg chg="del">
          <pc:chgData name="Saranya Sriram" userId="31246c95-b325-49bd-b9d7-da3f09848d21" providerId="ADAL" clId="{BD20BE7E-72EA-4327-8326-1145F18CD28D}" dt="2022-10-20T10:17:38.774" v="301" actId="2696"/>
          <pc:sldLayoutMkLst>
            <pc:docMk/>
            <pc:sldMasterMk cId="1073391005" sldId="2147483660"/>
            <pc:sldLayoutMk cId="1700710716" sldId="2147483684"/>
          </pc:sldLayoutMkLst>
        </pc:sldLayoutChg>
        <pc:sldLayoutChg chg="del">
          <pc:chgData name="Saranya Sriram" userId="31246c95-b325-49bd-b9d7-da3f09848d21" providerId="ADAL" clId="{BD20BE7E-72EA-4327-8326-1145F18CD28D}" dt="2022-10-20T10:17:38.774" v="302" actId="2696"/>
          <pc:sldLayoutMkLst>
            <pc:docMk/>
            <pc:sldMasterMk cId="1073391005" sldId="2147483660"/>
            <pc:sldLayoutMk cId="1740468676" sldId="2147483685"/>
          </pc:sldLayoutMkLst>
        </pc:sldLayoutChg>
        <pc:sldLayoutChg chg="del">
          <pc:chgData name="Saranya Sriram" userId="31246c95-b325-49bd-b9d7-da3f09848d21" providerId="ADAL" clId="{BD20BE7E-72EA-4327-8326-1145F18CD28D}" dt="2022-10-20T10:17:38.774" v="303" actId="2696"/>
          <pc:sldLayoutMkLst>
            <pc:docMk/>
            <pc:sldMasterMk cId="1073391005" sldId="2147483660"/>
            <pc:sldLayoutMk cId="1983857676" sldId="2147483686"/>
          </pc:sldLayoutMkLst>
        </pc:sldLayoutChg>
        <pc:sldLayoutChg chg="del">
          <pc:chgData name="Saranya Sriram" userId="31246c95-b325-49bd-b9d7-da3f09848d21" providerId="ADAL" clId="{BD20BE7E-72EA-4327-8326-1145F18CD28D}" dt="2022-10-20T10:17:38.774" v="304" actId="2696"/>
          <pc:sldLayoutMkLst>
            <pc:docMk/>
            <pc:sldMasterMk cId="1073391005" sldId="2147483660"/>
            <pc:sldLayoutMk cId="2822259397" sldId="2147483687"/>
          </pc:sldLayoutMkLst>
        </pc:sldLayoutChg>
        <pc:sldLayoutChg chg="del">
          <pc:chgData name="Saranya Sriram" userId="31246c95-b325-49bd-b9d7-da3f09848d21" providerId="ADAL" clId="{BD20BE7E-72EA-4327-8326-1145F18CD28D}" dt="2022-10-20T10:17:38.789" v="305" actId="2696"/>
          <pc:sldLayoutMkLst>
            <pc:docMk/>
            <pc:sldMasterMk cId="1073391005" sldId="2147483660"/>
            <pc:sldLayoutMk cId="4061341336" sldId="2147483688"/>
          </pc:sldLayoutMkLst>
        </pc:sldLayoutChg>
        <pc:sldLayoutChg chg="del">
          <pc:chgData name="Saranya Sriram" userId="31246c95-b325-49bd-b9d7-da3f09848d21" providerId="ADAL" clId="{BD20BE7E-72EA-4327-8326-1145F18CD28D}" dt="2022-10-20T10:17:38.789" v="306" actId="2696"/>
          <pc:sldLayoutMkLst>
            <pc:docMk/>
            <pc:sldMasterMk cId="1073391005" sldId="2147483660"/>
            <pc:sldLayoutMk cId="1499606308" sldId="2147483689"/>
          </pc:sldLayoutMkLst>
        </pc:sldLayoutChg>
        <pc:sldLayoutChg chg="del">
          <pc:chgData name="Saranya Sriram" userId="31246c95-b325-49bd-b9d7-da3f09848d21" providerId="ADAL" clId="{BD20BE7E-72EA-4327-8326-1145F18CD28D}" dt="2022-10-20T10:17:38.789" v="307" actId="2696"/>
          <pc:sldLayoutMkLst>
            <pc:docMk/>
            <pc:sldMasterMk cId="1073391005" sldId="2147483660"/>
            <pc:sldLayoutMk cId="3448516175" sldId="2147483690"/>
          </pc:sldLayoutMkLst>
        </pc:sldLayoutChg>
        <pc:sldLayoutChg chg="del">
          <pc:chgData name="Saranya Sriram" userId="31246c95-b325-49bd-b9d7-da3f09848d21" providerId="ADAL" clId="{BD20BE7E-72EA-4327-8326-1145F18CD28D}" dt="2022-10-20T10:17:38.789" v="308" actId="2696"/>
          <pc:sldLayoutMkLst>
            <pc:docMk/>
            <pc:sldMasterMk cId="1073391005" sldId="2147483660"/>
            <pc:sldLayoutMk cId="3043249019" sldId="2147483691"/>
          </pc:sldLayoutMkLst>
        </pc:sldLayoutChg>
        <pc:sldLayoutChg chg="del">
          <pc:chgData name="Saranya Sriram" userId="31246c95-b325-49bd-b9d7-da3f09848d21" providerId="ADAL" clId="{BD20BE7E-72EA-4327-8326-1145F18CD28D}" dt="2022-10-20T10:17:38.789" v="309" actId="2696"/>
          <pc:sldLayoutMkLst>
            <pc:docMk/>
            <pc:sldMasterMk cId="1073391005" sldId="2147483660"/>
            <pc:sldLayoutMk cId="3243609352" sldId="2147483692"/>
          </pc:sldLayoutMkLst>
        </pc:sldLayoutChg>
        <pc:sldLayoutChg chg="del">
          <pc:chgData name="Saranya Sriram" userId="31246c95-b325-49bd-b9d7-da3f09848d21" providerId="ADAL" clId="{BD20BE7E-72EA-4327-8326-1145F18CD28D}" dt="2022-10-20T10:17:38.789" v="310" actId="2696"/>
          <pc:sldLayoutMkLst>
            <pc:docMk/>
            <pc:sldMasterMk cId="1073391005" sldId="2147483660"/>
            <pc:sldLayoutMk cId="1679422316" sldId="2147483693"/>
          </pc:sldLayoutMkLst>
        </pc:sldLayoutChg>
        <pc:sldLayoutChg chg="del">
          <pc:chgData name="Saranya Sriram" userId="31246c95-b325-49bd-b9d7-da3f09848d21" providerId="ADAL" clId="{BD20BE7E-72EA-4327-8326-1145F18CD28D}" dt="2022-10-20T10:17:38.814" v="311" actId="2696"/>
          <pc:sldLayoutMkLst>
            <pc:docMk/>
            <pc:sldMasterMk cId="1073391005" sldId="2147483660"/>
            <pc:sldLayoutMk cId="2787516130" sldId="2147483694"/>
          </pc:sldLayoutMkLst>
        </pc:sldLayoutChg>
        <pc:sldLayoutChg chg="del">
          <pc:chgData name="Saranya Sriram" userId="31246c95-b325-49bd-b9d7-da3f09848d21" providerId="ADAL" clId="{BD20BE7E-72EA-4327-8326-1145F18CD28D}" dt="2022-10-20T10:17:38.816" v="312" actId="2696"/>
          <pc:sldLayoutMkLst>
            <pc:docMk/>
            <pc:sldMasterMk cId="1073391005" sldId="2147483660"/>
            <pc:sldLayoutMk cId="1161516324" sldId="2147483695"/>
          </pc:sldLayoutMkLst>
        </pc:sldLayoutChg>
        <pc:sldLayoutChg chg="del">
          <pc:chgData name="Saranya Sriram" userId="31246c95-b325-49bd-b9d7-da3f09848d21" providerId="ADAL" clId="{BD20BE7E-72EA-4327-8326-1145F18CD28D}" dt="2022-10-20T10:17:38.820" v="313" actId="2696"/>
          <pc:sldLayoutMkLst>
            <pc:docMk/>
            <pc:sldMasterMk cId="1073391005" sldId="2147483660"/>
            <pc:sldLayoutMk cId="3301947837" sldId="2147483696"/>
          </pc:sldLayoutMkLst>
        </pc:sldLayoutChg>
        <pc:sldLayoutChg chg="del">
          <pc:chgData name="Saranya Sriram" userId="31246c95-b325-49bd-b9d7-da3f09848d21" providerId="ADAL" clId="{BD20BE7E-72EA-4327-8326-1145F18CD28D}" dt="2022-10-20T10:17:38.821" v="314" actId="2696"/>
          <pc:sldLayoutMkLst>
            <pc:docMk/>
            <pc:sldMasterMk cId="1073391005" sldId="2147483660"/>
            <pc:sldLayoutMk cId="2435648003" sldId="2147483697"/>
          </pc:sldLayoutMkLst>
        </pc:sldLayoutChg>
        <pc:sldLayoutChg chg="del">
          <pc:chgData name="Saranya Sriram" userId="31246c95-b325-49bd-b9d7-da3f09848d21" providerId="ADAL" clId="{BD20BE7E-72EA-4327-8326-1145F18CD28D}" dt="2022-10-20T10:17:38.824" v="315" actId="2696"/>
          <pc:sldLayoutMkLst>
            <pc:docMk/>
            <pc:sldMasterMk cId="1073391005" sldId="2147483660"/>
            <pc:sldLayoutMk cId="3239144839" sldId="2147483698"/>
          </pc:sldLayoutMkLst>
        </pc:sldLayoutChg>
        <pc:sldLayoutChg chg="del">
          <pc:chgData name="Saranya Sriram" userId="31246c95-b325-49bd-b9d7-da3f09848d21" providerId="ADAL" clId="{BD20BE7E-72EA-4327-8326-1145F18CD28D}" dt="2022-10-20T10:17:38.826" v="316" actId="2696"/>
          <pc:sldLayoutMkLst>
            <pc:docMk/>
            <pc:sldMasterMk cId="1073391005" sldId="2147483660"/>
            <pc:sldLayoutMk cId="878159865" sldId="2147483699"/>
          </pc:sldLayoutMkLst>
        </pc:sldLayoutChg>
        <pc:sldLayoutChg chg="del">
          <pc:chgData name="Saranya Sriram" userId="31246c95-b325-49bd-b9d7-da3f09848d21" providerId="ADAL" clId="{BD20BE7E-72EA-4327-8326-1145F18CD28D}" dt="2022-10-20T10:17:38.828" v="317" actId="2696"/>
          <pc:sldLayoutMkLst>
            <pc:docMk/>
            <pc:sldMasterMk cId="1073391005" sldId="2147483660"/>
            <pc:sldLayoutMk cId="3066524592" sldId="2147483700"/>
          </pc:sldLayoutMkLst>
        </pc:sldLayoutChg>
        <pc:sldLayoutChg chg="del">
          <pc:chgData name="Saranya Sriram" userId="31246c95-b325-49bd-b9d7-da3f09848d21" providerId="ADAL" clId="{BD20BE7E-72EA-4327-8326-1145F18CD28D}" dt="2022-10-20T10:17:38.831" v="318" actId="2696"/>
          <pc:sldLayoutMkLst>
            <pc:docMk/>
            <pc:sldMasterMk cId="1073391005" sldId="2147483660"/>
            <pc:sldLayoutMk cId="2681029372" sldId="2147483701"/>
          </pc:sldLayoutMkLst>
        </pc:sldLayoutChg>
        <pc:sldLayoutChg chg="del">
          <pc:chgData name="Saranya Sriram" userId="31246c95-b325-49bd-b9d7-da3f09848d21" providerId="ADAL" clId="{BD20BE7E-72EA-4327-8326-1145F18CD28D}" dt="2022-10-20T10:17:38.832" v="319" actId="2696"/>
          <pc:sldLayoutMkLst>
            <pc:docMk/>
            <pc:sldMasterMk cId="1073391005" sldId="2147483660"/>
            <pc:sldLayoutMk cId="897955000" sldId="2147483702"/>
          </pc:sldLayoutMkLst>
        </pc:sldLayoutChg>
        <pc:sldLayoutChg chg="del">
          <pc:chgData name="Saranya Sriram" userId="31246c95-b325-49bd-b9d7-da3f09848d21" providerId="ADAL" clId="{BD20BE7E-72EA-4327-8326-1145F18CD28D}" dt="2022-10-20T10:17:38.835" v="320" actId="2696"/>
          <pc:sldLayoutMkLst>
            <pc:docMk/>
            <pc:sldMasterMk cId="1073391005" sldId="2147483660"/>
            <pc:sldLayoutMk cId="3109321687" sldId="2147483703"/>
          </pc:sldLayoutMkLst>
        </pc:sldLayoutChg>
        <pc:sldLayoutChg chg="del">
          <pc:chgData name="Saranya Sriram" userId="31246c95-b325-49bd-b9d7-da3f09848d21" providerId="ADAL" clId="{BD20BE7E-72EA-4327-8326-1145F18CD28D}" dt="2022-10-20T10:17:38.837" v="321" actId="2696"/>
          <pc:sldLayoutMkLst>
            <pc:docMk/>
            <pc:sldMasterMk cId="1073391005" sldId="2147483660"/>
            <pc:sldLayoutMk cId="3367693531" sldId="2147483704"/>
          </pc:sldLayoutMkLst>
        </pc:sldLayoutChg>
        <pc:sldLayoutChg chg="del">
          <pc:chgData name="Saranya Sriram" userId="31246c95-b325-49bd-b9d7-da3f09848d21" providerId="ADAL" clId="{BD20BE7E-72EA-4327-8326-1145F18CD28D}" dt="2022-10-20T10:17:38.837" v="322" actId="2696"/>
          <pc:sldLayoutMkLst>
            <pc:docMk/>
            <pc:sldMasterMk cId="1073391005" sldId="2147483660"/>
            <pc:sldLayoutMk cId="2058809258" sldId="2147483705"/>
          </pc:sldLayoutMkLst>
        </pc:sldLayoutChg>
        <pc:sldLayoutChg chg="del">
          <pc:chgData name="Saranya Sriram" userId="31246c95-b325-49bd-b9d7-da3f09848d21" providerId="ADAL" clId="{BD20BE7E-72EA-4327-8326-1145F18CD28D}" dt="2022-10-20T10:17:38.842" v="323" actId="2696"/>
          <pc:sldLayoutMkLst>
            <pc:docMk/>
            <pc:sldMasterMk cId="1073391005" sldId="2147483660"/>
            <pc:sldLayoutMk cId="1368710560" sldId="2147483706"/>
          </pc:sldLayoutMkLst>
        </pc:sldLayoutChg>
        <pc:sldLayoutChg chg="del">
          <pc:chgData name="Saranya Sriram" userId="31246c95-b325-49bd-b9d7-da3f09848d21" providerId="ADAL" clId="{BD20BE7E-72EA-4327-8326-1145F18CD28D}" dt="2022-10-20T10:17:38.845" v="324" actId="2696"/>
          <pc:sldLayoutMkLst>
            <pc:docMk/>
            <pc:sldMasterMk cId="1073391005" sldId="2147483660"/>
            <pc:sldLayoutMk cId="3042285124" sldId="2147483707"/>
          </pc:sldLayoutMkLst>
        </pc:sldLayoutChg>
        <pc:sldLayoutChg chg="del">
          <pc:chgData name="Saranya Sriram" userId="31246c95-b325-49bd-b9d7-da3f09848d21" providerId="ADAL" clId="{BD20BE7E-72EA-4327-8326-1145F18CD28D}" dt="2022-10-20T10:17:38.847" v="325" actId="2696"/>
          <pc:sldLayoutMkLst>
            <pc:docMk/>
            <pc:sldMasterMk cId="1073391005" sldId="2147483660"/>
            <pc:sldLayoutMk cId="4216878838" sldId="2147483708"/>
          </pc:sldLayoutMkLst>
        </pc:sldLayoutChg>
        <pc:sldLayoutChg chg="del">
          <pc:chgData name="Saranya Sriram" userId="31246c95-b325-49bd-b9d7-da3f09848d21" providerId="ADAL" clId="{BD20BE7E-72EA-4327-8326-1145F18CD28D}" dt="2022-10-20T10:17:38.849" v="326" actId="2696"/>
          <pc:sldLayoutMkLst>
            <pc:docMk/>
            <pc:sldMasterMk cId="1073391005" sldId="2147483660"/>
            <pc:sldLayoutMk cId="1245546530" sldId="2147483709"/>
          </pc:sldLayoutMkLst>
        </pc:sldLayoutChg>
        <pc:sldLayoutChg chg="del">
          <pc:chgData name="Saranya Sriram" userId="31246c95-b325-49bd-b9d7-da3f09848d21" providerId="ADAL" clId="{BD20BE7E-72EA-4327-8326-1145F18CD28D}" dt="2022-10-20T10:17:38.849" v="327" actId="2696"/>
          <pc:sldLayoutMkLst>
            <pc:docMk/>
            <pc:sldMasterMk cId="1073391005" sldId="2147483660"/>
            <pc:sldLayoutMk cId="1887008706" sldId="2147483710"/>
          </pc:sldLayoutMkLst>
        </pc:sldLayoutChg>
        <pc:sldLayoutChg chg="del">
          <pc:chgData name="Saranya Sriram" userId="31246c95-b325-49bd-b9d7-da3f09848d21" providerId="ADAL" clId="{BD20BE7E-72EA-4327-8326-1145F18CD28D}" dt="2022-10-20T10:17:38.853" v="328" actId="2696"/>
          <pc:sldLayoutMkLst>
            <pc:docMk/>
            <pc:sldMasterMk cId="1073391005" sldId="2147483660"/>
            <pc:sldLayoutMk cId="2642014700" sldId="2147483711"/>
          </pc:sldLayoutMkLst>
        </pc:sldLayoutChg>
        <pc:sldLayoutChg chg="del">
          <pc:chgData name="Saranya Sriram" userId="31246c95-b325-49bd-b9d7-da3f09848d21" providerId="ADAL" clId="{BD20BE7E-72EA-4327-8326-1145F18CD28D}" dt="2022-10-20T10:17:38.853" v="329" actId="2696"/>
          <pc:sldLayoutMkLst>
            <pc:docMk/>
            <pc:sldMasterMk cId="1073391005" sldId="2147483660"/>
            <pc:sldLayoutMk cId="3159516441" sldId="2147483712"/>
          </pc:sldLayoutMkLst>
        </pc:sldLayoutChg>
        <pc:sldLayoutChg chg="del">
          <pc:chgData name="Saranya Sriram" userId="31246c95-b325-49bd-b9d7-da3f09848d21" providerId="ADAL" clId="{BD20BE7E-72EA-4327-8326-1145F18CD28D}" dt="2022-10-20T10:17:38.853" v="330" actId="2696"/>
          <pc:sldLayoutMkLst>
            <pc:docMk/>
            <pc:sldMasterMk cId="1073391005" sldId="2147483660"/>
            <pc:sldLayoutMk cId="4261670712" sldId="2147483713"/>
          </pc:sldLayoutMkLst>
        </pc:sldLayoutChg>
      </pc:sldMasterChg>
      <pc:sldMasterChg chg="delSldLayout">
        <pc:chgData name="Saranya Sriram" userId="31246c95-b325-49bd-b9d7-da3f09848d21" providerId="ADAL" clId="{BD20BE7E-72EA-4327-8326-1145F18CD28D}" dt="2022-10-20T15:38:23.605" v="977" actId="47"/>
        <pc:sldMasterMkLst>
          <pc:docMk/>
          <pc:sldMasterMk cId="2545682526" sldId="2147483714"/>
        </pc:sldMasterMkLst>
        <pc:sldLayoutChg chg="del">
          <pc:chgData name="Saranya Sriram" userId="31246c95-b325-49bd-b9d7-da3f09848d21" providerId="ADAL" clId="{BD20BE7E-72EA-4327-8326-1145F18CD28D}" dt="2022-10-20T15:38:23.605" v="977" actId="47"/>
          <pc:sldLayoutMkLst>
            <pc:docMk/>
            <pc:sldMasterMk cId="2545682526" sldId="2147483714"/>
            <pc:sldLayoutMk cId="2526077752" sldId="2147483728"/>
          </pc:sldLayoutMkLst>
        </pc:sldLayoutChg>
        <pc:sldLayoutChg chg="del">
          <pc:chgData name="Saranya Sriram" userId="31246c95-b325-49bd-b9d7-da3f09848d21" providerId="ADAL" clId="{BD20BE7E-72EA-4327-8326-1145F18CD28D}" dt="2022-10-20T10:18:37.242" v="542" actId="47"/>
          <pc:sldLayoutMkLst>
            <pc:docMk/>
            <pc:sldMasterMk cId="2545682526" sldId="2147483714"/>
            <pc:sldLayoutMk cId="692840185" sldId="2147484266"/>
          </pc:sldLayoutMkLst>
        </pc:sldLayoutChg>
        <pc:sldLayoutChg chg="del">
          <pc:chgData name="Saranya Sriram" userId="31246c95-b325-49bd-b9d7-da3f09848d21" providerId="ADAL" clId="{BD20BE7E-72EA-4327-8326-1145F18CD28D}" dt="2022-10-20T15:38:20.896" v="976" actId="47"/>
          <pc:sldLayoutMkLst>
            <pc:docMk/>
            <pc:sldMasterMk cId="2545682526" sldId="2147483714"/>
            <pc:sldLayoutMk cId="3125206287" sldId="2147484316"/>
          </pc:sldLayoutMkLst>
        </pc:sldLayoutChg>
      </pc:sldMasterChg>
      <pc:sldMasterChg chg="del delSldLayout">
        <pc:chgData name="Saranya Sriram" userId="31246c95-b325-49bd-b9d7-da3f09848d21" providerId="ADAL" clId="{BD20BE7E-72EA-4327-8326-1145F18CD28D}" dt="2022-10-20T10:17:37.451" v="16" actId="2696"/>
        <pc:sldMasterMkLst>
          <pc:docMk/>
          <pc:sldMasterMk cId="1611049375" sldId="2147483731"/>
        </pc:sldMasterMkLst>
        <pc:sldLayoutChg chg="del">
          <pc:chgData name="Saranya Sriram" userId="31246c95-b325-49bd-b9d7-da3f09848d21" providerId="ADAL" clId="{BD20BE7E-72EA-4327-8326-1145F18CD28D}" dt="2022-10-20T10:17:37.398" v="0" actId="2696"/>
          <pc:sldLayoutMkLst>
            <pc:docMk/>
            <pc:sldMasterMk cId="1611049375" sldId="2147483731"/>
            <pc:sldLayoutMk cId="2241944554" sldId="2147483732"/>
          </pc:sldLayoutMkLst>
        </pc:sldLayoutChg>
        <pc:sldLayoutChg chg="del">
          <pc:chgData name="Saranya Sriram" userId="31246c95-b325-49bd-b9d7-da3f09848d21" providerId="ADAL" clId="{BD20BE7E-72EA-4327-8326-1145F18CD28D}" dt="2022-10-20T10:17:37.402" v="1" actId="2696"/>
          <pc:sldLayoutMkLst>
            <pc:docMk/>
            <pc:sldMasterMk cId="1611049375" sldId="2147483731"/>
            <pc:sldLayoutMk cId="4042578897" sldId="2147483733"/>
          </pc:sldLayoutMkLst>
        </pc:sldLayoutChg>
        <pc:sldLayoutChg chg="del">
          <pc:chgData name="Saranya Sriram" userId="31246c95-b325-49bd-b9d7-da3f09848d21" providerId="ADAL" clId="{BD20BE7E-72EA-4327-8326-1145F18CD28D}" dt="2022-10-20T10:17:37.404" v="2" actId="2696"/>
          <pc:sldLayoutMkLst>
            <pc:docMk/>
            <pc:sldMasterMk cId="1611049375" sldId="2147483731"/>
            <pc:sldLayoutMk cId="3406914718" sldId="2147483734"/>
          </pc:sldLayoutMkLst>
        </pc:sldLayoutChg>
        <pc:sldLayoutChg chg="del">
          <pc:chgData name="Saranya Sriram" userId="31246c95-b325-49bd-b9d7-da3f09848d21" providerId="ADAL" clId="{BD20BE7E-72EA-4327-8326-1145F18CD28D}" dt="2022-10-20T10:17:37.404" v="3" actId="2696"/>
          <pc:sldLayoutMkLst>
            <pc:docMk/>
            <pc:sldMasterMk cId="1611049375" sldId="2147483731"/>
            <pc:sldLayoutMk cId="3729019201" sldId="2147483735"/>
          </pc:sldLayoutMkLst>
        </pc:sldLayoutChg>
        <pc:sldLayoutChg chg="del">
          <pc:chgData name="Saranya Sriram" userId="31246c95-b325-49bd-b9d7-da3f09848d21" providerId="ADAL" clId="{BD20BE7E-72EA-4327-8326-1145F18CD28D}" dt="2022-10-20T10:17:37.404" v="4" actId="2696"/>
          <pc:sldLayoutMkLst>
            <pc:docMk/>
            <pc:sldMasterMk cId="1611049375" sldId="2147483731"/>
            <pc:sldLayoutMk cId="1237435494" sldId="2147483736"/>
          </pc:sldLayoutMkLst>
        </pc:sldLayoutChg>
        <pc:sldLayoutChg chg="del">
          <pc:chgData name="Saranya Sriram" userId="31246c95-b325-49bd-b9d7-da3f09848d21" providerId="ADAL" clId="{BD20BE7E-72EA-4327-8326-1145F18CD28D}" dt="2022-10-20T10:17:37.404" v="5" actId="2696"/>
          <pc:sldLayoutMkLst>
            <pc:docMk/>
            <pc:sldMasterMk cId="1611049375" sldId="2147483731"/>
            <pc:sldLayoutMk cId="1888370232" sldId="2147483737"/>
          </pc:sldLayoutMkLst>
        </pc:sldLayoutChg>
        <pc:sldLayoutChg chg="del">
          <pc:chgData name="Saranya Sriram" userId="31246c95-b325-49bd-b9d7-da3f09848d21" providerId="ADAL" clId="{BD20BE7E-72EA-4327-8326-1145F18CD28D}" dt="2022-10-20T10:17:37.404" v="6" actId="2696"/>
          <pc:sldLayoutMkLst>
            <pc:docMk/>
            <pc:sldMasterMk cId="1611049375" sldId="2147483731"/>
            <pc:sldLayoutMk cId="3242617044" sldId="2147483738"/>
          </pc:sldLayoutMkLst>
        </pc:sldLayoutChg>
        <pc:sldLayoutChg chg="del">
          <pc:chgData name="Saranya Sriram" userId="31246c95-b325-49bd-b9d7-da3f09848d21" providerId="ADAL" clId="{BD20BE7E-72EA-4327-8326-1145F18CD28D}" dt="2022-10-20T10:17:37.413" v="7" actId="2696"/>
          <pc:sldLayoutMkLst>
            <pc:docMk/>
            <pc:sldMasterMk cId="1611049375" sldId="2147483731"/>
            <pc:sldLayoutMk cId="2427358239" sldId="2147483739"/>
          </pc:sldLayoutMkLst>
        </pc:sldLayoutChg>
        <pc:sldLayoutChg chg="del">
          <pc:chgData name="Saranya Sriram" userId="31246c95-b325-49bd-b9d7-da3f09848d21" providerId="ADAL" clId="{BD20BE7E-72EA-4327-8326-1145F18CD28D}" dt="2022-10-20T10:17:37.413" v="8" actId="2696"/>
          <pc:sldLayoutMkLst>
            <pc:docMk/>
            <pc:sldMasterMk cId="1611049375" sldId="2147483731"/>
            <pc:sldLayoutMk cId="3331927131" sldId="2147483740"/>
          </pc:sldLayoutMkLst>
        </pc:sldLayoutChg>
        <pc:sldLayoutChg chg="del">
          <pc:chgData name="Saranya Sriram" userId="31246c95-b325-49bd-b9d7-da3f09848d21" providerId="ADAL" clId="{BD20BE7E-72EA-4327-8326-1145F18CD28D}" dt="2022-10-20T10:17:37.425" v="9" actId="2696"/>
          <pc:sldLayoutMkLst>
            <pc:docMk/>
            <pc:sldMasterMk cId="1611049375" sldId="2147483731"/>
            <pc:sldLayoutMk cId="2371560874" sldId="2147483741"/>
          </pc:sldLayoutMkLst>
        </pc:sldLayoutChg>
        <pc:sldLayoutChg chg="del">
          <pc:chgData name="Saranya Sriram" userId="31246c95-b325-49bd-b9d7-da3f09848d21" providerId="ADAL" clId="{BD20BE7E-72EA-4327-8326-1145F18CD28D}" dt="2022-10-20T10:17:37.429" v="10" actId="2696"/>
          <pc:sldLayoutMkLst>
            <pc:docMk/>
            <pc:sldMasterMk cId="1611049375" sldId="2147483731"/>
            <pc:sldLayoutMk cId="1552875527" sldId="2147483742"/>
          </pc:sldLayoutMkLst>
        </pc:sldLayoutChg>
        <pc:sldLayoutChg chg="del">
          <pc:chgData name="Saranya Sriram" userId="31246c95-b325-49bd-b9d7-da3f09848d21" providerId="ADAL" clId="{BD20BE7E-72EA-4327-8326-1145F18CD28D}" dt="2022-10-20T10:17:37.429" v="11" actId="2696"/>
          <pc:sldLayoutMkLst>
            <pc:docMk/>
            <pc:sldMasterMk cId="1611049375" sldId="2147483731"/>
            <pc:sldLayoutMk cId="3604508348" sldId="2147483743"/>
          </pc:sldLayoutMkLst>
        </pc:sldLayoutChg>
        <pc:sldLayoutChg chg="del">
          <pc:chgData name="Saranya Sriram" userId="31246c95-b325-49bd-b9d7-da3f09848d21" providerId="ADAL" clId="{BD20BE7E-72EA-4327-8326-1145F18CD28D}" dt="2022-10-20T10:17:37.429" v="12" actId="2696"/>
          <pc:sldLayoutMkLst>
            <pc:docMk/>
            <pc:sldMasterMk cId="1611049375" sldId="2147483731"/>
            <pc:sldLayoutMk cId="167205164" sldId="2147483744"/>
          </pc:sldLayoutMkLst>
        </pc:sldLayoutChg>
        <pc:sldLayoutChg chg="del">
          <pc:chgData name="Saranya Sriram" userId="31246c95-b325-49bd-b9d7-da3f09848d21" providerId="ADAL" clId="{BD20BE7E-72EA-4327-8326-1145F18CD28D}" dt="2022-10-20T10:17:37.429" v="13" actId="2696"/>
          <pc:sldLayoutMkLst>
            <pc:docMk/>
            <pc:sldMasterMk cId="1611049375" sldId="2147483731"/>
            <pc:sldLayoutMk cId="3178490670" sldId="2147483745"/>
          </pc:sldLayoutMkLst>
        </pc:sldLayoutChg>
        <pc:sldLayoutChg chg="del">
          <pc:chgData name="Saranya Sriram" userId="31246c95-b325-49bd-b9d7-da3f09848d21" providerId="ADAL" clId="{BD20BE7E-72EA-4327-8326-1145F18CD28D}" dt="2022-10-20T10:17:37.429" v="14" actId="2696"/>
          <pc:sldLayoutMkLst>
            <pc:docMk/>
            <pc:sldMasterMk cId="1611049375" sldId="2147483731"/>
            <pc:sldLayoutMk cId="3850130456" sldId="2147483746"/>
          </pc:sldLayoutMkLst>
        </pc:sldLayoutChg>
        <pc:sldLayoutChg chg="del">
          <pc:chgData name="Saranya Sriram" userId="31246c95-b325-49bd-b9d7-da3f09848d21" providerId="ADAL" clId="{BD20BE7E-72EA-4327-8326-1145F18CD28D}" dt="2022-10-20T10:17:37.429" v="15" actId="2696"/>
          <pc:sldLayoutMkLst>
            <pc:docMk/>
            <pc:sldMasterMk cId="1611049375" sldId="2147483731"/>
            <pc:sldLayoutMk cId="3696862989" sldId="2147483747"/>
          </pc:sldLayoutMkLst>
        </pc:sldLayoutChg>
      </pc:sldMasterChg>
      <pc:sldMasterChg chg="del delSldLayout">
        <pc:chgData name="Saranya Sriram" userId="31246c95-b325-49bd-b9d7-da3f09848d21" providerId="ADAL" clId="{BD20BE7E-72EA-4327-8326-1145F18CD28D}" dt="2022-10-20T10:17:37.565" v="52" actId="2696"/>
        <pc:sldMasterMkLst>
          <pc:docMk/>
          <pc:sldMasterMk cId="1905006952" sldId="2147483774"/>
        </pc:sldMasterMkLst>
        <pc:sldLayoutChg chg="del">
          <pc:chgData name="Saranya Sriram" userId="31246c95-b325-49bd-b9d7-da3f09848d21" providerId="ADAL" clId="{BD20BE7E-72EA-4327-8326-1145F18CD28D}" dt="2022-10-20T10:17:37.451" v="17" actId="2696"/>
          <pc:sldLayoutMkLst>
            <pc:docMk/>
            <pc:sldMasterMk cId="1905006952" sldId="2147483774"/>
            <pc:sldLayoutMk cId="173442909" sldId="2147483775"/>
          </pc:sldLayoutMkLst>
        </pc:sldLayoutChg>
        <pc:sldLayoutChg chg="del">
          <pc:chgData name="Saranya Sriram" userId="31246c95-b325-49bd-b9d7-da3f09848d21" providerId="ADAL" clId="{BD20BE7E-72EA-4327-8326-1145F18CD28D}" dt="2022-10-20T10:17:37.461" v="18" actId="2696"/>
          <pc:sldLayoutMkLst>
            <pc:docMk/>
            <pc:sldMasterMk cId="1905006952" sldId="2147483774"/>
            <pc:sldLayoutMk cId="1582650586" sldId="2147483776"/>
          </pc:sldLayoutMkLst>
        </pc:sldLayoutChg>
        <pc:sldLayoutChg chg="del">
          <pc:chgData name="Saranya Sriram" userId="31246c95-b325-49bd-b9d7-da3f09848d21" providerId="ADAL" clId="{BD20BE7E-72EA-4327-8326-1145F18CD28D}" dt="2022-10-20T10:17:37.463" v="19" actId="2696"/>
          <pc:sldLayoutMkLst>
            <pc:docMk/>
            <pc:sldMasterMk cId="1905006952" sldId="2147483774"/>
            <pc:sldLayoutMk cId="3686330051" sldId="2147483777"/>
          </pc:sldLayoutMkLst>
        </pc:sldLayoutChg>
        <pc:sldLayoutChg chg="del">
          <pc:chgData name="Saranya Sriram" userId="31246c95-b325-49bd-b9d7-da3f09848d21" providerId="ADAL" clId="{BD20BE7E-72EA-4327-8326-1145F18CD28D}" dt="2022-10-20T10:17:37.466" v="20" actId="2696"/>
          <pc:sldLayoutMkLst>
            <pc:docMk/>
            <pc:sldMasterMk cId="1905006952" sldId="2147483774"/>
            <pc:sldLayoutMk cId="3635994439" sldId="2147483778"/>
          </pc:sldLayoutMkLst>
        </pc:sldLayoutChg>
        <pc:sldLayoutChg chg="del">
          <pc:chgData name="Saranya Sriram" userId="31246c95-b325-49bd-b9d7-da3f09848d21" providerId="ADAL" clId="{BD20BE7E-72EA-4327-8326-1145F18CD28D}" dt="2022-10-20T10:17:37.467" v="21" actId="2696"/>
          <pc:sldLayoutMkLst>
            <pc:docMk/>
            <pc:sldMasterMk cId="1905006952" sldId="2147483774"/>
            <pc:sldLayoutMk cId="3101483782" sldId="2147483779"/>
          </pc:sldLayoutMkLst>
        </pc:sldLayoutChg>
        <pc:sldLayoutChg chg="del">
          <pc:chgData name="Saranya Sriram" userId="31246c95-b325-49bd-b9d7-da3f09848d21" providerId="ADAL" clId="{BD20BE7E-72EA-4327-8326-1145F18CD28D}" dt="2022-10-20T10:17:37.470" v="22" actId="2696"/>
          <pc:sldLayoutMkLst>
            <pc:docMk/>
            <pc:sldMasterMk cId="1905006952" sldId="2147483774"/>
            <pc:sldLayoutMk cId="922065584" sldId="2147483780"/>
          </pc:sldLayoutMkLst>
        </pc:sldLayoutChg>
        <pc:sldLayoutChg chg="del">
          <pc:chgData name="Saranya Sriram" userId="31246c95-b325-49bd-b9d7-da3f09848d21" providerId="ADAL" clId="{BD20BE7E-72EA-4327-8326-1145F18CD28D}" dt="2022-10-20T10:17:37.472" v="23" actId="2696"/>
          <pc:sldLayoutMkLst>
            <pc:docMk/>
            <pc:sldMasterMk cId="1905006952" sldId="2147483774"/>
            <pc:sldLayoutMk cId="1139556877" sldId="2147483781"/>
          </pc:sldLayoutMkLst>
        </pc:sldLayoutChg>
        <pc:sldLayoutChg chg="del">
          <pc:chgData name="Saranya Sriram" userId="31246c95-b325-49bd-b9d7-da3f09848d21" providerId="ADAL" clId="{BD20BE7E-72EA-4327-8326-1145F18CD28D}" dt="2022-10-20T10:17:37.475" v="24" actId="2696"/>
          <pc:sldLayoutMkLst>
            <pc:docMk/>
            <pc:sldMasterMk cId="1905006952" sldId="2147483774"/>
            <pc:sldLayoutMk cId="354351116" sldId="2147483782"/>
          </pc:sldLayoutMkLst>
        </pc:sldLayoutChg>
        <pc:sldLayoutChg chg="del">
          <pc:chgData name="Saranya Sriram" userId="31246c95-b325-49bd-b9d7-da3f09848d21" providerId="ADAL" clId="{BD20BE7E-72EA-4327-8326-1145F18CD28D}" dt="2022-10-20T10:17:37.477" v="25" actId="2696"/>
          <pc:sldLayoutMkLst>
            <pc:docMk/>
            <pc:sldMasterMk cId="1905006952" sldId="2147483774"/>
            <pc:sldLayoutMk cId="737902911" sldId="2147483783"/>
          </pc:sldLayoutMkLst>
        </pc:sldLayoutChg>
        <pc:sldLayoutChg chg="del">
          <pc:chgData name="Saranya Sriram" userId="31246c95-b325-49bd-b9d7-da3f09848d21" providerId="ADAL" clId="{BD20BE7E-72EA-4327-8326-1145F18CD28D}" dt="2022-10-20T10:17:37.479" v="26" actId="2696"/>
          <pc:sldLayoutMkLst>
            <pc:docMk/>
            <pc:sldMasterMk cId="1905006952" sldId="2147483774"/>
            <pc:sldLayoutMk cId="2007582876" sldId="2147483784"/>
          </pc:sldLayoutMkLst>
        </pc:sldLayoutChg>
        <pc:sldLayoutChg chg="del">
          <pc:chgData name="Saranya Sriram" userId="31246c95-b325-49bd-b9d7-da3f09848d21" providerId="ADAL" clId="{BD20BE7E-72EA-4327-8326-1145F18CD28D}" dt="2022-10-20T10:17:37.481" v="27" actId="2696"/>
          <pc:sldLayoutMkLst>
            <pc:docMk/>
            <pc:sldMasterMk cId="1905006952" sldId="2147483774"/>
            <pc:sldLayoutMk cId="3674379286" sldId="2147483785"/>
          </pc:sldLayoutMkLst>
        </pc:sldLayoutChg>
        <pc:sldLayoutChg chg="del">
          <pc:chgData name="Saranya Sriram" userId="31246c95-b325-49bd-b9d7-da3f09848d21" providerId="ADAL" clId="{BD20BE7E-72EA-4327-8326-1145F18CD28D}" dt="2022-10-20T10:17:37.481" v="28" actId="2696"/>
          <pc:sldLayoutMkLst>
            <pc:docMk/>
            <pc:sldMasterMk cId="1905006952" sldId="2147483774"/>
            <pc:sldLayoutMk cId="3167797022" sldId="2147483786"/>
          </pc:sldLayoutMkLst>
        </pc:sldLayoutChg>
        <pc:sldLayoutChg chg="del">
          <pc:chgData name="Saranya Sriram" userId="31246c95-b325-49bd-b9d7-da3f09848d21" providerId="ADAL" clId="{BD20BE7E-72EA-4327-8326-1145F18CD28D}" dt="2022-10-20T10:17:37.486" v="29" actId="2696"/>
          <pc:sldLayoutMkLst>
            <pc:docMk/>
            <pc:sldMasterMk cId="1905006952" sldId="2147483774"/>
            <pc:sldLayoutMk cId="2241542412" sldId="2147483787"/>
          </pc:sldLayoutMkLst>
        </pc:sldLayoutChg>
        <pc:sldLayoutChg chg="del">
          <pc:chgData name="Saranya Sriram" userId="31246c95-b325-49bd-b9d7-da3f09848d21" providerId="ADAL" clId="{BD20BE7E-72EA-4327-8326-1145F18CD28D}" dt="2022-10-20T10:17:37.488" v="30" actId="2696"/>
          <pc:sldLayoutMkLst>
            <pc:docMk/>
            <pc:sldMasterMk cId="1905006952" sldId="2147483774"/>
            <pc:sldLayoutMk cId="339493177" sldId="2147483788"/>
          </pc:sldLayoutMkLst>
        </pc:sldLayoutChg>
        <pc:sldLayoutChg chg="del">
          <pc:chgData name="Saranya Sriram" userId="31246c95-b325-49bd-b9d7-da3f09848d21" providerId="ADAL" clId="{BD20BE7E-72EA-4327-8326-1145F18CD28D}" dt="2022-10-20T10:17:37.490" v="31" actId="2696"/>
          <pc:sldLayoutMkLst>
            <pc:docMk/>
            <pc:sldMasterMk cId="1905006952" sldId="2147483774"/>
            <pc:sldLayoutMk cId="1224606502" sldId="2147483789"/>
          </pc:sldLayoutMkLst>
        </pc:sldLayoutChg>
        <pc:sldLayoutChg chg="del">
          <pc:chgData name="Saranya Sriram" userId="31246c95-b325-49bd-b9d7-da3f09848d21" providerId="ADAL" clId="{BD20BE7E-72EA-4327-8326-1145F18CD28D}" dt="2022-10-20T10:17:37.492" v="32" actId="2696"/>
          <pc:sldLayoutMkLst>
            <pc:docMk/>
            <pc:sldMasterMk cId="1905006952" sldId="2147483774"/>
            <pc:sldLayoutMk cId="3398430790" sldId="2147483790"/>
          </pc:sldLayoutMkLst>
        </pc:sldLayoutChg>
        <pc:sldLayoutChg chg="del">
          <pc:chgData name="Saranya Sriram" userId="31246c95-b325-49bd-b9d7-da3f09848d21" providerId="ADAL" clId="{BD20BE7E-72EA-4327-8326-1145F18CD28D}" dt="2022-10-20T10:17:37.495" v="33" actId="2696"/>
          <pc:sldLayoutMkLst>
            <pc:docMk/>
            <pc:sldMasterMk cId="1905006952" sldId="2147483774"/>
            <pc:sldLayoutMk cId="457352956" sldId="2147483791"/>
          </pc:sldLayoutMkLst>
        </pc:sldLayoutChg>
        <pc:sldLayoutChg chg="del">
          <pc:chgData name="Saranya Sriram" userId="31246c95-b325-49bd-b9d7-da3f09848d21" providerId="ADAL" clId="{BD20BE7E-72EA-4327-8326-1145F18CD28D}" dt="2022-10-20T10:17:37.495" v="34" actId="2696"/>
          <pc:sldLayoutMkLst>
            <pc:docMk/>
            <pc:sldMasterMk cId="1905006952" sldId="2147483774"/>
            <pc:sldLayoutMk cId="4197802571" sldId="2147483792"/>
          </pc:sldLayoutMkLst>
        </pc:sldLayoutChg>
        <pc:sldLayoutChg chg="del">
          <pc:chgData name="Saranya Sriram" userId="31246c95-b325-49bd-b9d7-da3f09848d21" providerId="ADAL" clId="{BD20BE7E-72EA-4327-8326-1145F18CD28D}" dt="2022-10-20T10:17:37.495" v="35" actId="2696"/>
          <pc:sldLayoutMkLst>
            <pc:docMk/>
            <pc:sldMasterMk cId="1905006952" sldId="2147483774"/>
            <pc:sldLayoutMk cId="502499078" sldId="2147483793"/>
          </pc:sldLayoutMkLst>
        </pc:sldLayoutChg>
        <pc:sldLayoutChg chg="del">
          <pc:chgData name="Saranya Sriram" userId="31246c95-b325-49bd-b9d7-da3f09848d21" providerId="ADAL" clId="{BD20BE7E-72EA-4327-8326-1145F18CD28D}" dt="2022-10-20T10:17:37.495" v="36" actId="2696"/>
          <pc:sldLayoutMkLst>
            <pc:docMk/>
            <pc:sldMasterMk cId="1905006952" sldId="2147483774"/>
            <pc:sldLayoutMk cId="4229532533" sldId="2147483794"/>
          </pc:sldLayoutMkLst>
        </pc:sldLayoutChg>
        <pc:sldLayoutChg chg="del">
          <pc:chgData name="Saranya Sriram" userId="31246c95-b325-49bd-b9d7-da3f09848d21" providerId="ADAL" clId="{BD20BE7E-72EA-4327-8326-1145F18CD28D}" dt="2022-10-20T10:17:37.508" v="37" actId="2696"/>
          <pc:sldLayoutMkLst>
            <pc:docMk/>
            <pc:sldMasterMk cId="1905006952" sldId="2147483774"/>
            <pc:sldLayoutMk cId="2005704012" sldId="2147483795"/>
          </pc:sldLayoutMkLst>
        </pc:sldLayoutChg>
        <pc:sldLayoutChg chg="del">
          <pc:chgData name="Saranya Sriram" userId="31246c95-b325-49bd-b9d7-da3f09848d21" providerId="ADAL" clId="{BD20BE7E-72EA-4327-8326-1145F18CD28D}" dt="2022-10-20T10:17:37.515" v="38" actId="2696"/>
          <pc:sldLayoutMkLst>
            <pc:docMk/>
            <pc:sldMasterMk cId="1905006952" sldId="2147483774"/>
            <pc:sldLayoutMk cId="1499248089" sldId="2147483796"/>
          </pc:sldLayoutMkLst>
        </pc:sldLayoutChg>
        <pc:sldLayoutChg chg="del">
          <pc:chgData name="Saranya Sriram" userId="31246c95-b325-49bd-b9d7-da3f09848d21" providerId="ADAL" clId="{BD20BE7E-72EA-4327-8326-1145F18CD28D}" dt="2022-10-20T10:17:37.520" v="39" actId="2696"/>
          <pc:sldLayoutMkLst>
            <pc:docMk/>
            <pc:sldMasterMk cId="1905006952" sldId="2147483774"/>
            <pc:sldLayoutMk cId="1414092504" sldId="2147483797"/>
          </pc:sldLayoutMkLst>
        </pc:sldLayoutChg>
        <pc:sldLayoutChg chg="del">
          <pc:chgData name="Saranya Sriram" userId="31246c95-b325-49bd-b9d7-da3f09848d21" providerId="ADAL" clId="{BD20BE7E-72EA-4327-8326-1145F18CD28D}" dt="2022-10-20T10:17:37.520" v="40" actId="2696"/>
          <pc:sldLayoutMkLst>
            <pc:docMk/>
            <pc:sldMasterMk cId="1905006952" sldId="2147483774"/>
            <pc:sldLayoutMk cId="3113100673" sldId="2147483798"/>
          </pc:sldLayoutMkLst>
        </pc:sldLayoutChg>
        <pc:sldLayoutChg chg="del">
          <pc:chgData name="Saranya Sriram" userId="31246c95-b325-49bd-b9d7-da3f09848d21" providerId="ADAL" clId="{BD20BE7E-72EA-4327-8326-1145F18CD28D}" dt="2022-10-20T10:17:37.525" v="41" actId="2696"/>
          <pc:sldLayoutMkLst>
            <pc:docMk/>
            <pc:sldMasterMk cId="1905006952" sldId="2147483774"/>
            <pc:sldLayoutMk cId="3500100330" sldId="2147483799"/>
          </pc:sldLayoutMkLst>
        </pc:sldLayoutChg>
        <pc:sldLayoutChg chg="del">
          <pc:chgData name="Saranya Sriram" userId="31246c95-b325-49bd-b9d7-da3f09848d21" providerId="ADAL" clId="{BD20BE7E-72EA-4327-8326-1145F18CD28D}" dt="2022-10-20T10:17:37.525" v="42" actId="2696"/>
          <pc:sldLayoutMkLst>
            <pc:docMk/>
            <pc:sldMasterMk cId="1905006952" sldId="2147483774"/>
            <pc:sldLayoutMk cId="4249965830" sldId="2147483800"/>
          </pc:sldLayoutMkLst>
        </pc:sldLayoutChg>
        <pc:sldLayoutChg chg="del">
          <pc:chgData name="Saranya Sriram" userId="31246c95-b325-49bd-b9d7-da3f09848d21" providerId="ADAL" clId="{BD20BE7E-72EA-4327-8326-1145F18CD28D}" dt="2022-10-20T10:17:37.532" v="43" actId="2696"/>
          <pc:sldLayoutMkLst>
            <pc:docMk/>
            <pc:sldMasterMk cId="1905006952" sldId="2147483774"/>
            <pc:sldLayoutMk cId="3957022161" sldId="2147483801"/>
          </pc:sldLayoutMkLst>
        </pc:sldLayoutChg>
        <pc:sldLayoutChg chg="del">
          <pc:chgData name="Saranya Sriram" userId="31246c95-b325-49bd-b9d7-da3f09848d21" providerId="ADAL" clId="{BD20BE7E-72EA-4327-8326-1145F18CD28D}" dt="2022-10-20T10:17:37.540" v="44" actId="2696"/>
          <pc:sldLayoutMkLst>
            <pc:docMk/>
            <pc:sldMasterMk cId="1905006952" sldId="2147483774"/>
            <pc:sldLayoutMk cId="2759259102" sldId="2147483802"/>
          </pc:sldLayoutMkLst>
        </pc:sldLayoutChg>
        <pc:sldLayoutChg chg="del">
          <pc:chgData name="Saranya Sriram" userId="31246c95-b325-49bd-b9d7-da3f09848d21" providerId="ADAL" clId="{BD20BE7E-72EA-4327-8326-1145F18CD28D}" dt="2022-10-20T10:17:37.545" v="45" actId="2696"/>
          <pc:sldLayoutMkLst>
            <pc:docMk/>
            <pc:sldMasterMk cId="1905006952" sldId="2147483774"/>
            <pc:sldLayoutMk cId="225851693" sldId="2147483803"/>
          </pc:sldLayoutMkLst>
        </pc:sldLayoutChg>
        <pc:sldLayoutChg chg="del">
          <pc:chgData name="Saranya Sriram" userId="31246c95-b325-49bd-b9d7-da3f09848d21" providerId="ADAL" clId="{BD20BE7E-72EA-4327-8326-1145F18CD28D}" dt="2022-10-20T10:17:37.548" v="46" actId="2696"/>
          <pc:sldLayoutMkLst>
            <pc:docMk/>
            <pc:sldMasterMk cId="1905006952" sldId="2147483774"/>
            <pc:sldLayoutMk cId="2986856124" sldId="2147483804"/>
          </pc:sldLayoutMkLst>
        </pc:sldLayoutChg>
        <pc:sldLayoutChg chg="del">
          <pc:chgData name="Saranya Sriram" userId="31246c95-b325-49bd-b9d7-da3f09848d21" providerId="ADAL" clId="{BD20BE7E-72EA-4327-8326-1145F18CD28D}" dt="2022-10-20T10:17:37.551" v="47" actId="2696"/>
          <pc:sldLayoutMkLst>
            <pc:docMk/>
            <pc:sldMasterMk cId="1905006952" sldId="2147483774"/>
            <pc:sldLayoutMk cId="3794679935" sldId="2147483805"/>
          </pc:sldLayoutMkLst>
        </pc:sldLayoutChg>
        <pc:sldLayoutChg chg="del">
          <pc:chgData name="Saranya Sriram" userId="31246c95-b325-49bd-b9d7-da3f09848d21" providerId="ADAL" clId="{BD20BE7E-72EA-4327-8326-1145F18CD28D}" dt="2022-10-20T10:17:37.553" v="48" actId="2696"/>
          <pc:sldLayoutMkLst>
            <pc:docMk/>
            <pc:sldMasterMk cId="1905006952" sldId="2147483774"/>
            <pc:sldLayoutMk cId="1240235611" sldId="2147483807"/>
          </pc:sldLayoutMkLst>
        </pc:sldLayoutChg>
        <pc:sldLayoutChg chg="del">
          <pc:chgData name="Saranya Sriram" userId="31246c95-b325-49bd-b9d7-da3f09848d21" providerId="ADAL" clId="{BD20BE7E-72EA-4327-8326-1145F18CD28D}" dt="2022-10-20T10:17:37.557" v="49" actId="2696"/>
          <pc:sldLayoutMkLst>
            <pc:docMk/>
            <pc:sldMasterMk cId="1905006952" sldId="2147483774"/>
            <pc:sldLayoutMk cId="1886234355" sldId="2147483808"/>
          </pc:sldLayoutMkLst>
        </pc:sldLayoutChg>
        <pc:sldLayoutChg chg="del">
          <pc:chgData name="Saranya Sriram" userId="31246c95-b325-49bd-b9d7-da3f09848d21" providerId="ADAL" clId="{BD20BE7E-72EA-4327-8326-1145F18CD28D}" dt="2022-10-20T10:17:37.557" v="50" actId="2696"/>
          <pc:sldLayoutMkLst>
            <pc:docMk/>
            <pc:sldMasterMk cId="1905006952" sldId="2147483774"/>
            <pc:sldLayoutMk cId="319337620" sldId="2147483809"/>
          </pc:sldLayoutMkLst>
        </pc:sldLayoutChg>
        <pc:sldLayoutChg chg="del">
          <pc:chgData name="Saranya Sriram" userId="31246c95-b325-49bd-b9d7-da3f09848d21" providerId="ADAL" clId="{BD20BE7E-72EA-4327-8326-1145F18CD28D}" dt="2022-10-20T10:17:37.561" v="51" actId="2696"/>
          <pc:sldLayoutMkLst>
            <pc:docMk/>
            <pc:sldMasterMk cId="1905006952" sldId="2147483774"/>
            <pc:sldLayoutMk cId="4267524313" sldId="2147483810"/>
          </pc:sldLayoutMkLst>
        </pc:sldLayoutChg>
      </pc:sldMasterChg>
      <pc:sldMasterChg chg="del delSldLayout">
        <pc:chgData name="Saranya Sriram" userId="31246c95-b325-49bd-b9d7-da3f09848d21" providerId="ADAL" clId="{BD20BE7E-72EA-4327-8326-1145F18CD28D}" dt="2022-10-20T10:17:38.694" v="277" actId="2696"/>
        <pc:sldMasterMkLst>
          <pc:docMk/>
          <pc:sldMasterMk cId="168588104" sldId="2147483828"/>
        </pc:sldMasterMkLst>
        <pc:sldLayoutChg chg="del">
          <pc:chgData name="Saranya Sriram" userId="31246c95-b325-49bd-b9d7-da3f09848d21" providerId="ADAL" clId="{BD20BE7E-72EA-4327-8326-1145F18CD28D}" dt="2022-10-20T10:17:38.679" v="266" actId="2696"/>
          <pc:sldLayoutMkLst>
            <pc:docMk/>
            <pc:sldMasterMk cId="168588104" sldId="2147483828"/>
            <pc:sldLayoutMk cId="3899004129" sldId="2147483829"/>
          </pc:sldLayoutMkLst>
        </pc:sldLayoutChg>
        <pc:sldLayoutChg chg="del">
          <pc:chgData name="Saranya Sriram" userId="31246c95-b325-49bd-b9d7-da3f09848d21" providerId="ADAL" clId="{BD20BE7E-72EA-4327-8326-1145F18CD28D}" dt="2022-10-20T10:17:38.682" v="267" actId="2696"/>
          <pc:sldLayoutMkLst>
            <pc:docMk/>
            <pc:sldMasterMk cId="168588104" sldId="2147483828"/>
            <pc:sldLayoutMk cId="4267746155" sldId="2147483830"/>
          </pc:sldLayoutMkLst>
        </pc:sldLayoutChg>
        <pc:sldLayoutChg chg="del">
          <pc:chgData name="Saranya Sriram" userId="31246c95-b325-49bd-b9d7-da3f09848d21" providerId="ADAL" clId="{BD20BE7E-72EA-4327-8326-1145F18CD28D}" dt="2022-10-20T10:17:38.683" v="268" actId="2696"/>
          <pc:sldLayoutMkLst>
            <pc:docMk/>
            <pc:sldMasterMk cId="168588104" sldId="2147483828"/>
            <pc:sldLayoutMk cId="4244962517" sldId="2147483831"/>
          </pc:sldLayoutMkLst>
        </pc:sldLayoutChg>
        <pc:sldLayoutChg chg="del">
          <pc:chgData name="Saranya Sriram" userId="31246c95-b325-49bd-b9d7-da3f09848d21" providerId="ADAL" clId="{BD20BE7E-72EA-4327-8326-1145F18CD28D}" dt="2022-10-20T10:17:38.683" v="269" actId="2696"/>
          <pc:sldLayoutMkLst>
            <pc:docMk/>
            <pc:sldMasterMk cId="168588104" sldId="2147483828"/>
            <pc:sldLayoutMk cId="3366668536" sldId="2147483832"/>
          </pc:sldLayoutMkLst>
        </pc:sldLayoutChg>
        <pc:sldLayoutChg chg="del">
          <pc:chgData name="Saranya Sriram" userId="31246c95-b325-49bd-b9d7-da3f09848d21" providerId="ADAL" clId="{BD20BE7E-72EA-4327-8326-1145F18CD28D}" dt="2022-10-20T10:17:38.683" v="270" actId="2696"/>
          <pc:sldLayoutMkLst>
            <pc:docMk/>
            <pc:sldMasterMk cId="168588104" sldId="2147483828"/>
            <pc:sldLayoutMk cId="2836364188" sldId="2147483833"/>
          </pc:sldLayoutMkLst>
        </pc:sldLayoutChg>
        <pc:sldLayoutChg chg="del">
          <pc:chgData name="Saranya Sriram" userId="31246c95-b325-49bd-b9d7-da3f09848d21" providerId="ADAL" clId="{BD20BE7E-72EA-4327-8326-1145F18CD28D}" dt="2022-10-20T10:17:38.683" v="271" actId="2696"/>
          <pc:sldLayoutMkLst>
            <pc:docMk/>
            <pc:sldMasterMk cId="168588104" sldId="2147483828"/>
            <pc:sldLayoutMk cId="1655073159" sldId="2147483834"/>
          </pc:sldLayoutMkLst>
        </pc:sldLayoutChg>
        <pc:sldLayoutChg chg="del">
          <pc:chgData name="Saranya Sriram" userId="31246c95-b325-49bd-b9d7-da3f09848d21" providerId="ADAL" clId="{BD20BE7E-72EA-4327-8326-1145F18CD28D}" dt="2022-10-20T10:17:38.683" v="272" actId="2696"/>
          <pc:sldLayoutMkLst>
            <pc:docMk/>
            <pc:sldMasterMk cId="168588104" sldId="2147483828"/>
            <pc:sldLayoutMk cId="172117465" sldId="2147483835"/>
          </pc:sldLayoutMkLst>
        </pc:sldLayoutChg>
        <pc:sldLayoutChg chg="del">
          <pc:chgData name="Saranya Sriram" userId="31246c95-b325-49bd-b9d7-da3f09848d21" providerId="ADAL" clId="{BD20BE7E-72EA-4327-8326-1145F18CD28D}" dt="2022-10-20T10:17:38.694" v="273" actId="2696"/>
          <pc:sldLayoutMkLst>
            <pc:docMk/>
            <pc:sldMasterMk cId="168588104" sldId="2147483828"/>
            <pc:sldLayoutMk cId="2268629082" sldId="2147483836"/>
          </pc:sldLayoutMkLst>
        </pc:sldLayoutChg>
        <pc:sldLayoutChg chg="del">
          <pc:chgData name="Saranya Sriram" userId="31246c95-b325-49bd-b9d7-da3f09848d21" providerId="ADAL" clId="{BD20BE7E-72EA-4327-8326-1145F18CD28D}" dt="2022-10-20T10:17:38.694" v="274" actId="2696"/>
          <pc:sldLayoutMkLst>
            <pc:docMk/>
            <pc:sldMasterMk cId="168588104" sldId="2147483828"/>
            <pc:sldLayoutMk cId="3256527070" sldId="2147483837"/>
          </pc:sldLayoutMkLst>
        </pc:sldLayoutChg>
        <pc:sldLayoutChg chg="del">
          <pc:chgData name="Saranya Sriram" userId="31246c95-b325-49bd-b9d7-da3f09848d21" providerId="ADAL" clId="{BD20BE7E-72EA-4327-8326-1145F18CD28D}" dt="2022-10-20T10:17:38.694" v="275" actId="2696"/>
          <pc:sldLayoutMkLst>
            <pc:docMk/>
            <pc:sldMasterMk cId="168588104" sldId="2147483828"/>
            <pc:sldLayoutMk cId="491108925" sldId="2147483838"/>
          </pc:sldLayoutMkLst>
        </pc:sldLayoutChg>
        <pc:sldLayoutChg chg="del">
          <pc:chgData name="Saranya Sriram" userId="31246c95-b325-49bd-b9d7-da3f09848d21" providerId="ADAL" clId="{BD20BE7E-72EA-4327-8326-1145F18CD28D}" dt="2022-10-20T10:17:38.694" v="276" actId="2696"/>
          <pc:sldLayoutMkLst>
            <pc:docMk/>
            <pc:sldMasterMk cId="168588104" sldId="2147483828"/>
            <pc:sldLayoutMk cId="2608318400" sldId="2147483839"/>
          </pc:sldLayoutMkLst>
        </pc:sldLayoutChg>
      </pc:sldMasterChg>
      <pc:sldMasterChg chg="del delSldLayout">
        <pc:chgData name="Saranya Sriram" userId="31246c95-b325-49bd-b9d7-da3f09848d21" providerId="ADAL" clId="{BD20BE7E-72EA-4327-8326-1145F18CD28D}" dt="2022-10-20T10:17:39.168" v="442" actId="2696"/>
        <pc:sldMasterMkLst>
          <pc:docMk/>
          <pc:sldMasterMk cId="1226823501" sldId="2147483840"/>
        </pc:sldMasterMkLst>
        <pc:sldLayoutChg chg="del">
          <pc:chgData name="Saranya Sriram" userId="31246c95-b325-49bd-b9d7-da3f09848d21" providerId="ADAL" clId="{BD20BE7E-72EA-4327-8326-1145F18CD28D}" dt="2022-10-20T10:17:39.080" v="404" actId="2696"/>
          <pc:sldLayoutMkLst>
            <pc:docMk/>
            <pc:sldMasterMk cId="1226823501" sldId="2147483840"/>
            <pc:sldLayoutMk cId="2485925821" sldId="2147483841"/>
          </pc:sldLayoutMkLst>
        </pc:sldLayoutChg>
        <pc:sldLayoutChg chg="del">
          <pc:chgData name="Saranya Sriram" userId="31246c95-b325-49bd-b9d7-da3f09848d21" providerId="ADAL" clId="{BD20BE7E-72EA-4327-8326-1145F18CD28D}" dt="2022-10-20T10:17:39.080" v="405" actId="2696"/>
          <pc:sldLayoutMkLst>
            <pc:docMk/>
            <pc:sldMasterMk cId="1226823501" sldId="2147483840"/>
            <pc:sldLayoutMk cId="2306520702" sldId="2147483842"/>
          </pc:sldLayoutMkLst>
        </pc:sldLayoutChg>
        <pc:sldLayoutChg chg="del">
          <pc:chgData name="Saranya Sriram" userId="31246c95-b325-49bd-b9d7-da3f09848d21" providerId="ADAL" clId="{BD20BE7E-72EA-4327-8326-1145F18CD28D}" dt="2022-10-20T10:17:39.088" v="406" actId="2696"/>
          <pc:sldLayoutMkLst>
            <pc:docMk/>
            <pc:sldMasterMk cId="1226823501" sldId="2147483840"/>
            <pc:sldLayoutMk cId="63467676" sldId="2147483843"/>
          </pc:sldLayoutMkLst>
        </pc:sldLayoutChg>
        <pc:sldLayoutChg chg="del">
          <pc:chgData name="Saranya Sriram" userId="31246c95-b325-49bd-b9d7-da3f09848d21" providerId="ADAL" clId="{BD20BE7E-72EA-4327-8326-1145F18CD28D}" dt="2022-10-20T10:17:39.091" v="407" actId="2696"/>
          <pc:sldLayoutMkLst>
            <pc:docMk/>
            <pc:sldMasterMk cId="1226823501" sldId="2147483840"/>
            <pc:sldLayoutMk cId="1207465164" sldId="2147483844"/>
          </pc:sldLayoutMkLst>
        </pc:sldLayoutChg>
        <pc:sldLayoutChg chg="del">
          <pc:chgData name="Saranya Sriram" userId="31246c95-b325-49bd-b9d7-da3f09848d21" providerId="ADAL" clId="{BD20BE7E-72EA-4327-8326-1145F18CD28D}" dt="2022-10-20T10:17:39.093" v="408" actId="2696"/>
          <pc:sldLayoutMkLst>
            <pc:docMk/>
            <pc:sldMasterMk cId="1226823501" sldId="2147483840"/>
            <pc:sldLayoutMk cId="1780580950" sldId="2147483845"/>
          </pc:sldLayoutMkLst>
        </pc:sldLayoutChg>
        <pc:sldLayoutChg chg="del">
          <pc:chgData name="Saranya Sriram" userId="31246c95-b325-49bd-b9d7-da3f09848d21" providerId="ADAL" clId="{BD20BE7E-72EA-4327-8326-1145F18CD28D}" dt="2022-10-20T10:17:39.095" v="409" actId="2696"/>
          <pc:sldLayoutMkLst>
            <pc:docMk/>
            <pc:sldMasterMk cId="1226823501" sldId="2147483840"/>
            <pc:sldLayoutMk cId="4190796771" sldId="2147483846"/>
          </pc:sldLayoutMkLst>
        </pc:sldLayoutChg>
        <pc:sldLayoutChg chg="del">
          <pc:chgData name="Saranya Sriram" userId="31246c95-b325-49bd-b9d7-da3f09848d21" providerId="ADAL" clId="{BD20BE7E-72EA-4327-8326-1145F18CD28D}" dt="2022-10-20T10:17:39.099" v="410" actId="2696"/>
          <pc:sldLayoutMkLst>
            <pc:docMk/>
            <pc:sldMasterMk cId="1226823501" sldId="2147483840"/>
            <pc:sldLayoutMk cId="715525126" sldId="2147483847"/>
          </pc:sldLayoutMkLst>
        </pc:sldLayoutChg>
        <pc:sldLayoutChg chg="del">
          <pc:chgData name="Saranya Sriram" userId="31246c95-b325-49bd-b9d7-da3f09848d21" providerId="ADAL" clId="{BD20BE7E-72EA-4327-8326-1145F18CD28D}" dt="2022-10-20T10:17:39.101" v="411" actId="2696"/>
          <pc:sldLayoutMkLst>
            <pc:docMk/>
            <pc:sldMasterMk cId="1226823501" sldId="2147483840"/>
            <pc:sldLayoutMk cId="4190048210" sldId="2147483848"/>
          </pc:sldLayoutMkLst>
        </pc:sldLayoutChg>
        <pc:sldLayoutChg chg="del">
          <pc:chgData name="Saranya Sriram" userId="31246c95-b325-49bd-b9d7-da3f09848d21" providerId="ADAL" clId="{BD20BE7E-72EA-4327-8326-1145F18CD28D}" dt="2022-10-20T10:17:39.104" v="412" actId="2696"/>
          <pc:sldLayoutMkLst>
            <pc:docMk/>
            <pc:sldMasterMk cId="1226823501" sldId="2147483840"/>
            <pc:sldLayoutMk cId="2136877473" sldId="2147483849"/>
          </pc:sldLayoutMkLst>
        </pc:sldLayoutChg>
        <pc:sldLayoutChg chg="del">
          <pc:chgData name="Saranya Sriram" userId="31246c95-b325-49bd-b9d7-da3f09848d21" providerId="ADAL" clId="{BD20BE7E-72EA-4327-8326-1145F18CD28D}" dt="2022-10-20T10:17:39.107" v="413" actId="2696"/>
          <pc:sldLayoutMkLst>
            <pc:docMk/>
            <pc:sldMasterMk cId="1226823501" sldId="2147483840"/>
            <pc:sldLayoutMk cId="2601478511" sldId="2147483850"/>
          </pc:sldLayoutMkLst>
        </pc:sldLayoutChg>
        <pc:sldLayoutChg chg="del">
          <pc:chgData name="Saranya Sriram" userId="31246c95-b325-49bd-b9d7-da3f09848d21" providerId="ADAL" clId="{BD20BE7E-72EA-4327-8326-1145F18CD28D}" dt="2022-10-20T10:17:39.109" v="414" actId="2696"/>
          <pc:sldLayoutMkLst>
            <pc:docMk/>
            <pc:sldMasterMk cId="1226823501" sldId="2147483840"/>
            <pc:sldLayoutMk cId="1026865270" sldId="2147483851"/>
          </pc:sldLayoutMkLst>
        </pc:sldLayoutChg>
        <pc:sldLayoutChg chg="del">
          <pc:chgData name="Saranya Sriram" userId="31246c95-b325-49bd-b9d7-da3f09848d21" providerId="ADAL" clId="{BD20BE7E-72EA-4327-8326-1145F18CD28D}" dt="2022-10-20T10:17:39.112" v="415" actId="2696"/>
          <pc:sldLayoutMkLst>
            <pc:docMk/>
            <pc:sldMasterMk cId="1226823501" sldId="2147483840"/>
            <pc:sldLayoutMk cId="614603790" sldId="2147483852"/>
          </pc:sldLayoutMkLst>
        </pc:sldLayoutChg>
        <pc:sldLayoutChg chg="del">
          <pc:chgData name="Saranya Sriram" userId="31246c95-b325-49bd-b9d7-da3f09848d21" providerId="ADAL" clId="{BD20BE7E-72EA-4327-8326-1145F18CD28D}" dt="2022-10-20T10:17:39.115" v="416" actId="2696"/>
          <pc:sldLayoutMkLst>
            <pc:docMk/>
            <pc:sldMasterMk cId="1226823501" sldId="2147483840"/>
            <pc:sldLayoutMk cId="376988040" sldId="2147483853"/>
          </pc:sldLayoutMkLst>
        </pc:sldLayoutChg>
        <pc:sldLayoutChg chg="del">
          <pc:chgData name="Saranya Sriram" userId="31246c95-b325-49bd-b9d7-da3f09848d21" providerId="ADAL" clId="{BD20BE7E-72EA-4327-8326-1145F18CD28D}" dt="2022-10-20T10:17:39.115" v="417" actId="2696"/>
          <pc:sldLayoutMkLst>
            <pc:docMk/>
            <pc:sldMasterMk cId="1226823501" sldId="2147483840"/>
            <pc:sldLayoutMk cId="1030891156" sldId="2147483854"/>
          </pc:sldLayoutMkLst>
        </pc:sldLayoutChg>
        <pc:sldLayoutChg chg="del">
          <pc:chgData name="Saranya Sriram" userId="31246c95-b325-49bd-b9d7-da3f09848d21" providerId="ADAL" clId="{BD20BE7E-72EA-4327-8326-1145F18CD28D}" dt="2022-10-20T10:17:39.119" v="418" actId="2696"/>
          <pc:sldLayoutMkLst>
            <pc:docMk/>
            <pc:sldMasterMk cId="1226823501" sldId="2147483840"/>
            <pc:sldLayoutMk cId="3753696560" sldId="2147483855"/>
          </pc:sldLayoutMkLst>
        </pc:sldLayoutChg>
        <pc:sldLayoutChg chg="del">
          <pc:chgData name="Saranya Sriram" userId="31246c95-b325-49bd-b9d7-da3f09848d21" providerId="ADAL" clId="{BD20BE7E-72EA-4327-8326-1145F18CD28D}" dt="2022-10-20T10:17:39.121" v="419" actId="2696"/>
          <pc:sldLayoutMkLst>
            <pc:docMk/>
            <pc:sldMasterMk cId="1226823501" sldId="2147483840"/>
            <pc:sldLayoutMk cId="2153741923" sldId="2147483856"/>
          </pc:sldLayoutMkLst>
        </pc:sldLayoutChg>
        <pc:sldLayoutChg chg="del">
          <pc:chgData name="Saranya Sriram" userId="31246c95-b325-49bd-b9d7-da3f09848d21" providerId="ADAL" clId="{BD20BE7E-72EA-4327-8326-1145F18CD28D}" dt="2022-10-20T10:17:39.123" v="420" actId="2696"/>
          <pc:sldLayoutMkLst>
            <pc:docMk/>
            <pc:sldMasterMk cId="1226823501" sldId="2147483840"/>
            <pc:sldLayoutMk cId="2595288212" sldId="2147483857"/>
          </pc:sldLayoutMkLst>
        </pc:sldLayoutChg>
        <pc:sldLayoutChg chg="del">
          <pc:chgData name="Saranya Sriram" userId="31246c95-b325-49bd-b9d7-da3f09848d21" providerId="ADAL" clId="{BD20BE7E-72EA-4327-8326-1145F18CD28D}" dt="2022-10-20T10:17:39.126" v="421" actId="2696"/>
          <pc:sldLayoutMkLst>
            <pc:docMk/>
            <pc:sldMasterMk cId="1226823501" sldId="2147483840"/>
            <pc:sldLayoutMk cId="1636069161" sldId="2147483858"/>
          </pc:sldLayoutMkLst>
        </pc:sldLayoutChg>
        <pc:sldLayoutChg chg="del">
          <pc:chgData name="Saranya Sriram" userId="31246c95-b325-49bd-b9d7-da3f09848d21" providerId="ADAL" clId="{BD20BE7E-72EA-4327-8326-1145F18CD28D}" dt="2022-10-20T10:17:39.129" v="422" actId="2696"/>
          <pc:sldLayoutMkLst>
            <pc:docMk/>
            <pc:sldMasterMk cId="1226823501" sldId="2147483840"/>
            <pc:sldLayoutMk cId="2223469391" sldId="2147483859"/>
          </pc:sldLayoutMkLst>
        </pc:sldLayoutChg>
        <pc:sldLayoutChg chg="del">
          <pc:chgData name="Saranya Sriram" userId="31246c95-b325-49bd-b9d7-da3f09848d21" providerId="ADAL" clId="{BD20BE7E-72EA-4327-8326-1145F18CD28D}" dt="2022-10-20T10:17:39.129" v="423" actId="2696"/>
          <pc:sldLayoutMkLst>
            <pc:docMk/>
            <pc:sldMasterMk cId="1226823501" sldId="2147483840"/>
            <pc:sldLayoutMk cId="763483216" sldId="2147483860"/>
          </pc:sldLayoutMkLst>
        </pc:sldLayoutChg>
        <pc:sldLayoutChg chg="del">
          <pc:chgData name="Saranya Sriram" userId="31246c95-b325-49bd-b9d7-da3f09848d21" providerId="ADAL" clId="{BD20BE7E-72EA-4327-8326-1145F18CD28D}" dt="2022-10-20T10:17:39.134" v="424" actId="2696"/>
          <pc:sldLayoutMkLst>
            <pc:docMk/>
            <pc:sldMasterMk cId="1226823501" sldId="2147483840"/>
            <pc:sldLayoutMk cId="1168743249" sldId="2147483861"/>
          </pc:sldLayoutMkLst>
        </pc:sldLayoutChg>
        <pc:sldLayoutChg chg="del">
          <pc:chgData name="Saranya Sriram" userId="31246c95-b325-49bd-b9d7-da3f09848d21" providerId="ADAL" clId="{BD20BE7E-72EA-4327-8326-1145F18CD28D}" dt="2022-10-20T10:17:39.136" v="425" actId="2696"/>
          <pc:sldLayoutMkLst>
            <pc:docMk/>
            <pc:sldMasterMk cId="1226823501" sldId="2147483840"/>
            <pc:sldLayoutMk cId="2524316493" sldId="2147483862"/>
          </pc:sldLayoutMkLst>
        </pc:sldLayoutChg>
        <pc:sldLayoutChg chg="del">
          <pc:chgData name="Saranya Sriram" userId="31246c95-b325-49bd-b9d7-da3f09848d21" providerId="ADAL" clId="{BD20BE7E-72EA-4327-8326-1145F18CD28D}" dt="2022-10-20T10:17:39.137" v="426" actId="2696"/>
          <pc:sldLayoutMkLst>
            <pc:docMk/>
            <pc:sldMasterMk cId="1226823501" sldId="2147483840"/>
            <pc:sldLayoutMk cId="3285045697" sldId="2147483863"/>
          </pc:sldLayoutMkLst>
        </pc:sldLayoutChg>
        <pc:sldLayoutChg chg="del">
          <pc:chgData name="Saranya Sriram" userId="31246c95-b325-49bd-b9d7-da3f09848d21" providerId="ADAL" clId="{BD20BE7E-72EA-4327-8326-1145F18CD28D}" dt="2022-10-20T10:17:39.137" v="427" actId="2696"/>
          <pc:sldLayoutMkLst>
            <pc:docMk/>
            <pc:sldMasterMk cId="1226823501" sldId="2147483840"/>
            <pc:sldLayoutMk cId="2235231710" sldId="2147483864"/>
          </pc:sldLayoutMkLst>
        </pc:sldLayoutChg>
        <pc:sldLayoutChg chg="del">
          <pc:chgData name="Saranya Sriram" userId="31246c95-b325-49bd-b9d7-da3f09848d21" providerId="ADAL" clId="{BD20BE7E-72EA-4327-8326-1145F18CD28D}" dt="2022-10-20T10:17:39.145" v="428" actId="2696"/>
          <pc:sldLayoutMkLst>
            <pc:docMk/>
            <pc:sldMasterMk cId="1226823501" sldId="2147483840"/>
            <pc:sldLayoutMk cId="1498200662" sldId="2147483865"/>
          </pc:sldLayoutMkLst>
        </pc:sldLayoutChg>
        <pc:sldLayoutChg chg="del">
          <pc:chgData name="Saranya Sriram" userId="31246c95-b325-49bd-b9d7-da3f09848d21" providerId="ADAL" clId="{BD20BE7E-72EA-4327-8326-1145F18CD28D}" dt="2022-10-20T10:17:39.146" v="429" actId="2696"/>
          <pc:sldLayoutMkLst>
            <pc:docMk/>
            <pc:sldMasterMk cId="1226823501" sldId="2147483840"/>
            <pc:sldLayoutMk cId="4046880239" sldId="2147483866"/>
          </pc:sldLayoutMkLst>
        </pc:sldLayoutChg>
        <pc:sldLayoutChg chg="del">
          <pc:chgData name="Saranya Sriram" userId="31246c95-b325-49bd-b9d7-da3f09848d21" providerId="ADAL" clId="{BD20BE7E-72EA-4327-8326-1145F18CD28D}" dt="2022-10-20T10:17:39.146" v="430" actId="2696"/>
          <pc:sldLayoutMkLst>
            <pc:docMk/>
            <pc:sldMasterMk cId="1226823501" sldId="2147483840"/>
            <pc:sldLayoutMk cId="360257755" sldId="2147483867"/>
          </pc:sldLayoutMkLst>
        </pc:sldLayoutChg>
        <pc:sldLayoutChg chg="del">
          <pc:chgData name="Saranya Sriram" userId="31246c95-b325-49bd-b9d7-da3f09848d21" providerId="ADAL" clId="{BD20BE7E-72EA-4327-8326-1145F18CD28D}" dt="2022-10-20T10:17:39.146" v="431" actId="2696"/>
          <pc:sldLayoutMkLst>
            <pc:docMk/>
            <pc:sldMasterMk cId="1226823501" sldId="2147483840"/>
            <pc:sldLayoutMk cId="2614185727" sldId="2147483868"/>
          </pc:sldLayoutMkLst>
        </pc:sldLayoutChg>
        <pc:sldLayoutChg chg="del">
          <pc:chgData name="Saranya Sriram" userId="31246c95-b325-49bd-b9d7-da3f09848d21" providerId="ADAL" clId="{BD20BE7E-72EA-4327-8326-1145F18CD28D}" dt="2022-10-20T10:17:39.153" v="432" actId="2696"/>
          <pc:sldLayoutMkLst>
            <pc:docMk/>
            <pc:sldMasterMk cId="1226823501" sldId="2147483840"/>
            <pc:sldLayoutMk cId="3020458776" sldId="2147483869"/>
          </pc:sldLayoutMkLst>
        </pc:sldLayoutChg>
        <pc:sldLayoutChg chg="del">
          <pc:chgData name="Saranya Sriram" userId="31246c95-b325-49bd-b9d7-da3f09848d21" providerId="ADAL" clId="{BD20BE7E-72EA-4327-8326-1145F18CD28D}" dt="2022-10-20T10:17:39.153" v="433" actId="2696"/>
          <pc:sldLayoutMkLst>
            <pc:docMk/>
            <pc:sldMasterMk cId="1226823501" sldId="2147483840"/>
            <pc:sldLayoutMk cId="2431956167" sldId="2147483870"/>
          </pc:sldLayoutMkLst>
        </pc:sldLayoutChg>
        <pc:sldLayoutChg chg="del">
          <pc:chgData name="Saranya Sriram" userId="31246c95-b325-49bd-b9d7-da3f09848d21" providerId="ADAL" clId="{BD20BE7E-72EA-4327-8326-1145F18CD28D}" dt="2022-10-20T10:17:39.153" v="434" actId="2696"/>
          <pc:sldLayoutMkLst>
            <pc:docMk/>
            <pc:sldMasterMk cId="1226823501" sldId="2147483840"/>
            <pc:sldLayoutMk cId="2592721879" sldId="2147483871"/>
          </pc:sldLayoutMkLst>
        </pc:sldLayoutChg>
        <pc:sldLayoutChg chg="del">
          <pc:chgData name="Saranya Sriram" userId="31246c95-b325-49bd-b9d7-da3f09848d21" providerId="ADAL" clId="{BD20BE7E-72EA-4327-8326-1145F18CD28D}" dt="2022-10-20T10:17:39.162" v="435" actId="2696"/>
          <pc:sldLayoutMkLst>
            <pc:docMk/>
            <pc:sldMasterMk cId="1226823501" sldId="2147483840"/>
            <pc:sldLayoutMk cId="2654859232" sldId="2147483872"/>
          </pc:sldLayoutMkLst>
        </pc:sldLayoutChg>
        <pc:sldLayoutChg chg="del">
          <pc:chgData name="Saranya Sriram" userId="31246c95-b325-49bd-b9d7-da3f09848d21" providerId="ADAL" clId="{BD20BE7E-72EA-4327-8326-1145F18CD28D}" dt="2022-10-20T10:17:39.162" v="436" actId="2696"/>
          <pc:sldLayoutMkLst>
            <pc:docMk/>
            <pc:sldMasterMk cId="1226823501" sldId="2147483840"/>
            <pc:sldLayoutMk cId="877924888" sldId="2147483873"/>
          </pc:sldLayoutMkLst>
        </pc:sldLayoutChg>
        <pc:sldLayoutChg chg="del">
          <pc:chgData name="Saranya Sriram" userId="31246c95-b325-49bd-b9d7-da3f09848d21" providerId="ADAL" clId="{BD20BE7E-72EA-4327-8326-1145F18CD28D}" dt="2022-10-20T10:17:39.166" v="437" actId="2696"/>
          <pc:sldLayoutMkLst>
            <pc:docMk/>
            <pc:sldMasterMk cId="1226823501" sldId="2147483840"/>
            <pc:sldLayoutMk cId="3437679869" sldId="2147483874"/>
          </pc:sldLayoutMkLst>
        </pc:sldLayoutChg>
        <pc:sldLayoutChg chg="del">
          <pc:chgData name="Saranya Sriram" userId="31246c95-b325-49bd-b9d7-da3f09848d21" providerId="ADAL" clId="{BD20BE7E-72EA-4327-8326-1145F18CD28D}" dt="2022-10-20T10:17:39.168" v="438" actId="2696"/>
          <pc:sldLayoutMkLst>
            <pc:docMk/>
            <pc:sldMasterMk cId="1226823501" sldId="2147483840"/>
            <pc:sldLayoutMk cId="1052728325" sldId="2147483875"/>
          </pc:sldLayoutMkLst>
        </pc:sldLayoutChg>
        <pc:sldLayoutChg chg="del">
          <pc:chgData name="Saranya Sriram" userId="31246c95-b325-49bd-b9d7-da3f09848d21" providerId="ADAL" clId="{BD20BE7E-72EA-4327-8326-1145F18CD28D}" dt="2022-10-20T10:17:39.168" v="439" actId="2696"/>
          <pc:sldLayoutMkLst>
            <pc:docMk/>
            <pc:sldMasterMk cId="1226823501" sldId="2147483840"/>
            <pc:sldLayoutMk cId="1177948323" sldId="2147483876"/>
          </pc:sldLayoutMkLst>
        </pc:sldLayoutChg>
        <pc:sldLayoutChg chg="del">
          <pc:chgData name="Saranya Sriram" userId="31246c95-b325-49bd-b9d7-da3f09848d21" providerId="ADAL" clId="{BD20BE7E-72EA-4327-8326-1145F18CD28D}" dt="2022-10-20T10:17:39.168" v="440" actId="2696"/>
          <pc:sldLayoutMkLst>
            <pc:docMk/>
            <pc:sldMasterMk cId="1226823501" sldId="2147483840"/>
            <pc:sldLayoutMk cId="2568478241" sldId="2147483877"/>
          </pc:sldLayoutMkLst>
        </pc:sldLayoutChg>
        <pc:sldLayoutChg chg="del">
          <pc:chgData name="Saranya Sriram" userId="31246c95-b325-49bd-b9d7-da3f09848d21" providerId="ADAL" clId="{BD20BE7E-72EA-4327-8326-1145F18CD28D}" dt="2022-10-20T10:17:39.168" v="441" actId="2696"/>
          <pc:sldLayoutMkLst>
            <pc:docMk/>
            <pc:sldMasterMk cId="1226823501" sldId="2147483840"/>
            <pc:sldLayoutMk cId="39682596" sldId="2147483878"/>
          </pc:sldLayoutMkLst>
        </pc:sldLayoutChg>
      </pc:sldMasterChg>
      <pc:sldMasterChg chg="del delSldLayout">
        <pc:chgData name="Saranya Sriram" userId="31246c95-b325-49bd-b9d7-da3f09848d21" providerId="ADAL" clId="{BD20BE7E-72EA-4327-8326-1145F18CD28D}" dt="2022-10-20T10:17:39.266" v="474" actId="2696"/>
        <pc:sldMasterMkLst>
          <pc:docMk/>
          <pc:sldMasterMk cId="1515429150" sldId="2147483891"/>
        </pc:sldMasterMkLst>
        <pc:sldLayoutChg chg="del">
          <pc:chgData name="Saranya Sriram" userId="31246c95-b325-49bd-b9d7-da3f09848d21" providerId="ADAL" clId="{BD20BE7E-72EA-4327-8326-1145F18CD28D}" dt="2022-10-20T10:17:39.168" v="443" actId="2696"/>
          <pc:sldLayoutMkLst>
            <pc:docMk/>
            <pc:sldMasterMk cId="1515429150" sldId="2147483891"/>
            <pc:sldLayoutMk cId="2743014870" sldId="2147483892"/>
          </pc:sldLayoutMkLst>
        </pc:sldLayoutChg>
        <pc:sldLayoutChg chg="del">
          <pc:chgData name="Saranya Sriram" userId="31246c95-b325-49bd-b9d7-da3f09848d21" providerId="ADAL" clId="{BD20BE7E-72EA-4327-8326-1145F18CD28D}" dt="2022-10-20T10:17:39.187" v="444" actId="2696"/>
          <pc:sldLayoutMkLst>
            <pc:docMk/>
            <pc:sldMasterMk cId="1515429150" sldId="2147483891"/>
            <pc:sldLayoutMk cId="2945402713" sldId="2147483893"/>
          </pc:sldLayoutMkLst>
        </pc:sldLayoutChg>
        <pc:sldLayoutChg chg="del">
          <pc:chgData name="Saranya Sriram" userId="31246c95-b325-49bd-b9d7-da3f09848d21" providerId="ADAL" clId="{BD20BE7E-72EA-4327-8326-1145F18CD28D}" dt="2022-10-20T10:17:39.189" v="445" actId="2696"/>
          <pc:sldLayoutMkLst>
            <pc:docMk/>
            <pc:sldMasterMk cId="1515429150" sldId="2147483891"/>
            <pc:sldLayoutMk cId="3032687922" sldId="2147483894"/>
          </pc:sldLayoutMkLst>
        </pc:sldLayoutChg>
        <pc:sldLayoutChg chg="del">
          <pc:chgData name="Saranya Sriram" userId="31246c95-b325-49bd-b9d7-da3f09848d21" providerId="ADAL" clId="{BD20BE7E-72EA-4327-8326-1145F18CD28D}" dt="2022-10-20T10:17:39.191" v="446" actId="2696"/>
          <pc:sldLayoutMkLst>
            <pc:docMk/>
            <pc:sldMasterMk cId="1515429150" sldId="2147483891"/>
            <pc:sldLayoutMk cId="1870539238" sldId="2147483895"/>
          </pc:sldLayoutMkLst>
        </pc:sldLayoutChg>
        <pc:sldLayoutChg chg="del">
          <pc:chgData name="Saranya Sriram" userId="31246c95-b325-49bd-b9d7-da3f09848d21" providerId="ADAL" clId="{BD20BE7E-72EA-4327-8326-1145F18CD28D}" dt="2022-10-20T10:17:39.195" v="447" actId="2696"/>
          <pc:sldLayoutMkLst>
            <pc:docMk/>
            <pc:sldMasterMk cId="1515429150" sldId="2147483891"/>
            <pc:sldLayoutMk cId="3744716541" sldId="2147483896"/>
          </pc:sldLayoutMkLst>
        </pc:sldLayoutChg>
        <pc:sldLayoutChg chg="del">
          <pc:chgData name="Saranya Sriram" userId="31246c95-b325-49bd-b9d7-da3f09848d21" providerId="ADAL" clId="{BD20BE7E-72EA-4327-8326-1145F18CD28D}" dt="2022-10-20T10:17:39.198" v="448" actId="2696"/>
          <pc:sldLayoutMkLst>
            <pc:docMk/>
            <pc:sldMasterMk cId="1515429150" sldId="2147483891"/>
            <pc:sldLayoutMk cId="2193215395" sldId="2147483897"/>
          </pc:sldLayoutMkLst>
        </pc:sldLayoutChg>
        <pc:sldLayoutChg chg="del">
          <pc:chgData name="Saranya Sriram" userId="31246c95-b325-49bd-b9d7-da3f09848d21" providerId="ADAL" clId="{BD20BE7E-72EA-4327-8326-1145F18CD28D}" dt="2022-10-20T10:17:39.199" v="449" actId="2696"/>
          <pc:sldLayoutMkLst>
            <pc:docMk/>
            <pc:sldMasterMk cId="1515429150" sldId="2147483891"/>
            <pc:sldLayoutMk cId="4023731837" sldId="2147483898"/>
          </pc:sldLayoutMkLst>
        </pc:sldLayoutChg>
        <pc:sldLayoutChg chg="del">
          <pc:chgData name="Saranya Sriram" userId="31246c95-b325-49bd-b9d7-da3f09848d21" providerId="ADAL" clId="{BD20BE7E-72EA-4327-8326-1145F18CD28D}" dt="2022-10-20T10:17:39.199" v="450" actId="2696"/>
          <pc:sldLayoutMkLst>
            <pc:docMk/>
            <pc:sldMasterMk cId="1515429150" sldId="2147483891"/>
            <pc:sldLayoutMk cId="4273610969" sldId="2147483899"/>
          </pc:sldLayoutMkLst>
        </pc:sldLayoutChg>
        <pc:sldLayoutChg chg="del">
          <pc:chgData name="Saranya Sriram" userId="31246c95-b325-49bd-b9d7-da3f09848d21" providerId="ADAL" clId="{BD20BE7E-72EA-4327-8326-1145F18CD28D}" dt="2022-10-20T10:17:39.203" v="451" actId="2696"/>
          <pc:sldLayoutMkLst>
            <pc:docMk/>
            <pc:sldMasterMk cId="1515429150" sldId="2147483891"/>
            <pc:sldLayoutMk cId="1537347247" sldId="2147483900"/>
          </pc:sldLayoutMkLst>
        </pc:sldLayoutChg>
        <pc:sldLayoutChg chg="del">
          <pc:chgData name="Saranya Sriram" userId="31246c95-b325-49bd-b9d7-da3f09848d21" providerId="ADAL" clId="{BD20BE7E-72EA-4327-8326-1145F18CD28D}" dt="2022-10-20T10:17:39.206" v="452" actId="2696"/>
          <pc:sldLayoutMkLst>
            <pc:docMk/>
            <pc:sldMasterMk cId="1515429150" sldId="2147483891"/>
            <pc:sldLayoutMk cId="1345699585" sldId="2147483901"/>
          </pc:sldLayoutMkLst>
        </pc:sldLayoutChg>
        <pc:sldLayoutChg chg="del">
          <pc:chgData name="Saranya Sriram" userId="31246c95-b325-49bd-b9d7-da3f09848d21" providerId="ADAL" clId="{BD20BE7E-72EA-4327-8326-1145F18CD28D}" dt="2022-10-20T10:17:39.206" v="453" actId="2696"/>
          <pc:sldLayoutMkLst>
            <pc:docMk/>
            <pc:sldMasterMk cId="1515429150" sldId="2147483891"/>
            <pc:sldLayoutMk cId="2816448779" sldId="2147483902"/>
          </pc:sldLayoutMkLst>
        </pc:sldLayoutChg>
        <pc:sldLayoutChg chg="del">
          <pc:chgData name="Saranya Sriram" userId="31246c95-b325-49bd-b9d7-da3f09848d21" providerId="ADAL" clId="{BD20BE7E-72EA-4327-8326-1145F18CD28D}" dt="2022-10-20T10:17:39.206" v="454" actId="2696"/>
          <pc:sldLayoutMkLst>
            <pc:docMk/>
            <pc:sldMasterMk cId="1515429150" sldId="2147483891"/>
            <pc:sldLayoutMk cId="2670546455" sldId="2147483903"/>
          </pc:sldLayoutMkLst>
        </pc:sldLayoutChg>
        <pc:sldLayoutChg chg="del">
          <pc:chgData name="Saranya Sriram" userId="31246c95-b325-49bd-b9d7-da3f09848d21" providerId="ADAL" clId="{BD20BE7E-72EA-4327-8326-1145F18CD28D}" dt="2022-10-20T10:17:39.215" v="455" actId="2696"/>
          <pc:sldLayoutMkLst>
            <pc:docMk/>
            <pc:sldMasterMk cId="1515429150" sldId="2147483891"/>
            <pc:sldLayoutMk cId="2962908643" sldId="2147483904"/>
          </pc:sldLayoutMkLst>
        </pc:sldLayoutChg>
        <pc:sldLayoutChg chg="del">
          <pc:chgData name="Saranya Sriram" userId="31246c95-b325-49bd-b9d7-da3f09848d21" providerId="ADAL" clId="{BD20BE7E-72EA-4327-8326-1145F18CD28D}" dt="2022-10-20T10:17:39.218" v="456" actId="2696"/>
          <pc:sldLayoutMkLst>
            <pc:docMk/>
            <pc:sldMasterMk cId="1515429150" sldId="2147483891"/>
            <pc:sldLayoutMk cId="2873728059" sldId="2147483905"/>
          </pc:sldLayoutMkLst>
        </pc:sldLayoutChg>
        <pc:sldLayoutChg chg="del">
          <pc:chgData name="Saranya Sriram" userId="31246c95-b325-49bd-b9d7-da3f09848d21" providerId="ADAL" clId="{BD20BE7E-72EA-4327-8326-1145F18CD28D}" dt="2022-10-20T10:17:39.221" v="457" actId="2696"/>
          <pc:sldLayoutMkLst>
            <pc:docMk/>
            <pc:sldMasterMk cId="1515429150" sldId="2147483891"/>
            <pc:sldLayoutMk cId="1603891979" sldId="2147483906"/>
          </pc:sldLayoutMkLst>
        </pc:sldLayoutChg>
        <pc:sldLayoutChg chg="del">
          <pc:chgData name="Saranya Sriram" userId="31246c95-b325-49bd-b9d7-da3f09848d21" providerId="ADAL" clId="{BD20BE7E-72EA-4327-8326-1145F18CD28D}" dt="2022-10-20T10:17:39.225" v="458" actId="2696"/>
          <pc:sldLayoutMkLst>
            <pc:docMk/>
            <pc:sldMasterMk cId="1515429150" sldId="2147483891"/>
            <pc:sldLayoutMk cId="3810730634" sldId="2147483907"/>
          </pc:sldLayoutMkLst>
        </pc:sldLayoutChg>
        <pc:sldLayoutChg chg="del">
          <pc:chgData name="Saranya Sriram" userId="31246c95-b325-49bd-b9d7-da3f09848d21" providerId="ADAL" clId="{BD20BE7E-72EA-4327-8326-1145F18CD28D}" dt="2022-10-20T10:17:39.228" v="459" actId="2696"/>
          <pc:sldLayoutMkLst>
            <pc:docMk/>
            <pc:sldMasterMk cId="1515429150" sldId="2147483891"/>
            <pc:sldLayoutMk cId="699312327" sldId="2147483908"/>
          </pc:sldLayoutMkLst>
        </pc:sldLayoutChg>
        <pc:sldLayoutChg chg="del">
          <pc:chgData name="Saranya Sriram" userId="31246c95-b325-49bd-b9d7-da3f09848d21" providerId="ADAL" clId="{BD20BE7E-72EA-4327-8326-1145F18CD28D}" dt="2022-10-20T10:17:39.230" v="460" actId="2696"/>
          <pc:sldLayoutMkLst>
            <pc:docMk/>
            <pc:sldMasterMk cId="1515429150" sldId="2147483891"/>
            <pc:sldLayoutMk cId="2553126719" sldId="2147483909"/>
          </pc:sldLayoutMkLst>
        </pc:sldLayoutChg>
        <pc:sldLayoutChg chg="del">
          <pc:chgData name="Saranya Sriram" userId="31246c95-b325-49bd-b9d7-da3f09848d21" providerId="ADAL" clId="{BD20BE7E-72EA-4327-8326-1145F18CD28D}" dt="2022-10-20T10:17:39.230" v="461" actId="2696"/>
          <pc:sldLayoutMkLst>
            <pc:docMk/>
            <pc:sldMasterMk cId="1515429150" sldId="2147483891"/>
            <pc:sldLayoutMk cId="1980306099" sldId="2147483910"/>
          </pc:sldLayoutMkLst>
        </pc:sldLayoutChg>
        <pc:sldLayoutChg chg="del">
          <pc:chgData name="Saranya Sriram" userId="31246c95-b325-49bd-b9d7-da3f09848d21" providerId="ADAL" clId="{BD20BE7E-72EA-4327-8326-1145F18CD28D}" dt="2022-10-20T10:17:39.235" v="462" actId="2696"/>
          <pc:sldLayoutMkLst>
            <pc:docMk/>
            <pc:sldMasterMk cId="1515429150" sldId="2147483891"/>
            <pc:sldLayoutMk cId="1160149789" sldId="2147483911"/>
          </pc:sldLayoutMkLst>
        </pc:sldLayoutChg>
        <pc:sldLayoutChg chg="del">
          <pc:chgData name="Saranya Sriram" userId="31246c95-b325-49bd-b9d7-da3f09848d21" providerId="ADAL" clId="{BD20BE7E-72EA-4327-8326-1145F18CD28D}" dt="2022-10-20T10:17:39.237" v="463" actId="2696"/>
          <pc:sldLayoutMkLst>
            <pc:docMk/>
            <pc:sldMasterMk cId="1515429150" sldId="2147483891"/>
            <pc:sldLayoutMk cId="3953982549" sldId="2147483912"/>
          </pc:sldLayoutMkLst>
        </pc:sldLayoutChg>
        <pc:sldLayoutChg chg="del">
          <pc:chgData name="Saranya Sriram" userId="31246c95-b325-49bd-b9d7-da3f09848d21" providerId="ADAL" clId="{BD20BE7E-72EA-4327-8326-1145F18CD28D}" dt="2022-10-20T10:17:39.239" v="464" actId="2696"/>
          <pc:sldLayoutMkLst>
            <pc:docMk/>
            <pc:sldMasterMk cId="1515429150" sldId="2147483891"/>
            <pc:sldLayoutMk cId="3815069195" sldId="2147483913"/>
          </pc:sldLayoutMkLst>
        </pc:sldLayoutChg>
        <pc:sldLayoutChg chg="del">
          <pc:chgData name="Saranya Sriram" userId="31246c95-b325-49bd-b9d7-da3f09848d21" providerId="ADAL" clId="{BD20BE7E-72EA-4327-8326-1145F18CD28D}" dt="2022-10-20T10:17:39.240" v="465" actId="2696"/>
          <pc:sldLayoutMkLst>
            <pc:docMk/>
            <pc:sldMasterMk cId="1515429150" sldId="2147483891"/>
            <pc:sldLayoutMk cId="2790375592" sldId="2147483914"/>
          </pc:sldLayoutMkLst>
        </pc:sldLayoutChg>
        <pc:sldLayoutChg chg="del">
          <pc:chgData name="Saranya Sriram" userId="31246c95-b325-49bd-b9d7-da3f09848d21" providerId="ADAL" clId="{BD20BE7E-72EA-4327-8326-1145F18CD28D}" dt="2022-10-20T10:17:39.240" v="466" actId="2696"/>
          <pc:sldLayoutMkLst>
            <pc:docMk/>
            <pc:sldMasterMk cId="1515429150" sldId="2147483891"/>
            <pc:sldLayoutMk cId="1747820979" sldId="2147483915"/>
          </pc:sldLayoutMkLst>
        </pc:sldLayoutChg>
        <pc:sldLayoutChg chg="del">
          <pc:chgData name="Saranya Sriram" userId="31246c95-b325-49bd-b9d7-da3f09848d21" providerId="ADAL" clId="{BD20BE7E-72EA-4327-8326-1145F18CD28D}" dt="2022-10-20T10:17:39.246" v="467" actId="2696"/>
          <pc:sldLayoutMkLst>
            <pc:docMk/>
            <pc:sldMasterMk cId="1515429150" sldId="2147483891"/>
            <pc:sldLayoutMk cId="1081447626" sldId="2147483916"/>
          </pc:sldLayoutMkLst>
        </pc:sldLayoutChg>
        <pc:sldLayoutChg chg="del">
          <pc:chgData name="Saranya Sriram" userId="31246c95-b325-49bd-b9d7-da3f09848d21" providerId="ADAL" clId="{BD20BE7E-72EA-4327-8326-1145F18CD28D}" dt="2022-10-20T10:17:39.246" v="468" actId="2696"/>
          <pc:sldLayoutMkLst>
            <pc:docMk/>
            <pc:sldMasterMk cId="1515429150" sldId="2147483891"/>
            <pc:sldLayoutMk cId="3407154411" sldId="2147483917"/>
          </pc:sldLayoutMkLst>
        </pc:sldLayoutChg>
        <pc:sldLayoutChg chg="del">
          <pc:chgData name="Saranya Sriram" userId="31246c95-b325-49bd-b9d7-da3f09848d21" providerId="ADAL" clId="{BD20BE7E-72EA-4327-8326-1145F18CD28D}" dt="2022-10-20T10:17:39.246" v="469" actId="2696"/>
          <pc:sldLayoutMkLst>
            <pc:docMk/>
            <pc:sldMasterMk cId="1515429150" sldId="2147483891"/>
            <pc:sldLayoutMk cId="3975126079" sldId="2147483918"/>
          </pc:sldLayoutMkLst>
        </pc:sldLayoutChg>
        <pc:sldLayoutChg chg="del">
          <pc:chgData name="Saranya Sriram" userId="31246c95-b325-49bd-b9d7-da3f09848d21" providerId="ADAL" clId="{BD20BE7E-72EA-4327-8326-1145F18CD28D}" dt="2022-10-20T10:17:39.252" v="470" actId="2696"/>
          <pc:sldLayoutMkLst>
            <pc:docMk/>
            <pc:sldMasterMk cId="1515429150" sldId="2147483891"/>
            <pc:sldLayoutMk cId="1778094493" sldId="2147483919"/>
          </pc:sldLayoutMkLst>
        </pc:sldLayoutChg>
        <pc:sldLayoutChg chg="del">
          <pc:chgData name="Saranya Sriram" userId="31246c95-b325-49bd-b9d7-da3f09848d21" providerId="ADAL" clId="{BD20BE7E-72EA-4327-8326-1145F18CD28D}" dt="2022-10-20T10:17:39.253" v="471" actId="2696"/>
          <pc:sldLayoutMkLst>
            <pc:docMk/>
            <pc:sldMasterMk cId="1515429150" sldId="2147483891"/>
            <pc:sldLayoutMk cId="4247713076" sldId="2147483920"/>
          </pc:sldLayoutMkLst>
        </pc:sldLayoutChg>
        <pc:sldLayoutChg chg="del">
          <pc:chgData name="Saranya Sriram" userId="31246c95-b325-49bd-b9d7-da3f09848d21" providerId="ADAL" clId="{BD20BE7E-72EA-4327-8326-1145F18CD28D}" dt="2022-10-20T10:17:39.253" v="472" actId="2696"/>
          <pc:sldLayoutMkLst>
            <pc:docMk/>
            <pc:sldMasterMk cId="1515429150" sldId="2147483891"/>
            <pc:sldLayoutMk cId="806351083" sldId="2147483921"/>
          </pc:sldLayoutMkLst>
        </pc:sldLayoutChg>
        <pc:sldLayoutChg chg="del">
          <pc:chgData name="Saranya Sriram" userId="31246c95-b325-49bd-b9d7-da3f09848d21" providerId="ADAL" clId="{BD20BE7E-72EA-4327-8326-1145F18CD28D}" dt="2022-10-20T10:17:39.253" v="473" actId="2696"/>
          <pc:sldLayoutMkLst>
            <pc:docMk/>
            <pc:sldMasterMk cId="1515429150" sldId="2147483891"/>
            <pc:sldLayoutMk cId="2256837755" sldId="2147483922"/>
          </pc:sldLayoutMkLst>
        </pc:sldLayoutChg>
      </pc:sldMasterChg>
      <pc:sldMasterChg chg="del delSldLayout">
        <pc:chgData name="Saranya Sriram" userId="31246c95-b325-49bd-b9d7-da3f09848d21" providerId="ADAL" clId="{BD20BE7E-72EA-4327-8326-1145F18CD28D}" dt="2022-10-20T10:17:38.937" v="358" actId="2696"/>
        <pc:sldMasterMkLst>
          <pc:docMk/>
          <pc:sldMasterMk cId="4028838311" sldId="2147483923"/>
        </pc:sldMasterMkLst>
        <pc:sldLayoutChg chg="del">
          <pc:chgData name="Saranya Sriram" userId="31246c95-b325-49bd-b9d7-da3f09848d21" providerId="ADAL" clId="{BD20BE7E-72EA-4327-8326-1145F18CD28D}" dt="2022-10-20T10:17:38.868" v="332" actId="2696"/>
          <pc:sldLayoutMkLst>
            <pc:docMk/>
            <pc:sldMasterMk cId="4028838311" sldId="2147483923"/>
            <pc:sldLayoutMk cId="1720769692" sldId="2147483924"/>
          </pc:sldLayoutMkLst>
        </pc:sldLayoutChg>
        <pc:sldLayoutChg chg="del">
          <pc:chgData name="Saranya Sriram" userId="31246c95-b325-49bd-b9d7-da3f09848d21" providerId="ADAL" clId="{BD20BE7E-72EA-4327-8326-1145F18CD28D}" dt="2022-10-20T10:17:38.868" v="333" actId="2696"/>
          <pc:sldLayoutMkLst>
            <pc:docMk/>
            <pc:sldMasterMk cId="4028838311" sldId="2147483923"/>
            <pc:sldLayoutMk cId="587796514" sldId="2147483925"/>
          </pc:sldLayoutMkLst>
        </pc:sldLayoutChg>
        <pc:sldLayoutChg chg="del">
          <pc:chgData name="Saranya Sriram" userId="31246c95-b325-49bd-b9d7-da3f09848d21" providerId="ADAL" clId="{BD20BE7E-72EA-4327-8326-1145F18CD28D}" dt="2022-10-20T10:17:38.868" v="334" actId="2696"/>
          <pc:sldLayoutMkLst>
            <pc:docMk/>
            <pc:sldMasterMk cId="4028838311" sldId="2147483923"/>
            <pc:sldLayoutMk cId="2814335729" sldId="2147483926"/>
          </pc:sldLayoutMkLst>
        </pc:sldLayoutChg>
        <pc:sldLayoutChg chg="del">
          <pc:chgData name="Saranya Sriram" userId="31246c95-b325-49bd-b9d7-da3f09848d21" providerId="ADAL" clId="{BD20BE7E-72EA-4327-8326-1145F18CD28D}" dt="2022-10-20T10:17:38.868" v="335" actId="2696"/>
          <pc:sldLayoutMkLst>
            <pc:docMk/>
            <pc:sldMasterMk cId="4028838311" sldId="2147483923"/>
            <pc:sldLayoutMk cId="3561575361" sldId="2147483927"/>
          </pc:sldLayoutMkLst>
        </pc:sldLayoutChg>
        <pc:sldLayoutChg chg="del">
          <pc:chgData name="Saranya Sriram" userId="31246c95-b325-49bd-b9d7-da3f09848d21" providerId="ADAL" clId="{BD20BE7E-72EA-4327-8326-1145F18CD28D}" dt="2022-10-20T10:17:38.868" v="336" actId="2696"/>
          <pc:sldLayoutMkLst>
            <pc:docMk/>
            <pc:sldMasterMk cId="4028838311" sldId="2147483923"/>
            <pc:sldLayoutMk cId="3481415927" sldId="2147483928"/>
          </pc:sldLayoutMkLst>
        </pc:sldLayoutChg>
        <pc:sldLayoutChg chg="del">
          <pc:chgData name="Saranya Sriram" userId="31246c95-b325-49bd-b9d7-da3f09848d21" providerId="ADAL" clId="{BD20BE7E-72EA-4327-8326-1145F18CD28D}" dt="2022-10-20T10:17:38.884" v="337" actId="2696"/>
          <pc:sldLayoutMkLst>
            <pc:docMk/>
            <pc:sldMasterMk cId="4028838311" sldId="2147483923"/>
            <pc:sldLayoutMk cId="2795887101" sldId="2147483929"/>
          </pc:sldLayoutMkLst>
        </pc:sldLayoutChg>
        <pc:sldLayoutChg chg="del">
          <pc:chgData name="Saranya Sriram" userId="31246c95-b325-49bd-b9d7-da3f09848d21" providerId="ADAL" clId="{BD20BE7E-72EA-4327-8326-1145F18CD28D}" dt="2022-10-20T10:17:38.884" v="338" actId="2696"/>
          <pc:sldLayoutMkLst>
            <pc:docMk/>
            <pc:sldMasterMk cId="4028838311" sldId="2147483923"/>
            <pc:sldLayoutMk cId="581669168" sldId="2147483930"/>
          </pc:sldLayoutMkLst>
        </pc:sldLayoutChg>
        <pc:sldLayoutChg chg="del">
          <pc:chgData name="Saranya Sriram" userId="31246c95-b325-49bd-b9d7-da3f09848d21" providerId="ADAL" clId="{BD20BE7E-72EA-4327-8326-1145F18CD28D}" dt="2022-10-20T10:17:38.884" v="339" actId="2696"/>
          <pc:sldLayoutMkLst>
            <pc:docMk/>
            <pc:sldMasterMk cId="4028838311" sldId="2147483923"/>
            <pc:sldLayoutMk cId="1249978027" sldId="2147483931"/>
          </pc:sldLayoutMkLst>
        </pc:sldLayoutChg>
        <pc:sldLayoutChg chg="del">
          <pc:chgData name="Saranya Sriram" userId="31246c95-b325-49bd-b9d7-da3f09848d21" providerId="ADAL" clId="{BD20BE7E-72EA-4327-8326-1145F18CD28D}" dt="2022-10-20T10:17:38.884" v="340" actId="2696"/>
          <pc:sldLayoutMkLst>
            <pc:docMk/>
            <pc:sldMasterMk cId="4028838311" sldId="2147483923"/>
            <pc:sldLayoutMk cId="3453052649" sldId="2147483932"/>
          </pc:sldLayoutMkLst>
        </pc:sldLayoutChg>
        <pc:sldLayoutChg chg="del">
          <pc:chgData name="Saranya Sriram" userId="31246c95-b325-49bd-b9d7-da3f09848d21" providerId="ADAL" clId="{BD20BE7E-72EA-4327-8326-1145F18CD28D}" dt="2022-10-20T10:17:38.894" v="341" actId="2696"/>
          <pc:sldLayoutMkLst>
            <pc:docMk/>
            <pc:sldMasterMk cId="4028838311" sldId="2147483923"/>
            <pc:sldLayoutMk cId="324015719" sldId="2147483933"/>
          </pc:sldLayoutMkLst>
        </pc:sldLayoutChg>
        <pc:sldLayoutChg chg="del">
          <pc:chgData name="Saranya Sriram" userId="31246c95-b325-49bd-b9d7-da3f09848d21" providerId="ADAL" clId="{BD20BE7E-72EA-4327-8326-1145F18CD28D}" dt="2022-10-20T10:17:38.895" v="342" actId="2696"/>
          <pc:sldLayoutMkLst>
            <pc:docMk/>
            <pc:sldMasterMk cId="4028838311" sldId="2147483923"/>
            <pc:sldLayoutMk cId="25822466" sldId="2147483934"/>
          </pc:sldLayoutMkLst>
        </pc:sldLayoutChg>
        <pc:sldLayoutChg chg="del">
          <pc:chgData name="Saranya Sriram" userId="31246c95-b325-49bd-b9d7-da3f09848d21" providerId="ADAL" clId="{BD20BE7E-72EA-4327-8326-1145F18CD28D}" dt="2022-10-20T10:17:38.898" v="343" actId="2696"/>
          <pc:sldLayoutMkLst>
            <pc:docMk/>
            <pc:sldMasterMk cId="4028838311" sldId="2147483923"/>
            <pc:sldLayoutMk cId="452829394" sldId="2147483935"/>
          </pc:sldLayoutMkLst>
        </pc:sldLayoutChg>
        <pc:sldLayoutChg chg="del">
          <pc:chgData name="Saranya Sriram" userId="31246c95-b325-49bd-b9d7-da3f09848d21" providerId="ADAL" clId="{BD20BE7E-72EA-4327-8326-1145F18CD28D}" dt="2022-10-20T10:17:38.901" v="344" actId="2696"/>
          <pc:sldLayoutMkLst>
            <pc:docMk/>
            <pc:sldMasterMk cId="4028838311" sldId="2147483923"/>
            <pc:sldLayoutMk cId="3666629173" sldId="2147483936"/>
          </pc:sldLayoutMkLst>
        </pc:sldLayoutChg>
        <pc:sldLayoutChg chg="del">
          <pc:chgData name="Saranya Sriram" userId="31246c95-b325-49bd-b9d7-da3f09848d21" providerId="ADAL" clId="{BD20BE7E-72EA-4327-8326-1145F18CD28D}" dt="2022-10-20T10:17:38.903" v="345" actId="2696"/>
          <pc:sldLayoutMkLst>
            <pc:docMk/>
            <pc:sldMasterMk cId="4028838311" sldId="2147483923"/>
            <pc:sldLayoutMk cId="4102981059" sldId="2147483937"/>
          </pc:sldLayoutMkLst>
        </pc:sldLayoutChg>
        <pc:sldLayoutChg chg="del">
          <pc:chgData name="Saranya Sriram" userId="31246c95-b325-49bd-b9d7-da3f09848d21" providerId="ADAL" clId="{BD20BE7E-72EA-4327-8326-1145F18CD28D}" dt="2022-10-20T10:17:38.906" v="346" actId="2696"/>
          <pc:sldLayoutMkLst>
            <pc:docMk/>
            <pc:sldMasterMk cId="4028838311" sldId="2147483923"/>
            <pc:sldLayoutMk cId="2894524922" sldId="2147483938"/>
          </pc:sldLayoutMkLst>
        </pc:sldLayoutChg>
        <pc:sldLayoutChg chg="del">
          <pc:chgData name="Saranya Sriram" userId="31246c95-b325-49bd-b9d7-da3f09848d21" providerId="ADAL" clId="{BD20BE7E-72EA-4327-8326-1145F18CD28D}" dt="2022-10-20T10:17:38.907" v="347" actId="2696"/>
          <pc:sldLayoutMkLst>
            <pc:docMk/>
            <pc:sldMasterMk cId="4028838311" sldId="2147483923"/>
            <pc:sldLayoutMk cId="4259168769" sldId="2147483939"/>
          </pc:sldLayoutMkLst>
        </pc:sldLayoutChg>
        <pc:sldLayoutChg chg="del">
          <pc:chgData name="Saranya Sriram" userId="31246c95-b325-49bd-b9d7-da3f09848d21" providerId="ADAL" clId="{BD20BE7E-72EA-4327-8326-1145F18CD28D}" dt="2022-10-20T10:17:38.910" v="348" actId="2696"/>
          <pc:sldLayoutMkLst>
            <pc:docMk/>
            <pc:sldMasterMk cId="4028838311" sldId="2147483923"/>
            <pc:sldLayoutMk cId="726298306" sldId="2147483940"/>
          </pc:sldLayoutMkLst>
        </pc:sldLayoutChg>
        <pc:sldLayoutChg chg="del">
          <pc:chgData name="Saranya Sriram" userId="31246c95-b325-49bd-b9d7-da3f09848d21" providerId="ADAL" clId="{BD20BE7E-72EA-4327-8326-1145F18CD28D}" dt="2022-10-20T10:17:38.912" v="349" actId="2696"/>
          <pc:sldLayoutMkLst>
            <pc:docMk/>
            <pc:sldMasterMk cId="4028838311" sldId="2147483923"/>
            <pc:sldLayoutMk cId="3576910896" sldId="2147483941"/>
          </pc:sldLayoutMkLst>
        </pc:sldLayoutChg>
        <pc:sldLayoutChg chg="del">
          <pc:chgData name="Saranya Sriram" userId="31246c95-b325-49bd-b9d7-da3f09848d21" providerId="ADAL" clId="{BD20BE7E-72EA-4327-8326-1145F18CD28D}" dt="2022-10-20T10:17:38.914" v="350" actId="2696"/>
          <pc:sldLayoutMkLst>
            <pc:docMk/>
            <pc:sldMasterMk cId="4028838311" sldId="2147483923"/>
            <pc:sldLayoutMk cId="351898627" sldId="2147483942"/>
          </pc:sldLayoutMkLst>
        </pc:sldLayoutChg>
        <pc:sldLayoutChg chg="del">
          <pc:chgData name="Saranya Sriram" userId="31246c95-b325-49bd-b9d7-da3f09848d21" providerId="ADAL" clId="{BD20BE7E-72EA-4327-8326-1145F18CD28D}" dt="2022-10-20T10:17:38.916" v="351" actId="2696"/>
          <pc:sldLayoutMkLst>
            <pc:docMk/>
            <pc:sldMasterMk cId="4028838311" sldId="2147483923"/>
            <pc:sldLayoutMk cId="3852008939" sldId="2147483943"/>
          </pc:sldLayoutMkLst>
        </pc:sldLayoutChg>
        <pc:sldLayoutChg chg="del">
          <pc:chgData name="Saranya Sriram" userId="31246c95-b325-49bd-b9d7-da3f09848d21" providerId="ADAL" clId="{BD20BE7E-72EA-4327-8326-1145F18CD28D}" dt="2022-10-20T10:17:38.919" v="352" actId="2696"/>
          <pc:sldLayoutMkLst>
            <pc:docMk/>
            <pc:sldMasterMk cId="4028838311" sldId="2147483923"/>
            <pc:sldLayoutMk cId="1294395697" sldId="2147483944"/>
          </pc:sldLayoutMkLst>
        </pc:sldLayoutChg>
        <pc:sldLayoutChg chg="del">
          <pc:chgData name="Saranya Sriram" userId="31246c95-b325-49bd-b9d7-da3f09848d21" providerId="ADAL" clId="{BD20BE7E-72EA-4327-8326-1145F18CD28D}" dt="2022-10-20T10:17:38.921" v="353" actId="2696"/>
          <pc:sldLayoutMkLst>
            <pc:docMk/>
            <pc:sldMasterMk cId="4028838311" sldId="2147483923"/>
            <pc:sldLayoutMk cId="559999567" sldId="2147483945"/>
          </pc:sldLayoutMkLst>
        </pc:sldLayoutChg>
        <pc:sldLayoutChg chg="del">
          <pc:chgData name="Saranya Sriram" userId="31246c95-b325-49bd-b9d7-da3f09848d21" providerId="ADAL" clId="{BD20BE7E-72EA-4327-8326-1145F18CD28D}" dt="2022-10-20T10:17:38.922" v="354" actId="2696"/>
          <pc:sldLayoutMkLst>
            <pc:docMk/>
            <pc:sldMasterMk cId="4028838311" sldId="2147483923"/>
            <pc:sldLayoutMk cId="3748644523" sldId="2147483946"/>
          </pc:sldLayoutMkLst>
        </pc:sldLayoutChg>
        <pc:sldLayoutChg chg="del">
          <pc:chgData name="Saranya Sriram" userId="31246c95-b325-49bd-b9d7-da3f09848d21" providerId="ADAL" clId="{BD20BE7E-72EA-4327-8326-1145F18CD28D}" dt="2022-10-20T10:17:38.925" v="355" actId="2696"/>
          <pc:sldLayoutMkLst>
            <pc:docMk/>
            <pc:sldMasterMk cId="4028838311" sldId="2147483923"/>
            <pc:sldLayoutMk cId="3579495877" sldId="2147483947"/>
          </pc:sldLayoutMkLst>
        </pc:sldLayoutChg>
        <pc:sldLayoutChg chg="del">
          <pc:chgData name="Saranya Sriram" userId="31246c95-b325-49bd-b9d7-da3f09848d21" providerId="ADAL" clId="{BD20BE7E-72EA-4327-8326-1145F18CD28D}" dt="2022-10-20T10:17:38.929" v="356" actId="2696"/>
          <pc:sldLayoutMkLst>
            <pc:docMk/>
            <pc:sldMasterMk cId="4028838311" sldId="2147483923"/>
            <pc:sldLayoutMk cId="458979762" sldId="2147483948"/>
          </pc:sldLayoutMkLst>
        </pc:sldLayoutChg>
        <pc:sldLayoutChg chg="del">
          <pc:chgData name="Saranya Sriram" userId="31246c95-b325-49bd-b9d7-da3f09848d21" providerId="ADAL" clId="{BD20BE7E-72EA-4327-8326-1145F18CD28D}" dt="2022-10-20T10:17:38.930" v="357" actId="2696"/>
          <pc:sldLayoutMkLst>
            <pc:docMk/>
            <pc:sldMasterMk cId="4028838311" sldId="2147483923"/>
            <pc:sldLayoutMk cId="2965173661" sldId="2147483949"/>
          </pc:sldLayoutMkLst>
        </pc:sldLayoutChg>
      </pc:sldMasterChg>
      <pc:sldMasterChg chg="del delSldLayout">
        <pc:chgData name="Saranya Sriram" userId="31246c95-b325-49bd-b9d7-da3f09848d21" providerId="ADAL" clId="{BD20BE7E-72EA-4327-8326-1145F18CD28D}" dt="2022-10-20T10:17:38.320" v="151" actId="2696"/>
        <pc:sldMasterMkLst>
          <pc:docMk/>
          <pc:sldMasterMk cId="859721774" sldId="2147483950"/>
        </pc:sldMasterMkLst>
        <pc:sldLayoutChg chg="del">
          <pc:chgData name="Saranya Sriram" userId="31246c95-b325-49bd-b9d7-da3f09848d21" providerId="ADAL" clId="{BD20BE7E-72EA-4327-8326-1145F18CD28D}" dt="2022-10-20T10:17:37.842" v="135" actId="2696"/>
          <pc:sldLayoutMkLst>
            <pc:docMk/>
            <pc:sldMasterMk cId="859721774" sldId="2147483950"/>
            <pc:sldLayoutMk cId="2751931645" sldId="2147483951"/>
          </pc:sldLayoutMkLst>
        </pc:sldLayoutChg>
        <pc:sldLayoutChg chg="del">
          <pc:chgData name="Saranya Sriram" userId="31246c95-b325-49bd-b9d7-da3f09848d21" providerId="ADAL" clId="{BD20BE7E-72EA-4327-8326-1145F18CD28D}" dt="2022-10-20T10:17:37.887" v="136" actId="2696"/>
          <pc:sldLayoutMkLst>
            <pc:docMk/>
            <pc:sldMasterMk cId="859721774" sldId="2147483950"/>
            <pc:sldLayoutMk cId="1406773118" sldId="2147483952"/>
          </pc:sldLayoutMkLst>
        </pc:sldLayoutChg>
        <pc:sldLayoutChg chg="del">
          <pc:chgData name="Saranya Sriram" userId="31246c95-b325-49bd-b9d7-da3f09848d21" providerId="ADAL" clId="{BD20BE7E-72EA-4327-8326-1145F18CD28D}" dt="2022-10-20T10:17:37.925" v="137" actId="2696"/>
          <pc:sldLayoutMkLst>
            <pc:docMk/>
            <pc:sldMasterMk cId="859721774" sldId="2147483950"/>
            <pc:sldLayoutMk cId="1529069327" sldId="2147483953"/>
          </pc:sldLayoutMkLst>
        </pc:sldLayoutChg>
        <pc:sldLayoutChg chg="del">
          <pc:chgData name="Saranya Sriram" userId="31246c95-b325-49bd-b9d7-da3f09848d21" providerId="ADAL" clId="{BD20BE7E-72EA-4327-8326-1145F18CD28D}" dt="2022-10-20T10:17:37.968" v="138" actId="2696"/>
          <pc:sldLayoutMkLst>
            <pc:docMk/>
            <pc:sldMasterMk cId="859721774" sldId="2147483950"/>
            <pc:sldLayoutMk cId="1722294419" sldId="2147483954"/>
          </pc:sldLayoutMkLst>
        </pc:sldLayoutChg>
        <pc:sldLayoutChg chg="del">
          <pc:chgData name="Saranya Sriram" userId="31246c95-b325-49bd-b9d7-da3f09848d21" providerId="ADAL" clId="{BD20BE7E-72EA-4327-8326-1145F18CD28D}" dt="2022-10-20T10:17:37.999" v="139" actId="2696"/>
          <pc:sldLayoutMkLst>
            <pc:docMk/>
            <pc:sldMasterMk cId="859721774" sldId="2147483950"/>
            <pc:sldLayoutMk cId="932848812" sldId="2147483955"/>
          </pc:sldLayoutMkLst>
        </pc:sldLayoutChg>
        <pc:sldLayoutChg chg="del">
          <pc:chgData name="Saranya Sriram" userId="31246c95-b325-49bd-b9d7-da3f09848d21" providerId="ADAL" clId="{BD20BE7E-72EA-4327-8326-1145F18CD28D}" dt="2022-10-20T10:17:38.055" v="140" actId="2696"/>
          <pc:sldLayoutMkLst>
            <pc:docMk/>
            <pc:sldMasterMk cId="859721774" sldId="2147483950"/>
            <pc:sldLayoutMk cId="2684848240" sldId="2147483956"/>
          </pc:sldLayoutMkLst>
        </pc:sldLayoutChg>
        <pc:sldLayoutChg chg="del">
          <pc:chgData name="Saranya Sriram" userId="31246c95-b325-49bd-b9d7-da3f09848d21" providerId="ADAL" clId="{BD20BE7E-72EA-4327-8326-1145F18CD28D}" dt="2022-10-20T10:17:38.097" v="141" actId="2696"/>
          <pc:sldLayoutMkLst>
            <pc:docMk/>
            <pc:sldMasterMk cId="859721774" sldId="2147483950"/>
            <pc:sldLayoutMk cId="1648016283" sldId="2147483957"/>
          </pc:sldLayoutMkLst>
        </pc:sldLayoutChg>
        <pc:sldLayoutChg chg="del">
          <pc:chgData name="Saranya Sriram" userId="31246c95-b325-49bd-b9d7-da3f09848d21" providerId="ADAL" clId="{BD20BE7E-72EA-4327-8326-1145F18CD28D}" dt="2022-10-20T10:17:38.140" v="142" actId="2696"/>
          <pc:sldLayoutMkLst>
            <pc:docMk/>
            <pc:sldMasterMk cId="859721774" sldId="2147483950"/>
            <pc:sldLayoutMk cId="1222532829" sldId="2147483958"/>
          </pc:sldLayoutMkLst>
        </pc:sldLayoutChg>
        <pc:sldLayoutChg chg="del">
          <pc:chgData name="Saranya Sriram" userId="31246c95-b325-49bd-b9d7-da3f09848d21" providerId="ADAL" clId="{BD20BE7E-72EA-4327-8326-1145F18CD28D}" dt="2022-10-20T10:17:38.171" v="143" actId="2696"/>
          <pc:sldLayoutMkLst>
            <pc:docMk/>
            <pc:sldMasterMk cId="859721774" sldId="2147483950"/>
            <pc:sldLayoutMk cId="3838907304" sldId="2147483959"/>
          </pc:sldLayoutMkLst>
        </pc:sldLayoutChg>
        <pc:sldLayoutChg chg="del">
          <pc:chgData name="Saranya Sriram" userId="31246c95-b325-49bd-b9d7-da3f09848d21" providerId="ADAL" clId="{BD20BE7E-72EA-4327-8326-1145F18CD28D}" dt="2022-10-20T10:17:38.222" v="144" actId="2696"/>
          <pc:sldLayoutMkLst>
            <pc:docMk/>
            <pc:sldMasterMk cId="859721774" sldId="2147483950"/>
            <pc:sldLayoutMk cId="2299191577" sldId="2147483960"/>
          </pc:sldLayoutMkLst>
        </pc:sldLayoutChg>
        <pc:sldLayoutChg chg="del">
          <pc:chgData name="Saranya Sriram" userId="31246c95-b325-49bd-b9d7-da3f09848d21" providerId="ADAL" clId="{BD20BE7E-72EA-4327-8326-1145F18CD28D}" dt="2022-10-20T10:17:38.253" v="145" actId="2696"/>
          <pc:sldLayoutMkLst>
            <pc:docMk/>
            <pc:sldMasterMk cId="859721774" sldId="2147483950"/>
            <pc:sldLayoutMk cId="1107821799" sldId="2147483961"/>
          </pc:sldLayoutMkLst>
        </pc:sldLayoutChg>
        <pc:sldLayoutChg chg="del">
          <pc:chgData name="Saranya Sriram" userId="31246c95-b325-49bd-b9d7-da3f09848d21" providerId="ADAL" clId="{BD20BE7E-72EA-4327-8326-1145F18CD28D}" dt="2022-10-20T10:17:38.301" v="146" actId="2696"/>
          <pc:sldLayoutMkLst>
            <pc:docMk/>
            <pc:sldMasterMk cId="859721774" sldId="2147483950"/>
            <pc:sldLayoutMk cId="3312235537" sldId="2147483962"/>
          </pc:sldLayoutMkLst>
        </pc:sldLayoutChg>
        <pc:sldLayoutChg chg="del">
          <pc:chgData name="Saranya Sriram" userId="31246c95-b325-49bd-b9d7-da3f09848d21" providerId="ADAL" clId="{BD20BE7E-72EA-4327-8326-1145F18CD28D}" dt="2022-10-20T10:17:38.301" v="147" actId="2696"/>
          <pc:sldLayoutMkLst>
            <pc:docMk/>
            <pc:sldMasterMk cId="859721774" sldId="2147483950"/>
            <pc:sldLayoutMk cId="3844457185" sldId="2147483963"/>
          </pc:sldLayoutMkLst>
        </pc:sldLayoutChg>
        <pc:sldLayoutChg chg="del">
          <pc:chgData name="Saranya Sriram" userId="31246c95-b325-49bd-b9d7-da3f09848d21" providerId="ADAL" clId="{BD20BE7E-72EA-4327-8326-1145F18CD28D}" dt="2022-10-20T10:17:38.301" v="148" actId="2696"/>
          <pc:sldLayoutMkLst>
            <pc:docMk/>
            <pc:sldMasterMk cId="859721774" sldId="2147483950"/>
            <pc:sldLayoutMk cId="2985121528" sldId="2147483964"/>
          </pc:sldLayoutMkLst>
        </pc:sldLayoutChg>
        <pc:sldLayoutChg chg="del">
          <pc:chgData name="Saranya Sriram" userId="31246c95-b325-49bd-b9d7-da3f09848d21" providerId="ADAL" clId="{BD20BE7E-72EA-4327-8326-1145F18CD28D}" dt="2022-10-20T10:17:38.301" v="149" actId="2696"/>
          <pc:sldLayoutMkLst>
            <pc:docMk/>
            <pc:sldMasterMk cId="859721774" sldId="2147483950"/>
            <pc:sldLayoutMk cId="3166319183" sldId="2147483965"/>
          </pc:sldLayoutMkLst>
        </pc:sldLayoutChg>
        <pc:sldLayoutChg chg="del">
          <pc:chgData name="Saranya Sriram" userId="31246c95-b325-49bd-b9d7-da3f09848d21" providerId="ADAL" clId="{BD20BE7E-72EA-4327-8326-1145F18CD28D}" dt="2022-10-20T10:17:38.312" v="150" actId="2696"/>
          <pc:sldLayoutMkLst>
            <pc:docMk/>
            <pc:sldMasterMk cId="859721774" sldId="2147483950"/>
            <pc:sldLayoutMk cId="756102061" sldId="2147483966"/>
          </pc:sldLayoutMkLst>
        </pc:sldLayoutChg>
      </pc:sldMasterChg>
      <pc:sldMasterChg chg="del delSldLayout">
        <pc:chgData name="Saranya Sriram" userId="31246c95-b325-49bd-b9d7-da3f09848d21" providerId="ADAL" clId="{BD20BE7E-72EA-4327-8326-1145F18CD28D}" dt="2022-10-20T10:17:39.078" v="403" actId="2696"/>
        <pc:sldMasterMkLst>
          <pc:docMk/>
          <pc:sldMasterMk cId="4223035275" sldId="2147483968"/>
        </pc:sldMasterMkLst>
        <pc:sldLayoutChg chg="del">
          <pc:chgData name="Saranya Sriram" userId="31246c95-b325-49bd-b9d7-da3f09848d21" providerId="ADAL" clId="{BD20BE7E-72EA-4327-8326-1145F18CD28D}" dt="2022-10-20T10:17:39.023" v="382" actId="2696"/>
          <pc:sldLayoutMkLst>
            <pc:docMk/>
            <pc:sldMasterMk cId="4223035275" sldId="2147483968"/>
            <pc:sldLayoutMk cId="3360384384" sldId="2147483969"/>
          </pc:sldLayoutMkLst>
        </pc:sldLayoutChg>
        <pc:sldLayoutChg chg="del">
          <pc:chgData name="Saranya Sriram" userId="31246c95-b325-49bd-b9d7-da3f09848d21" providerId="ADAL" clId="{BD20BE7E-72EA-4327-8326-1145F18CD28D}" dt="2022-10-20T10:17:39.026" v="383" actId="2696"/>
          <pc:sldLayoutMkLst>
            <pc:docMk/>
            <pc:sldMasterMk cId="4223035275" sldId="2147483968"/>
            <pc:sldLayoutMk cId="1008575883" sldId="2147483970"/>
          </pc:sldLayoutMkLst>
        </pc:sldLayoutChg>
        <pc:sldLayoutChg chg="del">
          <pc:chgData name="Saranya Sriram" userId="31246c95-b325-49bd-b9d7-da3f09848d21" providerId="ADAL" clId="{BD20BE7E-72EA-4327-8326-1145F18CD28D}" dt="2022-10-20T10:17:39.028" v="384" actId="2696"/>
          <pc:sldLayoutMkLst>
            <pc:docMk/>
            <pc:sldMasterMk cId="4223035275" sldId="2147483968"/>
            <pc:sldLayoutMk cId="496624563" sldId="2147483971"/>
          </pc:sldLayoutMkLst>
        </pc:sldLayoutChg>
        <pc:sldLayoutChg chg="del">
          <pc:chgData name="Saranya Sriram" userId="31246c95-b325-49bd-b9d7-da3f09848d21" providerId="ADAL" clId="{BD20BE7E-72EA-4327-8326-1145F18CD28D}" dt="2022-10-20T10:17:39.032" v="385" actId="2696"/>
          <pc:sldLayoutMkLst>
            <pc:docMk/>
            <pc:sldMasterMk cId="4223035275" sldId="2147483968"/>
            <pc:sldLayoutMk cId="3319828699" sldId="2147483972"/>
          </pc:sldLayoutMkLst>
        </pc:sldLayoutChg>
        <pc:sldLayoutChg chg="del">
          <pc:chgData name="Saranya Sriram" userId="31246c95-b325-49bd-b9d7-da3f09848d21" providerId="ADAL" clId="{BD20BE7E-72EA-4327-8326-1145F18CD28D}" dt="2022-10-20T10:17:39.033" v="386" actId="2696"/>
          <pc:sldLayoutMkLst>
            <pc:docMk/>
            <pc:sldMasterMk cId="4223035275" sldId="2147483968"/>
            <pc:sldLayoutMk cId="2881208599" sldId="2147483973"/>
          </pc:sldLayoutMkLst>
        </pc:sldLayoutChg>
        <pc:sldLayoutChg chg="del">
          <pc:chgData name="Saranya Sriram" userId="31246c95-b325-49bd-b9d7-da3f09848d21" providerId="ADAL" clId="{BD20BE7E-72EA-4327-8326-1145F18CD28D}" dt="2022-10-20T10:17:39.035" v="387" actId="2696"/>
          <pc:sldLayoutMkLst>
            <pc:docMk/>
            <pc:sldMasterMk cId="4223035275" sldId="2147483968"/>
            <pc:sldLayoutMk cId="560498932" sldId="2147483974"/>
          </pc:sldLayoutMkLst>
        </pc:sldLayoutChg>
        <pc:sldLayoutChg chg="del">
          <pc:chgData name="Saranya Sriram" userId="31246c95-b325-49bd-b9d7-da3f09848d21" providerId="ADAL" clId="{BD20BE7E-72EA-4327-8326-1145F18CD28D}" dt="2022-10-20T10:17:39.035" v="388" actId="2696"/>
          <pc:sldLayoutMkLst>
            <pc:docMk/>
            <pc:sldMasterMk cId="4223035275" sldId="2147483968"/>
            <pc:sldLayoutMk cId="3691612349" sldId="2147483975"/>
          </pc:sldLayoutMkLst>
        </pc:sldLayoutChg>
        <pc:sldLayoutChg chg="del">
          <pc:chgData name="Saranya Sriram" userId="31246c95-b325-49bd-b9d7-da3f09848d21" providerId="ADAL" clId="{BD20BE7E-72EA-4327-8326-1145F18CD28D}" dt="2022-10-20T10:17:39.042" v="389" actId="2696"/>
          <pc:sldLayoutMkLst>
            <pc:docMk/>
            <pc:sldMasterMk cId="4223035275" sldId="2147483968"/>
            <pc:sldLayoutMk cId="2298019250" sldId="2147483976"/>
          </pc:sldLayoutMkLst>
        </pc:sldLayoutChg>
        <pc:sldLayoutChg chg="del">
          <pc:chgData name="Saranya Sriram" userId="31246c95-b325-49bd-b9d7-da3f09848d21" providerId="ADAL" clId="{BD20BE7E-72EA-4327-8326-1145F18CD28D}" dt="2022-10-20T10:17:39.045" v="390" actId="2696"/>
          <pc:sldLayoutMkLst>
            <pc:docMk/>
            <pc:sldMasterMk cId="4223035275" sldId="2147483968"/>
            <pc:sldLayoutMk cId="4080807336" sldId="2147483977"/>
          </pc:sldLayoutMkLst>
        </pc:sldLayoutChg>
        <pc:sldLayoutChg chg="del">
          <pc:chgData name="Saranya Sriram" userId="31246c95-b325-49bd-b9d7-da3f09848d21" providerId="ADAL" clId="{BD20BE7E-72EA-4327-8326-1145F18CD28D}" dt="2022-10-20T10:17:39.048" v="391" actId="2696"/>
          <pc:sldLayoutMkLst>
            <pc:docMk/>
            <pc:sldMasterMk cId="4223035275" sldId="2147483968"/>
            <pc:sldLayoutMk cId="2907210126" sldId="2147483978"/>
          </pc:sldLayoutMkLst>
        </pc:sldLayoutChg>
        <pc:sldLayoutChg chg="del">
          <pc:chgData name="Saranya Sriram" userId="31246c95-b325-49bd-b9d7-da3f09848d21" providerId="ADAL" clId="{BD20BE7E-72EA-4327-8326-1145F18CD28D}" dt="2022-10-20T10:17:39.049" v="392" actId="2696"/>
          <pc:sldLayoutMkLst>
            <pc:docMk/>
            <pc:sldMasterMk cId="4223035275" sldId="2147483968"/>
            <pc:sldLayoutMk cId="2004664566" sldId="2147483979"/>
          </pc:sldLayoutMkLst>
        </pc:sldLayoutChg>
        <pc:sldLayoutChg chg="del">
          <pc:chgData name="Saranya Sriram" userId="31246c95-b325-49bd-b9d7-da3f09848d21" providerId="ADAL" clId="{BD20BE7E-72EA-4327-8326-1145F18CD28D}" dt="2022-10-20T10:17:39.053" v="393" actId="2696"/>
          <pc:sldLayoutMkLst>
            <pc:docMk/>
            <pc:sldMasterMk cId="4223035275" sldId="2147483968"/>
            <pc:sldLayoutMk cId="2116655872" sldId="2147483980"/>
          </pc:sldLayoutMkLst>
        </pc:sldLayoutChg>
        <pc:sldLayoutChg chg="del">
          <pc:chgData name="Saranya Sriram" userId="31246c95-b325-49bd-b9d7-da3f09848d21" providerId="ADAL" clId="{BD20BE7E-72EA-4327-8326-1145F18CD28D}" dt="2022-10-20T10:17:39.056" v="394" actId="2696"/>
          <pc:sldLayoutMkLst>
            <pc:docMk/>
            <pc:sldMasterMk cId="4223035275" sldId="2147483968"/>
            <pc:sldLayoutMk cId="1310667189" sldId="2147483981"/>
          </pc:sldLayoutMkLst>
        </pc:sldLayoutChg>
        <pc:sldLayoutChg chg="del">
          <pc:chgData name="Saranya Sriram" userId="31246c95-b325-49bd-b9d7-da3f09848d21" providerId="ADAL" clId="{BD20BE7E-72EA-4327-8326-1145F18CD28D}" dt="2022-10-20T10:17:39.058" v="395" actId="2696"/>
          <pc:sldLayoutMkLst>
            <pc:docMk/>
            <pc:sldMasterMk cId="4223035275" sldId="2147483968"/>
            <pc:sldLayoutMk cId="1839188241" sldId="2147483982"/>
          </pc:sldLayoutMkLst>
        </pc:sldLayoutChg>
        <pc:sldLayoutChg chg="del">
          <pc:chgData name="Saranya Sriram" userId="31246c95-b325-49bd-b9d7-da3f09848d21" providerId="ADAL" clId="{BD20BE7E-72EA-4327-8326-1145F18CD28D}" dt="2022-10-20T10:17:39.060" v="396" actId="2696"/>
          <pc:sldLayoutMkLst>
            <pc:docMk/>
            <pc:sldMasterMk cId="4223035275" sldId="2147483968"/>
            <pc:sldLayoutMk cId="1083945009" sldId="2147483983"/>
          </pc:sldLayoutMkLst>
        </pc:sldLayoutChg>
        <pc:sldLayoutChg chg="del">
          <pc:chgData name="Saranya Sriram" userId="31246c95-b325-49bd-b9d7-da3f09848d21" providerId="ADAL" clId="{BD20BE7E-72EA-4327-8326-1145F18CD28D}" dt="2022-10-20T10:17:39.060" v="397" actId="2696"/>
          <pc:sldLayoutMkLst>
            <pc:docMk/>
            <pc:sldMasterMk cId="4223035275" sldId="2147483968"/>
            <pc:sldLayoutMk cId="526975201" sldId="2147483984"/>
          </pc:sldLayoutMkLst>
        </pc:sldLayoutChg>
        <pc:sldLayoutChg chg="del">
          <pc:chgData name="Saranya Sriram" userId="31246c95-b325-49bd-b9d7-da3f09848d21" providerId="ADAL" clId="{BD20BE7E-72EA-4327-8326-1145F18CD28D}" dt="2022-10-20T10:17:39.065" v="398" actId="2696"/>
          <pc:sldLayoutMkLst>
            <pc:docMk/>
            <pc:sldMasterMk cId="4223035275" sldId="2147483968"/>
            <pc:sldLayoutMk cId="702597149" sldId="2147483985"/>
          </pc:sldLayoutMkLst>
        </pc:sldLayoutChg>
        <pc:sldLayoutChg chg="del">
          <pc:chgData name="Saranya Sriram" userId="31246c95-b325-49bd-b9d7-da3f09848d21" providerId="ADAL" clId="{BD20BE7E-72EA-4327-8326-1145F18CD28D}" dt="2022-10-20T10:17:39.066" v="399" actId="2696"/>
          <pc:sldLayoutMkLst>
            <pc:docMk/>
            <pc:sldMasterMk cId="4223035275" sldId="2147483968"/>
            <pc:sldLayoutMk cId="2941145671" sldId="2147483986"/>
          </pc:sldLayoutMkLst>
        </pc:sldLayoutChg>
        <pc:sldLayoutChg chg="del">
          <pc:chgData name="Saranya Sriram" userId="31246c95-b325-49bd-b9d7-da3f09848d21" providerId="ADAL" clId="{BD20BE7E-72EA-4327-8326-1145F18CD28D}" dt="2022-10-20T10:17:39.068" v="400" actId="2696"/>
          <pc:sldLayoutMkLst>
            <pc:docMk/>
            <pc:sldMasterMk cId="4223035275" sldId="2147483968"/>
            <pc:sldLayoutMk cId="3105681726" sldId="2147483987"/>
          </pc:sldLayoutMkLst>
        </pc:sldLayoutChg>
        <pc:sldLayoutChg chg="del">
          <pc:chgData name="Saranya Sriram" userId="31246c95-b325-49bd-b9d7-da3f09848d21" providerId="ADAL" clId="{BD20BE7E-72EA-4327-8326-1145F18CD28D}" dt="2022-10-20T10:17:39.070" v="401" actId="2696"/>
          <pc:sldLayoutMkLst>
            <pc:docMk/>
            <pc:sldMasterMk cId="4223035275" sldId="2147483968"/>
            <pc:sldLayoutMk cId="1632362490" sldId="2147483988"/>
          </pc:sldLayoutMkLst>
        </pc:sldLayoutChg>
        <pc:sldLayoutChg chg="del">
          <pc:chgData name="Saranya Sriram" userId="31246c95-b325-49bd-b9d7-da3f09848d21" providerId="ADAL" clId="{BD20BE7E-72EA-4327-8326-1145F18CD28D}" dt="2022-10-20T10:17:39.073" v="402" actId="2696"/>
          <pc:sldLayoutMkLst>
            <pc:docMk/>
            <pc:sldMasterMk cId="4223035275" sldId="2147483968"/>
            <pc:sldLayoutMk cId="2054908" sldId="2147483989"/>
          </pc:sldLayoutMkLst>
        </pc:sldLayoutChg>
      </pc:sldMasterChg>
      <pc:sldMasterChg chg="del delSldLayout">
        <pc:chgData name="Saranya Sriram" userId="31246c95-b325-49bd-b9d7-da3f09848d21" providerId="ADAL" clId="{BD20BE7E-72EA-4327-8326-1145F18CD28D}" dt="2022-10-20T10:17:39.019" v="381" actId="2696"/>
        <pc:sldMasterMkLst>
          <pc:docMk/>
          <pc:sldMasterMk cId="564993270" sldId="2147484009"/>
        </pc:sldMasterMkLst>
        <pc:sldLayoutChg chg="del">
          <pc:chgData name="Saranya Sriram" userId="31246c95-b325-49bd-b9d7-da3f09848d21" providerId="ADAL" clId="{BD20BE7E-72EA-4327-8326-1145F18CD28D}" dt="2022-10-20T10:17:38.937" v="359" actId="2696"/>
          <pc:sldLayoutMkLst>
            <pc:docMk/>
            <pc:sldMasterMk cId="564993270" sldId="2147484009"/>
            <pc:sldLayoutMk cId="233951072" sldId="2147484010"/>
          </pc:sldLayoutMkLst>
        </pc:sldLayoutChg>
        <pc:sldLayoutChg chg="del">
          <pc:chgData name="Saranya Sriram" userId="31246c95-b325-49bd-b9d7-da3f09848d21" providerId="ADAL" clId="{BD20BE7E-72EA-4327-8326-1145F18CD28D}" dt="2022-10-20T10:17:38.947" v="360" actId="2696"/>
          <pc:sldLayoutMkLst>
            <pc:docMk/>
            <pc:sldMasterMk cId="564993270" sldId="2147484009"/>
            <pc:sldLayoutMk cId="3769100844" sldId="2147484011"/>
          </pc:sldLayoutMkLst>
        </pc:sldLayoutChg>
        <pc:sldLayoutChg chg="del">
          <pc:chgData name="Saranya Sriram" userId="31246c95-b325-49bd-b9d7-da3f09848d21" providerId="ADAL" clId="{BD20BE7E-72EA-4327-8326-1145F18CD28D}" dt="2022-10-20T10:17:38.947" v="361" actId="2696"/>
          <pc:sldLayoutMkLst>
            <pc:docMk/>
            <pc:sldMasterMk cId="564993270" sldId="2147484009"/>
            <pc:sldLayoutMk cId="1049892173" sldId="2147484012"/>
          </pc:sldLayoutMkLst>
        </pc:sldLayoutChg>
        <pc:sldLayoutChg chg="del">
          <pc:chgData name="Saranya Sriram" userId="31246c95-b325-49bd-b9d7-da3f09848d21" providerId="ADAL" clId="{BD20BE7E-72EA-4327-8326-1145F18CD28D}" dt="2022-10-20T10:17:38.947" v="362" actId="2696"/>
          <pc:sldLayoutMkLst>
            <pc:docMk/>
            <pc:sldMasterMk cId="564993270" sldId="2147484009"/>
            <pc:sldLayoutMk cId="428200691" sldId="2147484013"/>
          </pc:sldLayoutMkLst>
        </pc:sldLayoutChg>
        <pc:sldLayoutChg chg="del">
          <pc:chgData name="Saranya Sriram" userId="31246c95-b325-49bd-b9d7-da3f09848d21" providerId="ADAL" clId="{BD20BE7E-72EA-4327-8326-1145F18CD28D}" dt="2022-10-20T10:17:38.947" v="363" actId="2696"/>
          <pc:sldLayoutMkLst>
            <pc:docMk/>
            <pc:sldMasterMk cId="564993270" sldId="2147484009"/>
            <pc:sldLayoutMk cId="2620140467" sldId="2147484014"/>
          </pc:sldLayoutMkLst>
        </pc:sldLayoutChg>
        <pc:sldLayoutChg chg="del">
          <pc:chgData name="Saranya Sriram" userId="31246c95-b325-49bd-b9d7-da3f09848d21" providerId="ADAL" clId="{BD20BE7E-72EA-4327-8326-1145F18CD28D}" dt="2022-10-20T10:17:38.947" v="364" actId="2696"/>
          <pc:sldLayoutMkLst>
            <pc:docMk/>
            <pc:sldMasterMk cId="564993270" sldId="2147484009"/>
            <pc:sldLayoutMk cId="2666987910" sldId="2147484015"/>
          </pc:sldLayoutMkLst>
        </pc:sldLayoutChg>
        <pc:sldLayoutChg chg="del">
          <pc:chgData name="Saranya Sriram" userId="31246c95-b325-49bd-b9d7-da3f09848d21" providerId="ADAL" clId="{BD20BE7E-72EA-4327-8326-1145F18CD28D}" dt="2022-10-20T10:17:38.963" v="365" actId="2696"/>
          <pc:sldLayoutMkLst>
            <pc:docMk/>
            <pc:sldMasterMk cId="564993270" sldId="2147484009"/>
            <pc:sldLayoutMk cId="3779142289" sldId="2147484016"/>
          </pc:sldLayoutMkLst>
        </pc:sldLayoutChg>
        <pc:sldLayoutChg chg="del">
          <pc:chgData name="Saranya Sriram" userId="31246c95-b325-49bd-b9d7-da3f09848d21" providerId="ADAL" clId="{BD20BE7E-72EA-4327-8326-1145F18CD28D}" dt="2022-10-20T10:17:38.963" v="366" actId="2696"/>
          <pc:sldLayoutMkLst>
            <pc:docMk/>
            <pc:sldMasterMk cId="564993270" sldId="2147484009"/>
            <pc:sldLayoutMk cId="495356911" sldId="2147484017"/>
          </pc:sldLayoutMkLst>
        </pc:sldLayoutChg>
        <pc:sldLayoutChg chg="del">
          <pc:chgData name="Saranya Sriram" userId="31246c95-b325-49bd-b9d7-da3f09848d21" providerId="ADAL" clId="{BD20BE7E-72EA-4327-8326-1145F18CD28D}" dt="2022-10-20T10:17:38.963" v="367" actId="2696"/>
          <pc:sldLayoutMkLst>
            <pc:docMk/>
            <pc:sldMasterMk cId="564993270" sldId="2147484009"/>
            <pc:sldLayoutMk cId="1360104792" sldId="2147484018"/>
          </pc:sldLayoutMkLst>
        </pc:sldLayoutChg>
        <pc:sldLayoutChg chg="del">
          <pc:chgData name="Saranya Sriram" userId="31246c95-b325-49bd-b9d7-da3f09848d21" providerId="ADAL" clId="{BD20BE7E-72EA-4327-8326-1145F18CD28D}" dt="2022-10-20T10:17:38.963" v="368" actId="2696"/>
          <pc:sldLayoutMkLst>
            <pc:docMk/>
            <pc:sldMasterMk cId="564993270" sldId="2147484009"/>
            <pc:sldLayoutMk cId="3239468180" sldId="2147484019"/>
          </pc:sldLayoutMkLst>
        </pc:sldLayoutChg>
        <pc:sldLayoutChg chg="del">
          <pc:chgData name="Saranya Sriram" userId="31246c95-b325-49bd-b9d7-da3f09848d21" providerId="ADAL" clId="{BD20BE7E-72EA-4327-8326-1145F18CD28D}" dt="2022-10-20T10:17:38.979" v="369" actId="2696"/>
          <pc:sldLayoutMkLst>
            <pc:docMk/>
            <pc:sldMasterMk cId="564993270" sldId="2147484009"/>
            <pc:sldLayoutMk cId="1499957044" sldId="2147484020"/>
          </pc:sldLayoutMkLst>
        </pc:sldLayoutChg>
        <pc:sldLayoutChg chg="del">
          <pc:chgData name="Saranya Sriram" userId="31246c95-b325-49bd-b9d7-da3f09848d21" providerId="ADAL" clId="{BD20BE7E-72EA-4327-8326-1145F18CD28D}" dt="2022-10-20T10:17:38.987" v="370" actId="2696"/>
          <pc:sldLayoutMkLst>
            <pc:docMk/>
            <pc:sldMasterMk cId="564993270" sldId="2147484009"/>
            <pc:sldLayoutMk cId="1983726831" sldId="2147484021"/>
          </pc:sldLayoutMkLst>
        </pc:sldLayoutChg>
        <pc:sldLayoutChg chg="del">
          <pc:chgData name="Saranya Sriram" userId="31246c95-b325-49bd-b9d7-da3f09848d21" providerId="ADAL" clId="{BD20BE7E-72EA-4327-8326-1145F18CD28D}" dt="2022-10-20T10:17:38.989" v="371" actId="2696"/>
          <pc:sldLayoutMkLst>
            <pc:docMk/>
            <pc:sldMasterMk cId="564993270" sldId="2147484009"/>
            <pc:sldLayoutMk cId="828386144" sldId="2147484022"/>
          </pc:sldLayoutMkLst>
        </pc:sldLayoutChg>
        <pc:sldLayoutChg chg="del">
          <pc:chgData name="Saranya Sriram" userId="31246c95-b325-49bd-b9d7-da3f09848d21" providerId="ADAL" clId="{BD20BE7E-72EA-4327-8326-1145F18CD28D}" dt="2022-10-20T10:17:38.991" v="372" actId="2696"/>
          <pc:sldLayoutMkLst>
            <pc:docMk/>
            <pc:sldMasterMk cId="564993270" sldId="2147484009"/>
            <pc:sldLayoutMk cId="4002550003" sldId="2147484023"/>
          </pc:sldLayoutMkLst>
        </pc:sldLayoutChg>
        <pc:sldLayoutChg chg="del">
          <pc:chgData name="Saranya Sriram" userId="31246c95-b325-49bd-b9d7-da3f09848d21" providerId="ADAL" clId="{BD20BE7E-72EA-4327-8326-1145F18CD28D}" dt="2022-10-20T10:17:38.995" v="373" actId="2696"/>
          <pc:sldLayoutMkLst>
            <pc:docMk/>
            <pc:sldMasterMk cId="564993270" sldId="2147484009"/>
            <pc:sldLayoutMk cId="2791487574" sldId="2147484024"/>
          </pc:sldLayoutMkLst>
        </pc:sldLayoutChg>
        <pc:sldLayoutChg chg="del">
          <pc:chgData name="Saranya Sriram" userId="31246c95-b325-49bd-b9d7-da3f09848d21" providerId="ADAL" clId="{BD20BE7E-72EA-4327-8326-1145F18CD28D}" dt="2022-10-20T10:17:38.996" v="374" actId="2696"/>
          <pc:sldLayoutMkLst>
            <pc:docMk/>
            <pc:sldMasterMk cId="564993270" sldId="2147484009"/>
            <pc:sldLayoutMk cId="1632996253" sldId="2147484025"/>
          </pc:sldLayoutMkLst>
        </pc:sldLayoutChg>
        <pc:sldLayoutChg chg="del">
          <pc:chgData name="Saranya Sriram" userId="31246c95-b325-49bd-b9d7-da3f09848d21" providerId="ADAL" clId="{BD20BE7E-72EA-4327-8326-1145F18CD28D}" dt="2022-10-20T10:17:39.002" v="375" actId="2696"/>
          <pc:sldLayoutMkLst>
            <pc:docMk/>
            <pc:sldMasterMk cId="564993270" sldId="2147484009"/>
            <pc:sldLayoutMk cId="4059501317" sldId="2147484026"/>
          </pc:sldLayoutMkLst>
        </pc:sldLayoutChg>
        <pc:sldLayoutChg chg="del">
          <pc:chgData name="Saranya Sriram" userId="31246c95-b325-49bd-b9d7-da3f09848d21" providerId="ADAL" clId="{BD20BE7E-72EA-4327-8326-1145F18CD28D}" dt="2022-10-20T10:17:39.006" v="376" actId="2696"/>
          <pc:sldLayoutMkLst>
            <pc:docMk/>
            <pc:sldMasterMk cId="564993270" sldId="2147484009"/>
            <pc:sldLayoutMk cId="3290086892" sldId="2147484027"/>
          </pc:sldLayoutMkLst>
        </pc:sldLayoutChg>
        <pc:sldLayoutChg chg="del">
          <pc:chgData name="Saranya Sriram" userId="31246c95-b325-49bd-b9d7-da3f09848d21" providerId="ADAL" clId="{BD20BE7E-72EA-4327-8326-1145F18CD28D}" dt="2022-10-20T10:17:39.008" v="377" actId="2696"/>
          <pc:sldLayoutMkLst>
            <pc:docMk/>
            <pc:sldMasterMk cId="564993270" sldId="2147484009"/>
            <pc:sldLayoutMk cId="404286301" sldId="2147484028"/>
          </pc:sldLayoutMkLst>
        </pc:sldLayoutChg>
        <pc:sldLayoutChg chg="del">
          <pc:chgData name="Saranya Sriram" userId="31246c95-b325-49bd-b9d7-da3f09848d21" providerId="ADAL" clId="{BD20BE7E-72EA-4327-8326-1145F18CD28D}" dt="2022-10-20T10:17:39.011" v="378" actId="2696"/>
          <pc:sldLayoutMkLst>
            <pc:docMk/>
            <pc:sldMasterMk cId="564993270" sldId="2147484009"/>
            <pc:sldLayoutMk cId="3623759022" sldId="2147484029"/>
          </pc:sldLayoutMkLst>
        </pc:sldLayoutChg>
        <pc:sldLayoutChg chg="del">
          <pc:chgData name="Saranya Sriram" userId="31246c95-b325-49bd-b9d7-da3f09848d21" providerId="ADAL" clId="{BD20BE7E-72EA-4327-8326-1145F18CD28D}" dt="2022-10-20T10:17:39.014" v="379" actId="2696"/>
          <pc:sldLayoutMkLst>
            <pc:docMk/>
            <pc:sldMasterMk cId="564993270" sldId="2147484009"/>
            <pc:sldLayoutMk cId="1918959675" sldId="2147484030"/>
          </pc:sldLayoutMkLst>
        </pc:sldLayoutChg>
        <pc:sldLayoutChg chg="del">
          <pc:chgData name="Saranya Sriram" userId="31246c95-b325-49bd-b9d7-da3f09848d21" providerId="ADAL" clId="{BD20BE7E-72EA-4327-8326-1145F18CD28D}" dt="2022-10-20T10:17:39.016" v="380" actId="2696"/>
          <pc:sldLayoutMkLst>
            <pc:docMk/>
            <pc:sldMasterMk cId="564993270" sldId="2147484009"/>
            <pc:sldLayoutMk cId="1469492913" sldId="2147484031"/>
          </pc:sldLayoutMkLst>
        </pc:sldLayoutChg>
      </pc:sldMasterChg>
      <pc:sldMasterChg chg="del delSldLayout">
        <pc:chgData name="Saranya Sriram" userId="31246c95-b325-49bd-b9d7-da3f09848d21" providerId="ADAL" clId="{BD20BE7E-72EA-4327-8326-1145F18CD28D}" dt="2022-10-20T10:17:37.676" v="84" actId="2696"/>
        <pc:sldMasterMkLst>
          <pc:docMk/>
          <pc:sldMasterMk cId="476062542" sldId="2147484032"/>
        </pc:sldMasterMkLst>
        <pc:sldLayoutChg chg="del">
          <pc:chgData name="Saranya Sriram" userId="31246c95-b325-49bd-b9d7-da3f09848d21" providerId="ADAL" clId="{BD20BE7E-72EA-4327-8326-1145F18CD28D}" dt="2022-10-20T10:17:37.571" v="53" actId="2696"/>
          <pc:sldLayoutMkLst>
            <pc:docMk/>
            <pc:sldMasterMk cId="476062542" sldId="2147484032"/>
            <pc:sldLayoutMk cId="3668612264" sldId="2147484033"/>
          </pc:sldLayoutMkLst>
        </pc:sldLayoutChg>
        <pc:sldLayoutChg chg="del">
          <pc:chgData name="Saranya Sriram" userId="31246c95-b325-49bd-b9d7-da3f09848d21" providerId="ADAL" clId="{BD20BE7E-72EA-4327-8326-1145F18CD28D}" dt="2022-10-20T10:17:37.571" v="54" actId="2696"/>
          <pc:sldLayoutMkLst>
            <pc:docMk/>
            <pc:sldMasterMk cId="476062542" sldId="2147484032"/>
            <pc:sldLayoutMk cId="40364965" sldId="2147484034"/>
          </pc:sldLayoutMkLst>
        </pc:sldLayoutChg>
        <pc:sldLayoutChg chg="del">
          <pc:chgData name="Saranya Sriram" userId="31246c95-b325-49bd-b9d7-da3f09848d21" providerId="ADAL" clId="{BD20BE7E-72EA-4327-8326-1145F18CD28D}" dt="2022-10-20T10:17:37.578" v="55" actId="2696"/>
          <pc:sldLayoutMkLst>
            <pc:docMk/>
            <pc:sldMasterMk cId="476062542" sldId="2147484032"/>
            <pc:sldLayoutMk cId="2650033662" sldId="2147484035"/>
          </pc:sldLayoutMkLst>
        </pc:sldLayoutChg>
        <pc:sldLayoutChg chg="del">
          <pc:chgData name="Saranya Sriram" userId="31246c95-b325-49bd-b9d7-da3f09848d21" providerId="ADAL" clId="{BD20BE7E-72EA-4327-8326-1145F18CD28D}" dt="2022-10-20T10:17:37.582" v="56" actId="2696"/>
          <pc:sldLayoutMkLst>
            <pc:docMk/>
            <pc:sldMasterMk cId="476062542" sldId="2147484032"/>
            <pc:sldLayoutMk cId="2157856433" sldId="2147484036"/>
          </pc:sldLayoutMkLst>
        </pc:sldLayoutChg>
        <pc:sldLayoutChg chg="del">
          <pc:chgData name="Saranya Sriram" userId="31246c95-b325-49bd-b9d7-da3f09848d21" providerId="ADAL" clId="{BD20BE7E-72EA-4327-8326-1145F18CD28D}" dt="2022-10-20T10:17:37.583" v="57" actId="2696"/>
          <pc:sldLayoutMkLst>
            <pc:docMk/>
            <pc:sldMasterMk cId="476062542" sldId="2147484032"/>
            <pc:sldLayoutMk cId="2175442230" sldId="2147484037"/>
          </pc:sldLayoutMkLst>
        </pc:sldLayoutChg>
        <pc:sldLayoutChg chg="del">
          <pc:chgData name="Saranya Sriram" userId="31246c95-b325-49bd-b9d7-da3f09848d21" providerId="ADAL" clId="{BD20BE7E-72EA-4327-8326-1145F18CD28D}" dt="2022-10-20T10:17:37.587" v="58" actId="2696"/>
          <pc:sldLayoutMkLst>
            <pc:docMk/>
            <pc:sldMasterMk cId="476062542" sldId="2147484032"/>
            <pc:sldLayoutMk cId="3583105035" sldId="2147484038"/>
          </pc:sldLayoutMkLst>
        </pc:sldLayoutChg>
        <pc:sldLayoutChg chg="del">
          <pc:chgData name="Saranya Sriram" userId="31246c95-b325-49bd-b9d7-da3f09848d21" providerId="ADAL" clId="{BD20BE7E-72EA-4327-8326-1145F18CD28D}" dt="2022-10-20T10:17:37.591" v="59" actId="2696"/>
          <pc:sldLayoutMkLst>
            <pc:docMk/>
            <pc:sldMasterMk cId="476062542" sldId="2147484032"/>
            <pc:sldLayoutMk cId="3819957040" sldId="2147484039"/>
          </pc:sldLayoutMkLst>
        </pc:sldLayoutChg>
        <pc:sldLayoutChg chg="del">
          <pc:chgData name="Saranya Sriram" userId="31246c95-b325-49bd-b9d7-da3f09848d21" providerId="ADAL" clId="{BD20BE7E-72EA-4327-8326-1145F18CD28D}" dt="2022-10-20T10:17:37.593" v="60" actId="2696"/>
          <pc:sldLayoutMkLst>
            <pc:docMk/>
            <pc:sldMasterMk cId="476062542" sldId="2147484032"/>
            <pc:sldLayoutMk cId="851392174" sldId="2147484040"/>
          </pc:sldLayoutMkLst>
        </pc:sldLayoutChg>
        <pc:sldLayoutChg chg="del">
          <pc:chgData name="Saranya Sriram" userId="31246c95-b325-49bd-b9d7-da3f09848d21" providerId="ADAL" clId="{BD20BE7E-72EA-4327-8326-1145F18CD28D}" dt="2022-10-20T10:17:37.593" v="61" actId="2696"/>
          <pc:sldLayoutMkLst>
            <pc:docMk/>
            <pc:sldMasterMk cId="476062542" sldId="2147484032"/>
            <pc:sldLayoutMk cId="1854681090" sldId="2147484041"/>
          </pc:sldLayoutMkLst>
        </pc:sldLayoutChg>
        <pc:sldLayoutChg chg="del">
          <pc:chgData name="Saranya Sriram" userId="31246c95-b325-49bd-b9d7-da3f09848d21" providerId="ADAL" clId="{BD20BE7E-72EA-4327-8326-1145F18CD28D}" dt="2022-10-20T10:17:37.593" v="62" actId="2696"/>
          <pc:sldLayoutMkLst>
            <pc:docMk/>
            <pc:sldMasterMk cId="476062542" sldId="2147484032"/>
            <pc:sldLayoutMk cId="1299292496" sldId="2147484042"/>
          </pc:sldLayoutMkLst>
        </pc:sldLayoutChg>
        <pc:sldLayoutChg chg="del">
          <pc:chgData name="Saranya Sriram" userId="31246c95-b325-49bd-b9d7-da3f09848d21" providerId="ADAL" clId="{BD20BE7E-72EA-4327-8326-1145F18CD28D}" dt="2022-10-20T10:17:37.601" v="63" actId="2696"/>
          <pc:sldLayoutMkLst>
            <pc:docMk/>
            <pc:sldMasterMk cId="476062542" sldId="2147484032"/>
            <pc:sldLayoutMk cId="1016473481" sldId="2147484043"/>
          </pc:sldLayoutMkLst>
        </pc:sldLayoutChg>
        <pc:sldLayoutChg chg="del">
          <pc:chgData name="Saranya Sriram" userId="31246c95-b325-49bd-b9d7-da3f09848d21" providerId="ADAL" clId="{BD20BE7E-72EA-4327-8326-1145F18CD28D}" dt="2022-10-20T10:17:37.603" v="64" actId="2696"/>
          <pc:sldLayoutMkLst>
            <pc:docMk/>
            <pc:sldMasterMk cId="476062542" sldId="2147484032"/>
            <pc:sldLayoutMk cId="1389015547" sldId="2147484044"/>
          </pc:sldLayoutMkLst>
        </pc:sldLayoutChg>
        <pc:sldLayoutChg chg="del">
          <pc:chgData name="Saranya Sriram" userId="31246c95-b325-49bd-b9d7-da3f09848d21" providerId="ADAL" clId="{BD20BE7E-72EA-4327-8326-1145F18CD28D}" dt="2022-10-20T10:17:37.603" v="65" actId="2696"/>
          <pc:sldLayoutMkLst>
            <pc:docMk/>
            <pc:sldMasterMk cId="476062542" sldId="2147484032"/>
            <pc:sldLayoutMk cId="1493961295" sldId="2147484045"/>
          </pc:sldLayoutMkLst>
        </pc:sldLayoutChg>
        <pc:sldLayoutChg chg="del">
          <pc:chgData name="Saranya Sriram" userId="31246c95-b325-49bd-b9d7-da3f09848d21" providerId="ADAL" clId="{BD20BE7E-72EA-4327-8326-1145F18CD28D}" dt="2022-10-20T10:17:37.603" v="66" actId="2696"/>
          <pc:sldLayoutMkLst>
            <pc:docMk/>
            <pc:sldMasterMk cId="476062542" sldId="2147484032"/>
            <pc:sldLayoutMk cId="1023466665" sldId="2147484046"/>
          </pc:sldLayoutMkLst>
        </pc:sldLayoutChg>
        <pc:sldLayoutChg chg="del">
          <pc:chgData name="Saranya Sriram" userId="31246c95-b325-49bd-b9d7-da3f09848d21" providerId="ADAL" clId="{BD20BE7E-72EA-4327-8326-1145F18CD28D}" dt="2022-10-20T10:17:37.603" v="67" actId="2696"/>
          <pc:sldLayoutMkLst>
            <pc:docMk/>
            <pc:sldMasterMk cId="476062542" sldId="2147484032"/>
            <pc:sldLayoutMk cId="44073613" sldId="2147484047"/>
          </pc:sldLayoutMkLst>
        </pc:sldLayoutChg>
        <pc:sldLayoutChg chg="del">
          <pc:chgData name="Saranya Sriram" userId="31246c95-b325-49bd-b9d7-da3f09848d21" providerId="ADAL" clId="{BD20BE7E-72EA-4327-8326-1145F18CD28D}" dt="2022-10-20T10:17:37.618" v="68" actId="2696"/>
          <pc:sldLayoutMkLst>
            <pc:docMk/>
            <pc:sldMasterMk cId="476062542" sldId="2147484032"/>
            <pc:sldLayoutMk cId="3993775078" sldId="2147484048"/>
          </pc:sldLayoutMkLst>
        </pc:sldLayoutChg>
        <pc:sldLayoutChg chg="del">
          <pc:chgData name="Saranya Sriram" userId="31246c95-b325-49bd-b9d7-da3f09848d21" providerId="ADAL" clId="{BD20BE7E-72EA-4327-8326-1145F18CD28D}" dt="2022-10-20T10:17:37.618" v="69" actId="2696"/>
          <pc:sldLayoutMkLst>
            <pc:docMk/>
            <pc:sldMasterMk cId="476062542" sldId="2147484032"/>
            <pc:sldLayoutMk cId="4005633430" sldId="2147484049"/>
          </pc:sldLayoutMkLst>
        </pc:sldLayoutChg>
        <pc:sldLayoutChg chg="del">
          <pc:chgData name="Saranya Sriram" userId="31246c95-b325-49bd-b9d7-da3f09848d21" providerId="ADAL" clId="{BD20BE7E-72EA-4327-8326-1145F18CD28D}" dt="2022-10-20T10:17:37.625" v="70" actId="2696"/>
          <pc:sldLayoutMkLst>
            <pc:docMk/>
            <pc:sldMasterMk cId="476062542" sldId="2147484032"/>
            <pc:sldLayoutMk cId="2321017217" sldId="2147484050"/>
          </pc:sldLayoutMkLst>
        </pc:sldLayoutChg>
        <pc:sldLayoutChg chg="del">
          <pc:chgData name="Saranya Sriram" userId="31246c95-b325-49bd-b9d7-da3f09848d21" providerId="ADAL" clId="{BD20BE7E-72EA-4327-8326-1145F18CD28D}" dt="2022-10-20T10:17:37.628" v="71" actId="2696"/>
          <pc:sldLayoutMkLst>
            <pc:docMk/>
            <pc:sldMasterMk cId="476062542" sldId="2147484032"/>
            <pc:sldLayoutMk cId="2659665614" sldId="2147484051"/>
          </pc:sldLayoutMkLst>
        </pc:sldLayoutChg>
        <pc:sldLayoutChg chg="del">
          <pc:chgData name="Saranya Sriram" userId="31246c95-b325-49bd-b9d7-da3f09848d21" providerId="ADAL" clId="{BD20BE7E-72EA-4327-8326-1145F18CD28D}" dt="2022-10-20T10:17:37.631" v="72" actId="2696"/>
          <pc:sldLayoutMkLst>
            <pc:docMk/>
            <pc:sldMasterMk cId="476062542" sldId="2147484032"/>
            <pc:sldLayoutMk cId="3797721373" sldId="2147484052"/>
          </pc:sldLayoutMkLst>
        </pc:sldLayoutChg>
        <pc:sldLayoutChg chg="del">
          <pc:chgData name="Saranya Sriram" userId="31246c95-b325-49bd-b9d7-da3f09848d21" providerId="ADAL" clId="{BD20BE7E-72EA-4327-8326-1145F18CD28D}" dt="2022-10-20T10:17:37.634" v="73" actId="2696"/>
          <pc:sldLayoutMkLst>
            <pc:docMk/>
            <pc:sldMasterMk cId="476062542" sldId="2147484032"/>
            <pc:sldLayoutMk cId="1417184942" sldId="2147484053"/>
          </pc:sldLayoutMkLst>
        </pc:sldLayoutChg>
        <pc:sldLayoutChg chg="del">
          <pc:chgData name="Saranya Sriram" userId="31246c95-b325-49bd-b9d7-da3f09848d21" providerId="ADAL" clId="{BD20BE7E-72EA-4327-8326-1145F18CD28D}" dt="2022-10-20T10:17:37.634" v="74" actId="2696"/>
          <pc:sldLayoutMkLst>
            <pc:docMk/>
            <pc:sldMasterMk cId="476062542" sldId="2147484032"/>
            <pc:sldLayoutMk cId="990952079" sldId="2147484054"/>
          </pc:sldLayoutMkLst>
        </pc:sldLayoutChg>
        <pc:sldLayoutChg chg="del">
          <pc:chgData name="Saranya Sriram" userId="31246c95-b325-49bd-b9d7-da3f09848d21" providerId="ADAL" clId="{BD20BE7E-72EA-4327-8326-1145F18CD28D}" dt="2022-10-20T10:17:37.634" v="75" actId="2696"/>
          <pc:sldLayoutMkLst>
            <pc:docMk/>
            <pc:sldMasterMk cId="476062542" sldId="2147484032"/>
            <pc:sldLayoutMk cId="618849512" sldId="2147484055"/>
          </pc:sldLayoutMkLst>
        </pc:sldLayoutChg>
        <pc:sldLayoutChg chg="del">
          <pc:chgData name="Saranya Sriram" userId="31246c95-b325-49bd-b9d7-da3f09848d21" providerId="ADAL" clId="{BD20BE7E-72EA-4327-8326-1145F18CD28D}" dt="2022-10-20T10:17:37.634" v="76" actId="2696"/>
          <pc:sldLayoutMkLst>
            <pc:docMk/>
            <pc:sldMasterMk cId="476062542" sldId="2147484032"/>
            <pc:sldLayoutMk cId="2102472822" sldId="2147484056"/>
          </pc:sldLayoutMkLst>
        </pc:sldLayoutChg>
        <pc:sldLayoutChg chg="del">
          <pc:chgData name="Saranya Sriram" userId="31246c95-b325-49bd-b9d7-da3f09848d21" providerId="ADAL" clId="{BD20BE7E-72EA-4327-8326-1145F18CD28D}" dt="2022-10-20T10:17:37.650" v="77" actId="2696"/>
          <pc:sldLayoutMkLst>
            <pc:docMk/>
            <pc:sldMasterMk cId="476062542" sldId="2147484032"/>
            <pc:sldLayoutMk cId="4129088208" sldId="2147484057"/>
          </pc:sldLayoutMkLst>
        </pc:sldLayoutChg>
        <pc:sldLayoutChg chg="del">
          <pc:chgData name="Saranya Sriram" userId="31246c95-b325-49bd-b9d7-da3f09848d21" providerId="ADAL" clId="{BD20BE7E-72EA-4327-8326-1145F18CD28D}" dt="2022-10-20T10:17:37.650" v="78" actId="2696"/>
          <pc:sldLayoutMkLst>
            <pc:docMk/>
            <pc:sldMasterMk cId="476062542" sldId="2147484032"/>
            <pc:sldLayoutMk cId="1989817791" sldId="2147484058"/>
          </pc:sldLayoutMkLst>
        </pc:sldLayoutChg>
        <pc:sldLayoutChg chg="del">
          <pc:chgData name="Saranya Sriram" userId="31246c95-b325-49bd-b9d7-da3f09848d21" providerId="ADAL" clId="{BD20BE7E-72EA-4327-8326-1145F18CD28D}" dt="2022-10-20T10:17:37.650" v="79" actId="2696"/>
          <pc:sldLayoutMkLst>
            <pc:docMk/>
            <pc:sldMasterMk cId="476062542" sldId="2147484032"/>
            <pc:sldLayoutMk cId="2647615050" sldId="2147484059"/>
          </pc:sldLayoutMkLst>
        </pc:sldLayoutChg>
        <pc:sldLayoutChg chg="del">
          <pc:chgData name="Saranya Sriram" userId="31246c95-b325-49bd-b9d7-da3f09848d21" providerId="ADAL" clId="{BD20BE7E-72EA-4327-8326-1145F18CD28D}" dt="2022-10-20T10:17:37.650" v="80" actId="2696"/>
          <pc:sldLayoutMkLst>
            <pc:docMk/>
            <pc:sldMasterMk cId="476062542" sldId="2147484032"/>
            <pc:sldLayoutMk cId="119981344" sldId="2147484060"/>
          </pc:sldLayoutMkLst>
        </pc:sldLayoutChg>
        <pc:sldLayoutChg chg="del">
          <pc:chgData name="Saranya Sriram" userId="31246c95-b325-49bd-b9d7-da3f09848d21" providerId="ADAL" clId="{BD20BE7E-72EA-4327-8326-1145F18CD28D}" dt="2022-10-20T10:17:37.650" v="81" actId="2696"/>
          <pc:sldLayoutMkLst>
            <pc:docMk/>
            <pc:sldMasterMk cId="476062542" sldId="2147484032"/>
            <pc:sldLayoutMk cId="1130327816" sldId="2147484061"/>
          </pc:sldLayoutMkLst>
        </pc:sldLayoutChg>
        <pc:sldLayoutChg chg="del">
          <pc:chgData name="Saranya Sriram" userId="31246c95-b325-49bd-b9d7-da3f09848d21" providerId="ADAL" clId="{BD20BE7E-72EA-4327-8326-1145F18CD28D}" dt="2022-10-20T10:17:37.650" v="82" actId="2696"/>
          <pc:sldLayoutMkLst>
            <pc:docMk/>
            <pc:sldMasterMk cId="476062542" sldId="2147484032"/>
            <pc:sldLayoutMk cId="1799649249" sldId="2147484062"/>
          </pc:sldLayoutMkLst>
        </pc:sldLayoutChg>
        <pc:sldLayoutChg chg="del">
          <pc:chgData name="Saranya Sriram" userId="31246c95-b325-49bd-b9d7-da3f09848d21" providerId="ADAL" clId="{BD20BE7E-72EA-4327-8326-1145F18CD28D}" dt="2022-10-20T10:17:37.650" v="83" actId="2696"/>
          <pc:sldLayoutMkLst>
            <pc:docMk/>
            <pc:sldMasterMk cId="476062542" sldId="2147484032"/>
            <pc:sldLayoutMk cId="2364077355" sldId="2147484063"/>
          </pc:sldLayoutMkLst>
        </pc:sldLayoutChg>
      </pc:sldMasterChg>
      <pc:sldMasterChg chg="del delSldLayout">
        <pc:chgData name="Saranya Sriram" userId="31246c95-b325-49bd-b9d7-da3f09848d21" providerId="ADAL" clId="{BD20BE7E-72EA-4327-8326-1145F18CD28D}" dt="2022-10-20T10:17:37.796" v="134" actId="2696"/>
        <pc:sldMasterMkLst>
          <pc:docMk/>
          <pc:sldMasterMk cId="2362795655" sldId="2147484077"/>
        </pc:sldMasterMkLst>
        <pc:sldLayoutChg chg="del">
          <pc:chgData name="Saranya Sriram" userId="31246c95-b325-49bd-b9d7-da3f09848d21" providerId="ADAL" clId="{BD20BE7E-72EA-4327-8326-1145F18CD28D}" dt="2022-10-20T10:17:37.676" v="85" actId="2696"/>
          <pc:sldLayoutMkLst>
            <pc:docMk/>
            <pc:sldMasterMk cId="2362795655" sldId="2147484077"/>
            <pc:sldLayoutMk cId="2260516177" sldId="2147484078"/>
          </pc:sldLayoutMkLst>
        </pc:sldLayoutChg>
        <pc:sldLayoutChg chg="del">
          <pc:chgData name="Saranya Sriram" userId="31246c95-b325-49bd-b9d7-da3f09848d21" providerId="ADAL" clId="{BD20BE7E-72EA-4327-8326-1145F18CD28D}" dt="2022-10-20T10:17:37.681" v="86" actId="2696"/>
          <pc:sldLayoutMkLst>
            <pc:docMk/>
            <pc:sldMasterMk cId="2362795655" sldId="2147484077"/>
            <pc:sldLayoutMk cId="1309988898" sldId="2147484079"/>
          </pc:sldLayoutMkLst>
        </pc:sldLayoutChg>
        <pc:sldLayoutChg chg="del">
          <pc:chgData name="Saranya Sriram" userId="31246c95-b325-49bd-b9d7-da3f09848d21" providerId="ADAL" clId="{BD20BE7E-72EA-4327-8326-1145F18CD28D}" dt="2022-10-20T10:17:37.681" v="87" actId="2696"/>
          <pc:sldLayoutMkLst>
            <pc:docMk/>
            <pc:sldMasterMk cId="2362795655" sldId="2147484077"/>
            <pc:sldLayoutMk cId="4203286357" sldId="2147484080"/>
          </pc:sldLayoutMkLst>
        </pc:sldLayoutChg>
        <pc:sldLayoutChg chg="del">
          <pc:chgData name="Saranya Sriram" userId="31246c95-b325-49bd-b9d7-da3f09848d21" providerId="ADAL" clId="{BD20BE7E-72EA-4327-8326-1145F18CD28D}" dt="2022-10-20T10:17:37.681" v="88" actId="2696"/>
          <pc:sldLayoutMkLst>
            <pc:docMk/>
            <pc:sldMasterMk cId="2362795655" sldId="2147484077"/>
            <pc:sldLayoutMk cId="605715105" sldId="2147484081"/>
          </pc:sldLayoutMkLst>
        </pc:sldLayoutChg>
        <pc:sldLayoutChg chg="del">
          <pc:chgData name="Saranya Sriram" userId="31246c95-b325-49bd-b9d7-da3f09848d21" providerId="ADAL" clId="{BD20BE7E-72EA-4327-8326-1145F18CD28D}" dt="2022-10-20T10:17:37.681" v="89" actId="2696"/>
          <pc:sldLayoutMkLst>
            <pc:docMk/>
            <pc:sldMasterMk cId="2362795655" sldId="2147484077"/>
            <pc:sldLayoutMk cId="2995657682" sldId="2147484082"/>
          </pc:sldLayoutMkLst>
        </pc:sldLayoutChg>
        <pc:sldLayoutChg chg="del">
          <pc:chgData name="Saranya Sriram" userId="31246c95-b325-49bd-b9d7-da3f09848d21" providerId="ADAL" clId="{BD20BE7E-72EA-4327-8326-1145F18CD28D}" dt="2022-10-20T10:17:37.681" v="90" actId="2696"/>
          <pc:sldLayoutMkLst>
            <pc:docMk/>
            <pc:sldMasterMk cId="2362795655" sldId="2147484077"/>
            <pc:sldLayoutMk cId="730481411" sldId="2147484083"/>
          </pc:sldLayoutMkLst>
        </pc:sldLayoutChg>
        <pc:sldLayoutChg chg="del">
          <pc:chgData name="Saranya Sriram" userId="31246c95-b325-49bd-b9d7-da3f09848d21" providerId="ADAL" clId="{BD20BE7E-72EA-4327-8326-1145F18CD28D}" dt="2022-10-20T10:17:37.681" v="91" actId="2696"/>
          <pc:sldLayoutMkLst>
            <pc:docMk/>
            <pc:sldMasterMk cId="2362795655" sldId="2147484077"/>
            <pc:sldLayoutMk cId="1145300515" sldId="2147484084"/>
          </pc:sldLayoutMkLst>
        </pc:sldLayoutChg>
        <pc:sldLayoutChg chg="del">
          <pc:chgData name="Saranya Sriram" userId="31246c95-b325-49bd-b9d7-da3f09848d21" providerId="ADAL" clId="{BD20BE7E-72EA-4327-8326-1145F18CD28D}" dt="2022-10-20T10:17:37.697" v="92" actId="2696"/>
          <pc:sldLayoutMkLst>
            <pc:docMk/>
            <pc:sldMasterMk cId="2362795655" sldId="2147484077"/>
            <pc:sldLayoutMk cId="2753296790" sldId="2147484085"/>
          </pc:sldLayoutMkLst>
        </pc:sldLayoutChg>
        <pc:sldLayoutChg chg="del">
          <pc:chgData name="Saranya Sriram" userId="31246c95-b325-49bd-b9d7-da3f09848d21" providerId="ADAL" clId="{BD20BE7E-72EA-4327-8326-1145F18CD28D}" dt="2022-10-20T10:17:37.699" v="93" actId="2696"/>
          <pc:sldLayoutMkLst>
            <pc:docMk/>
            <pc:sldMasterMk cId="2362795655" sldId="2147484077"/>
            <pc:sldLayoutMk cId="2343897910" sldId="2147484086"/>
          </pc:sldLayoutMkLst>
        </pc:sldLayoutChg>
        <pc:sldLayoutChg chg="del">
          <pc:chgData name="Saranya Sriram" userId="31246c95-b325-49bd-b9d7-da3f09848d21" providerId="ADAL" clId="{BD20BE7E-72EA-4327-8326-1145F18CD28D}" dt="2022-10-20T10:17:37.700" v="94" actId="2696"/>
          <pc:sldLayoutMkLst>
            <pc:docMk/>
            <pc:sldMasterMk cId="2362795655" sldId="2147484077"/>
            <pc:sldLayoutMk cId="3659518313" sldId="2147484087"/>
          </pc:sldLayoutMkLst>
        </pc:sldLayoutChg>
        <pc:sldLayoutChg chg="del">
          <pc:chgData name="Saranya Sriram" userId="31246c95-b325-49bd-b9d7-da3f09848d21" providerId="ADAL" clId="{BD20BE7E-72EA-4327-8326-1145F18CD28D}" dt="2022-10-20T10:17:37.700" v="95" actId="2696"/>
          <pc:sldLayoutMkLst>
            <pc:docMk/>
            <pc:sldMasterMk cId="2362795655" sldId="2147484077"/>
            <pc:sldLayoutMk cId="641941669" sldId="2147484088"/>
          </pc:sldLayoutMkLst>
        </pc:sldLayoutChg>
        <pc:sldLayoutChg chg="del">
          <pc:chgData name="Saranya Sriram" userId="31246c95-b325-49bd-b9d7-da3f09848d21" providerId="ADAL" clId="{BD20BE7E-72EA-4327-8326-1145F18CD28D}" dt="2022-10-20T10:17:37.700" v="96" actId="2696"/>
          <pc:sldLayoutMkLst>
            <pc:docMk/>
            <pc:sldMasterMk cId="2362795655" sldId="2147484077"/>
            <pc:sldLayoutMk cId="63689227" sldId="2147484089"/>
          </pc:sldLayoutMkLst>
        </pc:sldLayoutChg>
        <pc:sldLayoutChg chg="del">
          <pc:chgData name="Saranya Sriram" userId="31246c95-b325-49bd-b9d7-da3f09848d21" providerId="ADAL" clId="{BD20BE7E-72EA-4327-8326-1145F18CD28D}" dt="2022-10-20T10:17:37.713" v="97" actId="2696"/>
          <pc:sldLayoutMkLst>
            <pc:docMk/>
            <pc:sldMasterMk cId="2362795655" sldId="2147484077"/>
            <pc:sldLayoutMk cId="1004949510" sldId="2147484090"/>
          </pc:sldLayoutMkLst>
        </pc:sldLayoutChg>
        <pc:sldLayoutChg chg="del">
          <pc:chgData name="Saranya Sriram" userId="31246c95-b325-49bd-b9d7-da3f09848d21" providerId="ADAL" clId="{BD20BE7E-72EA-4327-8326-1145F18CD28D}" dt="2022-10-20T10:17:37.713" v="98" actId="2696"/>
          <pc:sldLayoutMkLst>
            <pc:docMk/>
            <pc:sldMasterMk cId="2362795655" sldId="2147484077"/>
            <pc:sldLayoutMk cId="402136874" sldId="2147484091"/>
          </pc:sldLayoutMkLst>
        </pc:sldLayoutChg>
        <pc:sldLayoutChg chg="del">
          <pc:chgData name="Saranya Sriram" userId="31246c95-b325-49bd-b9d7-da3f09848d21" providerId="ADAL" clId="{BD20BE7E-72EA-4327-8326-1145F18CD28D}" dt="2022-10-20T10:17:37.713" v="99" actId="2696"/>
          <pc:sldLayoutMkLst>
            <pc:docMk/>
            <pc:sldMasterMk cId="2362795655" sldId="2147484077"/>
            <pc:sldLayoutMk cId="2368670254" sldId="2147484092"/>
          </pc:sldLayoutMkLst>
        </pc:sldLayoutChg>
        <pc:sldLayoutChg chg="del">
          <pc:chgData name="Saranya Sriram" userId="31246c95-b325-49bd-b9d7-da3f09848d21" providerId="ADAL" clId="{BD20BE7E-72EA-4327-8326-1145F18CD28D}" dt="2022-10-20T10:17:37.722" v="100" actId="2696"/>
          <pc:sldLayoutMkLst>
            <pc:docMk/>
            <pc:sldMasterMk cId="2362795655" sldId="2147484077"/>
            <pc:sldLayoutMk cId="442544587" sldId="2147484093"/>
          </pc:sldLayoutMkLst>
        </pc:sldLayoutChg>
        <pc:sldLayoutChg chg="del">
          <pc:chgData name="Saranya Sriram" userId="31246c95-b325-49bd-b9d7-da3f09848d21" providerId="ADAL" clId="{BD20BE7E-72EA-4327-8326-1145F18CD28D}" dt="2022-10-20T10:17:37.725" v="101" actId="2696"/>
          <pc:sldLayoutMkLst>
            <pc:docMk/>
            <pc:sldMasterMk cId="2362795655" sldId="2147484077"/>
            <pc:sldLayoutMk cId="111141750" sldId="2147484094"/>
          </pc:sldLayoutMkLst>
        </pc:sldLayoutChg>
        <pc:sldLayoutChg chg="del">
          <pc:chgData name="Saranya Sriram" userId="31246c95-b325-49bd-b9d7-da3f09848d21" providerId="ADAL" clId="{BD20BE7E-72EA-4327-8326-1145F18CD28D}" dt="2022-10-20T10:17:37.725" v="102" actId="2696"/>
          <pc:sldLayoutMkLst>
            <pc:docMk/>
            <pc:sldMasterMk cId="2362795655" sldId="2147484077"/>
            <pc:sldLayoutMk cId="2341095905" sldId="2147484095"/>
          </pc:sldLayoutMkLst>
        </pc:sldLayoutChg>
        <pc:sldLayoutChg chg="del">
          <pc:chgData name="Saranya Sriram" userId="31246c95-b325-49bd-b9d7-da3f09848d21" providerId="ADAL" clId="{BD20BE7E-72EA-4327-8326-1145F18CD28D}" dt="2022-10-20T10:17:37.729" v="103" actId="2696"/>
          <pc:sldLayoutMkLst>
            <pc:docMk/>
            <pc:sldMasterMk cId="2362795655" sldId="2147484077"/>
            <pc:sldLayoutMk cId="176168821" sldId="2147484096"/>
          </pc:sldLayoutMkLst>
        </pc:sldLayoutChg>
        <pc:sldLayoutChg chg="del">
          <pc:chgData name="Saranya Sriram" userId="31246c95-b325-49bd-b9d7-da3f09848d21" providerId="ADAL" clId="{BD20BE7E-72EA-4327-8326-1145F18CD28D}" dt="2022-10-20T10:17:37.729" v="104" actId="2696"/>
          <pc:sldLayoutMkLst>
            <pc:docMk/>
            <pc:sldMasterMk cId="2362795655" sldId="2147484077"/>
            <pc:sldLayoutMk cId="83001390" sldId="2147484097"/>
          </pc:sldLayoutMkLst>
        </pc:sldLayoutChg>
        <pc:sldLayoutChg chg="del">
          <pc:chgData name="Saranya Sriram" userId="31246c95-b325-49bd-b9d7-da3f09848d21" providerId="ADAL" clId="{BD20BE7E-72EA-4327-8326-1145F18CD28D}" dt="2022-10-20T10:17:37.729" v="105" actId="2696"/>
          <pc:sldLayoutMkLst>
            <pc:docMk/>
            <pc:sldMasterMk cId="2362795655" sldId="2147484077"/>
            <pc:sldLayoutMk cId="3776712663" sldId="2147484098"/>
          </pc:sldLayoutMkLst>
        </pc:sldLayoutChg>
        <pc:sldLayoutChg chg="del">
          <pc:chgData name="Saranya Sriram" userId="31246c95-b325-49bd-b9d7-da3f09848d21" providerId="ADAL" clId="{BD20BE7E-72EA-4327-8326-1145F18CD28D}" dt="2022-10-20T10:17:37.729" v="106" actId="2696"/>
          <pc:sldLayoutMkLst>
            <pc:docMk/>
            <pc:sldMasterMk cId="2362795655" sldId="2147484077"/>
            <pc:sldLayoutMk cId="154659531" sldId="2147484099"/>
          </pc:sldLayoutMkLst>
        </pc:sldLayoutChg>
        <pc:sldLayoutChg chg="del">
          <pc:chgData name="Saranya Sriram" userId="31246c95-b325-49bd-b9d7-da3f09848d21" providerId="ADAL" clId="{BD20BE7E-72EA-4327-8326-1145F18CD28D}" dt="2022-10-20T10:17:37.729" v="107" actId="2696"/>
          <pc:sldLayoutMkLst>
            <pc:docMk/>
            <pc:sldMasterMk cId="2362795655" sldId="2147484077"/>
            <pc:sldLayoutMk cId="1888179127" sldId="2147484100"/>
          </pc:sldLayoutMkLst>
        </pc:sldLayoutChg>
        <pc:sldLayoutChg chg="del">
          <pc:chgData name="Saranya Sriram" userId="31246c95-b325-49bd-b9d7-da3f09848d21" providerId="ADAL" clId="{BD20BE7E-72EA-4327-8326-1145F18CD28D}" dt="2022-10-20T10:17:37.729" v="108" actId="2696"/>
          <pc:sldLayoutMkLst>
            <pc:docMk/>
            <pc:sldMasterMk cId="2362795655" sldId="2147484077"/>
            <pc:sldLayoutMk cId="496208483" sldId="2147484101"/>
          </pc:sldLayoutMkLst>
        </pc:sldLayoutChg>
        <pc:sldLayoutChg chg="del">
          <pc:chgData name="Saranya Sriram" userId="31246c95-b325-49bd-b9d7-da3f09848d21" providerId="ADAL" clId="{BD20BE7E-72EA-4327-8326-1145F18CD28D}" dt="2022-10-20T10:17:37.744" v="109" actId="2696"/>
          <pc:sldLayoutMkLst>
            <pc:docMk/>
            <pc:sldMasterMk cId="2362795655" sldId="2147484077"/>
            <pc:sldLayoutMk cId="3287216913" sldId="2147484102"/>
          </pc:sldLayoutMkLst>
        </pc:sldLayoutChg>
        <pc:sldLayoutChg chg="del">
          <pc:chgData name="Saranya Sriram" userId="31246c95-b325-49bd-b9d7-da3f09848d21" providerId="ADAL" clId="{BD20BE7E-72EA-4327-8326-1145F18CD28D}" dt="2022-10-20T10:17:37.744" v="110" actId="2696"/>
          <pc:sldLayoutMkLst>
            <pc:docMk/>
            <pc:sldMasterMk cId="2362795655" sldId="2147484077"/>
            <pc:sldLayoutMk cId="1584535661" sldId="2147484103"/>
          </pc:sldLayoutMkLst>
        </pc:sldLayoutChg>
        <pc:sldLayoutChg chg="del">
          <pc:chgData name="Saranya Sriram" userId="31246c95-b325-49bd-b9d7-da3f09848d21" providerId="ADAL" clId="{BD20BE7E-72EA-4327-8326-1145F18CD28D}" dt="2022-10-20T10:17:37.744" v="111" actId="2696"/>
          <pc:sldLayoutMkLst>
            <pc:docMk/>
            <pc:sldMasterMk cId="2362795655" sldId="2147484077"/>
            <pc:sldLayoutMk cId="3980974672" sldId="2147484104"/>
          </pc:sldLayoutMkLst>
        </pc:sldLayoutChg>
        <pc:sldLayoutChg chg="del">
          <pc:chgData name="Saranya Sriram" userId="31246c95-b325-49bd-b9d7-da3f09848d21" providerId="ADAL" clId="{BD20BE7E-72EA-4327-8326-1145F18CD28D}" dt="2022-10-20T10:17:37.744" v="112" actId="2696"/>
          <pc:sldLayoutMkLst>
            <pc:docMk/>
            <pc:sldMasterMk cId="2362795655" sldId="2147484077"/>
            <pc:sldLayoutMk cId="1902480624" sldId="2147484105"/>
          </pc:sldLayoutMkLst>
        </pc:sldLayoutChg>
        <pc:sldLayoutChg chg="del">
          <pc:chgData name="Saranya Sriram" userId="31246c95-b325-49bd-b9d7-da3f09848d21" providerId="ADAL" clId="{BD20BE7E-72EA-4327-8326-1145F18CD28D}" dt="2022-10-20T10:17:37.754" v="113" actId="2696"/>
          <pc:sldLayoutMkLst>
            <pc:docMk/>
            <pc:sldMasterMk cId="2362795655" sldId="2147484077"/>
            <pc:sldLayoutMk cId="1220145385" sldId="2147484106"/>
          </pc:sldLayoutMkLst>
        </pc:sldLayoutChg>
        <pc:sldLayoutChg chg="del">
          <pc:chgData name="Saranya Sriram" userId="31246c95-b325-49bd-b9d7-da3f09848d21" providerId="ADAL" clId="{BD20BE7E-72EA-4327-8326-1145F18CD28D}" dt="2022-10-20T10:17:37.756" v="114" actId="2696"/>
          <pc:sldLayoutMkLst>
            <pc:docMk/>
            <pc:sldMasterMk cId="2362795655" sldId="2147484077"/>
            <pc:sldLayoutMk cId="1147868962" sldId="2147484107"/>
          </pc:sldLayoutMkLst>
        </pc:sldLayoutChg>
        <pc:sldLayoutChg chg="del">
          <pc:chgData name="Saranya Sriram" userId="31246c95-b325-49bd-b9d7-da3f09848d21" providerId="ADAL" clId="{BD20BE7E-72EA-4327-8326-1145F18CD28D}" dt="2022-10-20T10:17:37.757" v="115" actId="2696"/>
          <pc:sldLayoutMkLst>
            <pc:docMk/>
            <pc:sldMasterMk cId="2362795655" sldId="2147484077"/>
            <pc:sldLayoutMk cId="1301330286" sldId="2147484108"/>
          </pc:sldLayoutMkLst>
        </pc:sldLayoutChg>
        <pc:sldLayoutChg chg="del">
          <pc:chgData name="Saranya Sriram" userId="31246c95-b325-49bd-b9d7-da3f09848d21" providerId="ADAL" clId="{BD20BE7E-72EA-4327-8326-1145F18CD28D}" dt="2022-10-20T10:17:37.760" v="116" actId="2696"/>
          <pc:sldLayoutMkLst>
            <pc:docMk/>
            <pc:sldMasterMk cId="2362795655" sldId="2147484077"/>
            <pc:sldLayoutMk cId="2731020563" sldId="2147484109"/>
          </pc:sldLayoutMkLst>
        </pc:sldLayoutChg>
        <pc:sldLayoutChg chg="del">
          <pc:chgData name="Saranya Sriram" userId="31246c95-b325-49bd-b9d7-da3f09848d21" providerId="ADAL" clId="{BD20BE7E-72EA-4327-8326-1145F18CD28D}" dt="2022-10-20T10:17:37.761" v="117" actId="2696"/>
          <pc:sldLayoutMkLst>
            <pc:docMk/>
            <pc:sldMasterMk cId="2362795655" sldId="2147484077"/>
            <pc:sldLayoutMk cId="818728741" sldId="2147484110"/>
          </pc:sldLayoutMkLst>
        </pc:sldLayoutChg>
        <pc:sldLayoutChg chg="del">
          <pc:chgData name="Saranya Sriram" userId="31246c95-b325-49bd-b9d7-da3f09848d21" providerId="ADAL" clId="{BD20BE7E-72EA-4327-8326-1145F18CD28D}" dt="2022-10-20T10:17:37.765" v="118" actId="2696"/>
          <pc:sldLayoutMkLst>
            <pc:docMk/>
            <pc:sldMasterMk cId="2362795655" sldId="2147484077"/>
            <pc:sldLayoutMk cId="521981524" sldId="2147484111"/>
          </pc:sldLayoutMkLst>
        </pc:sldLayoutChg>
        <pc:sldLayoutChg chg="del">
          <pc:chgData name="Saranya Sriram" userId="31246c95-b325-49bd-b9d7-da3f09848d21" providerId="ADAL" clId="{BD20BE7E-72EA-4327-8326-1145F18CD28D}" dt="2022-10-20T10:17:37.766" v="119" actId="2696"/>
          <pc:sldLayoutMkLst>
            <pc:docMk/>
            <pc:sldMasterMk cId="2362795655" sldId="2147484077"/>
            <pc:sldLayoutMk cId="615181585" sldId="2147484112"/>
          </pc:sldLayoutMkLst>
        </pc:sldLayoutChg>
        <pc:sldLayoutChg chg="del">
          <pc:chgData name="Saranya Sriram" userId="31246c95-b325-49bd-b9d7-da3f09848d21" providerId="ADAL" clId="{BD20BE7E-72EA-4327-8326-1145F18CD28D}" dt="2022-10-20T10:17:37.766" v="120" actId="2696"/>
          <pc:sldLayoutMkLst>
            <pc:docMk/>
            <pc:sldMasterMk cId="2362795655" sldId="2147484077"/>
            <pc:sldLayoutMk cId="62035746" sldId="2147484113"/>
          </pc:sldLayoutMkLst>
        </pc:sldLayoutChg>
        <pc:sldLayoutChg chg="del">
          <pc:chgData name="Saranya Sriram" userId="31246c95-b325-49bd-b9d7-da3f09848d21" providerId="ADAL" clId="{BD20BE7E-72EA-4327-8326-1145F18CD28D}" dt="2022-10-20T10:17:37.770" v="121" actId="2696"/>
          <pc:sldLayoutMkLst>
            <pc:docMk/>
            <pc:sldMasterMk cId="2362795655" sldId="2147484077"/>
            <pc:sldLayoutMk cId="1823030384" sldId="2147484114"/>
          </pc:sldLayoutMkLst>
        </pc:sldLayoutChg>
        <pc:sldLayoutChg chg="del">
          <pc:chgData name="Saranya Sriram" userId="31246c95-b325-49bd-b9d7-da3f09848d21" providerId="ADAL" clId="{BD20BE7E-72EA-4327-8326-1145F18CD28D}" dt="2022-10-20T10:17:37.770" v="122" actId="2696"/>
          <pc:sldLayoutMkLst>
            <pc:docMk/>
            <pc:sldMasterMk cId="2362795655" sldId="2147484077"/>
            <pc:sldLayoutMk cId="999048275" sldId="2147484115"/>
          </pc:sldLayoutMkLst>
        </pc:sldLayoutChg>
        <pc:sldLayoutChg chg="del">
          <pc:chgData name="Saranya Sriram" userId="31246c95-b325-49bd-b9d7-da3f09848d21" providerId="ADAL" clId="{BD20BE7E-72EA-4327-8326-1145F18CD28D}" dt="2022-10-20T10:17:37.775" v="123" actId="2696"/>
          <pc:sldLayoutMkLst>
            <pc:docMk/>
            <pc:sldMasterMk cId="2362795655" sldId="2147484077"/>
            <pc:sldLayoutMk cId="771071668" sldId="2147484116"/>
          </pc:sldLayoutMkLst>
        </pc:sldLayoutChg>
        <pc:sldLayoutChg chg="del">
          <pc:chgData name="Saranya Sriram" userId="31246c95-b325-49bd-b9d7-da3f09848d21" providerId="ADAL" clId="{BD20BE7E-72EA-4327-8326-1145F18CD28D}" dt="2022-10-20T10:17:37.778" v="124" actId="2696"/>
          <pc:sldLayoutMkLst>
            <pc:docMk/>
            <pc:sldMasterMk cId="2362795655" sldId="2147484077"/>
            <pc:sldLayoutMk cId="1886890022" sldId="2147484117"/>
          </pc:sldLayoutMkLst>
        </pc:sldLayoutChg>
        <pc:sldLayoutChg chg="del">
          <pc:chgData name="Saranya Sriram" userId="31246c95-b325-49bd-b9d7-da3f09848d21" providerId="ADAL" clId="{BD20BE7E-72EA-4327-8326-1145F18CD28D}" dt="2022-10-20T10:17:37.779" v="125" actId="2696"/>
          <pc:sldLayoutMkLst>
            <pc:docMk/>
            <pc:sldMasterMk cId="2362795655" sldId="2147484077"/>
            <pc:sldLayoutMk cId="2860736033" sldId="2147484118"/>
          </pc:sldLayoutMkLst>
        </pc:sldLayoutChg>
        <pc:sldLayoutChg chg="del">
          <pc:chgData name="Saranya Sriram" userId="31246c95-b325-49bd-b9d7-da3f09848d21" providerId="ADAL" clId="{BD20BE7E-72EA-4327-8326-1145F18CD28D}" dt="2022-10-20T10:17:37.779" v="126" actId="2696"/>
          <pc:sldLayoutMkLst>
            <pc:docMk/>
            <pc:sldMasterMk cId="2362795655" sldId="2147484077"/>
            <pc:sldLayoutMk cId="3408336172" sldId="2147484119"/>
          </pc:sldLayoutMkLst>
        </pc:sldLayoutChg>
        <pc:sldLayoutChg chg="del">
          <pc:chgData name="Saranya Sriram" userId="31246c95-b325-49bd-b9d7-da3f09848d21" providerId="ADAL" clId="{BD20BE7E-72EA-4327-8326-1145F18CD28D}" dt="2022-10-20T10:17:37.779" v="127" actId="2696"/>
          <pc:sldLayoutMkLst>
            <pc:docMk/>
            <pc:sldMasterMk cId="2362795655" sldId="2147484077"/>
            <pc:sldLayoutMk cId="1684190405" sldId="2147484120"/>
          </pc:sldLayoutMkLst>
        </pc:sldLayoutChg>
        <pc:sldLayoutChg chg="del">
          <pc:chgData name="Saranya Sriram" userId="31246c95-b325-49bd-b9d7-da3f09848d21" providerId="ADAL" clId="{BD20BE7E-72EA-4327-8326-1145F18CD28D}" dt="2022-10-20T10:17:37.785" v="128" actId="2696"/>
          <pc:sldLayoutMkLst>
            <pc:docMk/>
            <pc:sldMasterMk cId="2362795655" sldId="2147484077"/>
            <pc:sldLayoutMk cId="612377172" sldId="2147484121"/>
          </pc:sldLayoutMkLst>
        </pc:sldLayoutChg>
        <pc:sldLayoutChg chg="del">
          <pc:chgData name="Saranya Sriram" userId="31246c95-b325-49bd-b9d7-da3f09848d21" providerId="ADAL" clId="{BD20BE7E-72EA-4327-8326-1145F18CD28D}" dt="2022-10-20T10:17:37.785" v="129" actId="2696"/>
          <pc:sldLayoutMkLst>
            <pc:docMk/>
            <pc:sldMasterMk cId="2362795655" sldId="2147484077"/>
            <pc:sldLayoutMk cId="3495876400" sldId="2147484122"/>
          </pc:sldLayoutMkLst>
        </pc:sldLayoutChg>
        <pc:sldLayoutChg chg="del">
          <pc:chgData name="Saranya Sriram" userId="31246c95-b325-49bd-b9d7-da3f09848d21" providerId="ADAL" clId="{BD20BE7E-72EA-4327-8326-1145F18CD28D}" dt="2022-10-20T10:17:37.791" v="130" actId="2696"/>
          <pc:sldLayoutMkLst>
            <pc:docMk/>
            <pc:sldMasterMk cId="2362795655" sldId="2147484077"/>
            <pc:sldLayoutMk cId="663454836" sldId="2147484123"/>
          </pc:sldLayoutMkLst>
        </pc:sldLayoutChg>
        <pc:sldLayoutChg chg="del">
          <pc:chgData name="Saranya Sriram" userId="31246c95-b325-49bd-b9d7-da3f09848d21" providerId="ADAL" clId="{BD20BE7E-72EA-4327-8326-1145F18CD28D}" dt="2022-10-20T10:17:37.794" v="131" actId="2696"/>
          <pc:sldLayoutMkLst>
            <pc:docMk/>
            <pc:sldMasterMk cId="2362795655" sldId="2147484077"/>
            <pc:sldLayoutMk cId="896100911" sldId="2147484124"/>
          </pc:sldLayoutMkLst>
        </pc:sldLayoutChg>
        <pc:sldLayoutChg chg="del">
          <pc:chgData name="Saranya Sriram" userId="31246c95-b325-49bd-b9d7-da3f09848d21" providerId="ADAL" clId="{BD20BE7E-72EA-4327-8326-1145F18CD28D}" dt="2022-10-20T10:17:37.794" v="132" actId="2696"/>
          <pc:sldLayoutMkLst>
            <pc:docMk/>
            <pc:sldMasterMk cId="2362795655" sldId="2147484077"/>
            <pc:sldLayoutMk cId="2428490170" sldId="2147484125"/>
          </pc:sldLayoutMkLst>
        </pc:sldLayoutChg>
        <pc:sldLayoutChg chg="del">
          <pc:chgData name="Saranya Sriram" userId="31246c95-b325-49bd-b9d7-da3f09848d21" providerId="ADAL" clId="{BD20BE7E-72EA-4327-8326-1145F18CD28D}" dt="2022-10-20T10:17:37.796" v="133" actId="2696"/>
          <pc:sldLayoutMkLst>
            <pc:docMk/>
            <pc:sldMasterMk cId="2362795655" sldId="2147484077"/>
            <pc:sldLayoutMk cId="3164857637" sldId="2147484126"/>
          </pc:sldLayoutMkLst>
        </pc:sldLayoutChg>
      </pc:sldMasterChg>
      <pc:sldMasterChg chg="del delSldLayout">
        <pc:chgData name="Saranya Sriram" userId="31246c95-b325-49bd-b9d7-da3f09848d21" providerId="ADAL" clId="{BD20BE7E-72EA-4327-8326-1145F18CD28D}" dt="2022-10-20T10:17:38.677" v="265" actId="2696"/>
        <pc:sldMasterMkLst>
          <pc:docMk/>
          <pc:sldMasterMk cId="1164832412" sldId="2147484127"/>
        </pc:sldMasterMkLst>
        <pc:sldLayoutChg chg="del">
          <pc:chgData name="Saranya Sriram" userId="31246c95-b325-49bd-b9d7-da3f09848d21" providerId="ADAL" clId="{BD20BE7E-72EA-4327-8326-1145F18CD28D}" dt="2022-10-20T10:17:38.324" v="152" actId="2696"/>
          <pc:sldLayoutMkLst>
            <pc:docMk/>
            <pc:sldMasterMk cId="1164832412" sldId="2147484127"/>
            <pc:sldLayoutMk cId="2828946192" sldId="2147484128"/>
          </pc:sldLayoutMkLst>
        </pc:sldLayoutChg>
        <pc:sldLayoutChg chg="del">
          <pc:chgData name="Saranya Sriram" userId="31246c95-b325-49bd-b9d7-da3f09848d21" providerId="ADAL" clId="{BD20BE7E-72EA-4327-8326-1145F18CD28D}" dt="2022-10-20T10:17:38.327" v="153" actId="2696"/>
          <pc:sldLayoutMkLst>
            <pc:docMk/>
            <pc:sldMasterMk cId="1164832412" sldId="2147484127"/>
            <pc:sldLayoutMk cId="2829869647" sldId="2147484129"/>
          </pc:sldLayoutMkLst>
        </pc:sldLayoutChg>
        <pc:sldLayoutChg chg="del">
          <pc:chgData name="Saranya Sriram" userId="31246c95-b325-49bd-b9d7-da3f09848d21" providerId="ADAL" clId="{BD20BE7E-72EA-4327-8326-1145F18CD28D}" dt="2022-10-20T10:17:38.330" v="154" actId="2696"/>
          <pc:sldLayoutMkLst>
            <pc:docMk/>
            <pc:sldMasterMk cId="1164832412" sldId="2147484127"/>
            <pc:sldLayoutMk cId="3028485607" sldId="2147484130"/>
          </pc:sldLayoutMkLst>
        </pc:sldLayoutChg>
        <pc:sldLayoutChg chg="del">
          <pc:chgData name="Saranya Sriram" userId="31246c95-b325-49bd-b9d7-da3f09848d21" providerId="ADAL" clId="{BD20BE7E-72EA-4327-8326-1145F18CD28D}" dt="2022-10-20T10:17:38.333" v="155" actId="2696"/>
          <pc:sldLayoutMkLst>
            <pc:docMk/>
            <pc:sldMasterMk cId="1164832412" sldId="2147484127"/>
            <pc:sldLayoutMk cId="2708993170" sldId="2147484131"/>
          </pc:sldLayoutMkLst>
        </pc:sldLayoutChg>
        <pc:sldLayoutChg chg="del">
          <pc:chgData name="Saranya Sriram" userId="31246c95-b325-49bd-b9d7-da3f09848d21" providerId="ADAL" clId="{BD20BE7E-72EA-4327-8326-1145F18CD28D}" dt="2022-10-20T10:17:38.334" v="156" actId="2696"/>
          <pc:sldLayoutMkLst>
            <pc:docMk/>
            <pc:sldMasterMk cId="1164832412" sldId="2147484127"/>
            <pc:sldLayoutMk cId="3082781300" sldId="2147484132"/>
          </pc:sldLayoutMkLst>
        </pc:sldLayoutChg>
        <pc:sldLayoutChg chg="del">
          <pc:chgData name="Saranya Sriram" userId="31246c95-b325-49bd-b9d7-da3f09848d21" providerId="ADAL" clId="{BD20BE7E-72EA-4327-8326-1145F18CD28D}" dt="2022-10-20T10:17:38.339" v="157" actId="2696"/>
          <pc:sldLayoutMkLst>
            <pc:docMk/>
            <pc:sldMasterMk cId="1164832412" sldId="2147484127"/>
            <pc:sldLayoutMk cId="906151635" sldId="2147484133"/>
          </pc:sldLayoutMkLst>
        </pc:sldLayoutChg>
        <pc:sldLayoutChg chg="del">
          <pc:chgData name="Saranya Sriram" userId="31246c95-b325-49bd-b9d7-da3f09848d21" providerId="ADAL" clId="{BD20BE7E-72EA-4327-8326-1145F18CD28D}" dt="2022-10-20T10:17:38.341" v="158" actId="2696"/>
          <pc:sldLayoutMkLst>
            <pc:docMk/>
            <pc:sldMasterMk cId="1164832412" sldId="2147484127"/>
            <pc:sldLayoutMk cId="1878838792" sldId="2147484134"/>
          </pc:sldLayoutMkLst>
        </pc:sldLayoutChg>
        <pc:sldLayoutChg chg="del">
          <pc:chgData name="Saranya Sriram" userId="31246c95-b325-49bd-b9d7-da3f09848d21" providerId="ADAL" clId="{BD20BE7E-72EA-4327-8326-1145F18CD28D}" dt="2022-10-20T10:17:38.345" v="159" actId="2696"/>
          <pc:sldLayoutMkLst>
            <pc:docMk/>
            <pc:sldMasterMk cId="1164832412" sldId="2147484127"/>
            <pc:sldLayoutMk cId="4226348024" sldId="2147484135"/>
          </pc:sldLayoutMkLst>
        </pc:sldLayoutChg>
        <pc:sldLayoutChg chg="del">
          <pc:chgData name="Saranya Sriram" userId="31246c95-b325-49bd-b9d7-da3f09848d21" providerId="ADAL" clId="{BD20BE7E-72EA-4327-8326-1145F18CD28D}" dt="2022-10-20T10:17:38.348" v="160" actId="2696"/>
          <pc:sldLayoutMkLst>
            <pc:docMk/>
            <pc:sldMasterMk cId="1164832412" sldId="2147484127"/>
            <pc:sldLayoutMk cId="3695396543" sldId="2147484136"/>
          </pc:sldLayoutMkLst>
        </pc:sldLayoutChg>
        <pc:sldLayoutChg chg="del">
          <pc:chgData name="Saranya Sriram" userId="31246c95-b325-49bd-b9d7-da3f09848d21" providerId="ADAL" clId="{BD20BE7E-72EA-4327-8326-1145F18CD28D}" dt="2022-10-20T10:17:38.351" v="161" actId="2696"/>
          <pc:sldLayoutMkLst>
            <pc:docMk/>
            <pc:sldMasterMk cId="1164832412" sldId="2147484127"/>
            <pc:sldLayoutMk cId="4127036339" sldId="2147484137"/>
          </pc:sldLayoutMkLst>
        </pc:sldLayoutChg>
        <pc:sldLayoutChg chg="del">
          <pc:chgData name="Saranya Sriram" userId="31246c95-b325-49bd-b9d7-da3f09848d21" providerId="ADAL" clId="{BD20BE7E-72EA-4327-8326-1145F18CD28D}" dt="2022-10-20T10:17:38.354" v="162" actId="2696"/>
          <pc:sldLayoutMkLst>
            <pc:docMk/>
            <pc:sldMasterMk cId="1164832412" sldId="2147484127"/>
            <pc:sldLayoutMk cId="600990637" sldId="2147484138"/>
          </pc:sldLayoutMkLst>
        </pc:sldLayoutChg>
        <pc:sldLayoutChg chg="del">
          <pc:chgData name="Saranya Sriram" userId="31246c95-b325-49bd-b9d7-da3f09848d21" providerId="ADAL" clId="{BD20BE7E-72EA-4327-8326-1145F18CD28D}" dt="2022-10-20T10:17:38.356" v="163" actId="2696"/>
          <pc:sldLayoutMkLst>
            <pc:docMk/>
            <pc:sldMasterMk cId="1164832412" sldId="2147484127"/>
            <pc:sldLayoutMk cId="2118643905" sldId="2147484139"/>
          </pc:sldLayoutMkLst>
        </pc:sldLayoutChg>
        <pc:sldLayoutChg chg="del">
          <pc:chgData name="Saranya Sriram" userId="31246c95-b325-49bd-b9d7-da3f09848d21" providerId="ADAL" clId="{BD20BE7E-72EA-4327-8326-1145F18CD28D}" dt="2022-10-20T10:17:38.359" v="164" actId="2696"/>
          <pc:sldLayoutMkLst>
            <pc:docMk/>
            <pc:sldMasterMk cId="1164832412" sldId="2147484127"/>
            <pc:sldLayoutMk cId="643609105" sldId="2147484140"/>
          </pc:sldLayoutMkLst>
        </pc:sldLayoutChg>
        <pc:sldLayoutChg chg="del">
          <pc:chgData name="Saranya Sriram" userId="31246c95-b325-49bd-b9d7-da3f09848d21" providerId="ADAL" clId="{BD20BE7E-72EA-4327-8326-1145F18CD28D}" dt="2022-10-20T10:17:38.362" v="165" actId="2696"/>
          <pc:sldLayoutMkLst>
            <pc:docMk/>
            <pc:sldMasterMk cId="1164832412" sldId="2147484127"/>
            <pc:sldLayoutMk cId="3177110096" sldId="2147484141"/>
          </pc:sldLayoutMkLst>
        </pc:sldLayoutChg>
        <pc:sldLayoutChg chg="del">
          <pc:chgData name="Saranya Sriram" userId="31246c95-b325-49bd-b9d7-da3f09848d21" providerId="ADAL" clId="{BD20BE7E-72EA-4327-8326-1145F18CD28D}" dt="2022-10-20T10:17:38.364" v="166" actId="2696"/>
          <pc:sldLayoutMkLst>
            <pc:docMk/>
            <pc:sldMasterMk cId="1164832412" sldId="2147484127"/>
            <pc:sldLayoutMk cId="3828406533" sldId="2147484142"/>
          </pc:sldLayoutMkLst>
        </pc:sldLayoutChg>
        <pc:sldLayoutChg chg="del">
          <pc:chgData name="Saranya Sriram" userId="31246c95-b325-49bd-b9d7-da3f09848d21" providerId="ADAL" clId="{BD20BE7E-72EA-4327-8326-1145F18CD28D}" dt="2022-10-20T10:17:38.367" v="167" actId="2696"/>
          <pc:sldLayoutMkLst>
            <pc:docMk/>
            <pc:sldMasterMk cId="1164832412" sldId="2147484127"/>
            <pc:sldLayoutMk cId="3104652772" sldId="2147484143"/>
          </pc:sldLayoutMkLst>
        </pc:sldLayoutChg>
        <pc:sldLayoutChg chg="del">
          <pc:chgData name="Saranya Sriram" userId="31246c95-b325-49bd-b9d7-da3f09848d21" providerId="ADAL" clId="{BD20BE7E-72EA-4327-8326-1145F18CD28D}" dt="2022-10-20T10:17:38.372" v="168" actId="2696"/>
          <pc:sldLayoutMkLst>
            <pc:docMk/>
            <pc:sldMasterMk cId="1164832412" sldId="2147484127"/>
            <pc:sldLayoutMk cId="1730756893" sldId="2147484144"/>
          </pc:sldLayoutMkLst>
        </pc:sldLayoutChg>
        <pc:sldLayoutChg chg="del">
          <pc:chgData name="Saranya Sriram" userId="31246c95-b325-49bd-b9d7-da3f09848d21" providerId="ADAL" clId="{BD20BE7E-72EA-4327-8326-1145F18CD28D}" dt="2022-10-20T10:17:38.375" v="169" actId="2696"/>
          <pc:sldLayoutMkLst>
            <pc:docMk/>
            <pc:sldMasterMk cId="1164832412" sldId="2147484127"/>
            <pc:sldLayoutMk cId="2312085728" sldId="2147484145"/>
          </pc:sldLayoutMkLst>
        </pc:sldLayoutChg>
        <pc:sldLayoutChg chg="del">
          <pc:chgData name="Saranya Sriram" userId="31246c95-b325-49bd-b9d7-da3f09848d21" providerId="ADAL" clId="{BD20BE7E-72EA-4327-8326-1145F18CD28D}" dt="2022-10-20T10:17:38.378" v="170" actId="2696"/>
          <pc:sldLayoutMkLst>
            <pc:docMk/>
            <pc:sldMasterMk cId="1164832412" sldId="2147484127"/>
            <pc:sldLayoutMk cId="2103135904" sldId="2147484146"/>
          </pc:sldLayoutMkLst>
        </pc:sldLayoutChg>
        <pc:sldLayoutChg chg="del">
          <pc:chgData name="Saranya Sriram" userId="31246c95-b325-49bd-b9d7-da3f09848d21" providerId="ADAL" clId="{BD20BE7E-72EA-4327-8326-1145F18CD28D}" dt="2022-10-20T10:17:38.379" v="171" actId="2696"/>
          <pc:sldLayoutMkLst>
            <pc:docMk/>
            <pc:sldMasterMk cId="1164832412" sldId="2147484127"/>
            <pc:sldLayoutMk cId="3937383128" sldId="2147484147"/>
          </pc:sldLayoutMkLst>
        </pc:sldLayoutChg>
        <pc:sldLayoutChg chg="del">
          <pc:chgData name="Saranya Sriram" userId="31246c95-b325-49bd-b9d7-da3f09848d21" providerId="ADAL" clId="{BD20BE7E-72EA-4327-8326-1145F18CD28D}" dt="2022-10-20T10:17:38.382" v="172" actId="2696"/>
          <pc:sldLayoutMkLst>
            <pc:docMk/>
            <pc:sldMasterMk cId="1164832412" sldId="2147484127"/>
            <pc:sldLayoutMk cId="3228773348" sldId="2147484148"/>
          </pc:sldLayoutMkLst>
        </pc:sldLayoutChg>
        <pc:sldLayoutChg chg="del">
          <pc:chgData name="Saranya Sriram" userId="31246c95-b325-49bd-b9d7-da3f09848d21" providerId="ADAL" clId="{BD20BE7E-72EA-4327-8326-1145F18CD28D}" dt="2022-10-20T10:17:38.384" v="173" actId="2696"/>
          <pc:sldLayoutMkLst>
            <pc:docMk/>
            <pc:sldMasterMk cId="1164832412" sldId="2147484127"/>
            <pc:sldLayoutMk cId="3266246950" sldId="2147484149"/>
          </pc:sldLayoutMkLst>
        </pc:sldLayoutChg>
        <pc:sldLayoutChg chg="del">
          <pc:chgData name="Saranya Sriram" userId="31246c95-b325-49bd-b9d7-da3f09848d21" providerId="ADAL" clId="{BD20BE7E-72EA-4327-8326-1145F18CD28D}" dt="2022-10-20T10:17:38.388" v="174" actId="2696"/>
          <pc:sldLayoutMkLst>
            <pc:docMk/>
            <pc:sldMasterMk cId="1164832412" sldId="2147484127"/>
            <pc:sldLayoutMk cId="2011438241" sldId="2147484150"/>
          </pc:sldLayoutMkLst>
        </pc:sldLayoutChg>
        <pc:sldLayoutChg chg="del">
          <pc:chgData name="Saranya Sriram" userId="31246c95-b325-49bd-b9d7-da3f09848d21" providerId="ADAL" clId="{BD20BE7E-72EA-4327-8326-1145F18CD28D}" dt="2022-10-20T10:17:38.389" v="175" actId="2696"/>
          <pc:sldLayoutMkLst>
            <pc:docMk/>
            <pc:sldMasterMk cId="1164832412" sldId="2147484127"/>
            <pc:sldLayoutMk cId="318551798" sldId="2147484151"/>
          </pc:sldLayoutMkLst>
        </pc:sldLayoutChg>
        <pc:sldLayoutChg chg="del">
          <pc:chgData name="Saranya Sriram" userId="31246c95-b325-49bd-b9d7-da3f09848d21" providerId="ADAL" clId="{BD20BE7E-72EA-4327-8326-1145F18CD28D}" dt="2022-10-20T10:17:38.394" v="176" actId="2696"/>
          <pc:sldLayoutMkLst>
            <pc:docMk/>
            <pc:sldMasterMk cId="1164832412" sldId="2147484127"/>
            <pc:sldLayoutMk cId="3789847206" sldId="2147484152"/>
          </pc:sldLayoutMkLst>
        </pc:sldLayoutChg>
        <pc:sldLayoutChg chg="del">
          <pc:chgData name="Saranya Sriram" userId="31246c95-b325-49bd-b9d7-da3f09848d21" providerId="ADAL" clId="{BD20BE7E-72EA-4327-8326-1145F18CD28D}" dt="2022-10-20T10:17:38.398" v="177" actId="2696"/>
          <pc:sldLayoutMkLst>
            <pc:docMk/>
            <pc:sldMasterMk cId="1164832412" sldId="2147484127"/>
            <pc:sldLayoutMk cId="3377732865" sldId="2147484153"/>
          </pc:sldLayoutMkLst>
        </pc:sldLayoutChg>
        <pc:sldLayoutChg chg="del">
          <pc:chgData name="Saranya Sriram" userId="31246c95-b325-49bd-b9d7-da3f09848d21" providerId="ADAL" clId="{BD20BE7E-72EA-4327-8326-1145F18CD28D}" dt="2022-10-20T10:17:38.401" v="178" actId="2696"/>
          <pc:sldLayoutMkLst>
            <pc:docMk/>
            <pc:sldMasterMk cId="1164832412" sldId="2147484127"/>
            <pc:sldLayoutMk cId="1182902706" sldId="2147484154"/>
          </pc:sldLayoutMkLst>
        </pc:sldLayoutChg>
        <pc:sldLayoutChg chg="del">
          <pc:chgData name="Saranya Sriram" userId="31246c95-b325-49bd-b9d7-da3f09848d21" providerId="ADAL" clId="{BD20BE7E-72EA-4327-8326-1145F18CD28D}" dt="2022-10-20T10:17:38.404" v="179" actId="2696"/>
          <pc:sldLayoutMkLst>
            <pc:docMk/>
            <pc:sldMasterMk cId="1164832412" sldId="2147484127"/>
            <pc:sldLayoutMk cId="409250173" sldId="2147484155"/>
          </pc:sldLayoutMkLst>
        </pc:sldLayoutChg>
        <pc:sldLayoutChg chg="del">
          <pc:chgData name="Saranya Sriram" userId="31246c95-b325-49bd-b9d7-da3f09848d21" providerId="ADAL" clId="{BD20BE7E-72EA-4327-8326-1145F18CD28D}" dt="2022-10-20T10:17:38.407" v="180" actId="2696"/>
          <pc:sldLayoutMkLst>
            <pc:docMk/>
            <pc:sldMasterMk cId="1164832412" sldId="2147484127"/>
            <pc:sldLayoutMk cId="1266313804" sldId="2147484156"/>
          </pc:sldLayoutMkLst>
        </pc:sldLayoutChg>
        <pc:sldLayoutChg chg="del">
          <pc:chgData name="Saranya Sriram" userId="31246c95-b325-49bd-b9d7-da3f09848d21" providerId="ADAL" clId="{BD20BE7E-72EA-4327-8326-1145F18CD28D}" dt="2022-10-20T10:17:38.411" v="181" actId="2696"/>
          <pc:sldLayoutMkLst>
            <pc:docMk/>
            <pc:sldMasterMk cId="1164832412" sldId="2147484127"/>
            <pc:sldLayoutMk cId="2063225854" sldId="2147484157"/>
          </pc:sldLayoutMkLst>
        </pc:sldLayoutChg>
        <pc:sldLayoutChg chg="del">
          <pc:chgData name="Saranya Sriram" userId="31246c95-b325-49bd-b9d7-da3f09848d21" providerId="ADAL" clId="{BD20BE7E-72EA-4327-8326-1145F18CD28D}" dt="2022-10-20T10:17:38.414" v="182" actId="2696"/>
          <pc:sldLayoutMkLst>
            <pc:docMk/>
            <pc:sldMasterMk cId="1164832412" sldId="2147484127"/>
            <pc:sldLayoutMk cId="2093180219" sldId="2147484158"/>
          </pc:sldLayoutMkLst>
        </pc:sldLayoutChg>
        <pc:sldLayoutChg chg="del">
          <pc:chgData name="Saranya Sriram" userId="31246c95-b325-49bd-b9d7-da3f09848d21" providerId="ADAL" clId="{BD20BE7E-72EA-4327-8326-1145F18CD28D}" dt="2022-10-20T10:17:38.415" v="183" actId="2696"/>
          <pc:sldLayoutMkLst>
            <pc:docMk/>
            <pc:sldMasterMk cId="1164832412" sldId="2147484127"/>
            <pc:sldLayoutMk cId="757387045" sldId="2147484159"/>
          </pc:sldLayoutMkLst>
        </pc:sldLayoutChg>
        <pc:sldLayoutChg chg="del">
          <pc:chgData name="Saranya Sriram" userId="31246c95-b325-49bd-b9d7-da3f09848d21" providerId="ADAL" clId="{BD20BE7E-72EA-4327-8326-1145F18CD28D}" dt="2022-10-20T10:17:38.421" v="184" actId="2696"/>
          <pc:sldLayoutMkLst>
            <pc:docMk/>
            <pc:sldMasterMk cId="1164832412" sldId="2147484127"/>
            <pc:sldLayoutMk cId="273669002" sldId="2147484160"/>
          </pc:sldLayoutMkLst>
        </pc:sldLayoutChg>
        <pc:sldLayoutChg chg="del">
          <pc:chgData name="Saranya Sriram" userId="31246c95-b325-49bd-b9d7-da3f09848d21" providerId="ADAL" clId="{BD20BE7E-72EA-4327-8326-1145F18CD28D}" dt="2022-10-20T10:17:38.423" v="185" actId="2696"/>
          <pc:sldLayoutMkLst>
            <pc:docMk/>
            <pc:sldMasterMk cId="1164832412" sldId="2147484127"/>
            <pc:sldLayoutMk cId="1448608263" sldId="2147484161"/>
          </pc:sldLayoutMkLst>
        </pc:sldLayoutChg>
        <pc:sldLayoutChg chg="del">
          <pc:chgData name="Saranya Sriram" userId="31246c95-b325-49bd-b9d7-da3f09848d21" providerId="ADAL" clId="{BD20BE7E-72EA-4327-8326-1145F18CD28D}" dt="2022-10-20T10:17:38.425" v="186" actId="2696"/>
          <pc:sldLayoutMkLst>
            <pc:docMk/>
            <pc:sldMasterMk cId="1164832412" sldId="2147484127"/>
            <pc:sldLayoutMk cId="3965937610" sldId="2147484162"/>
          </pc:sldLayoutMkLst>
        </pc:sldLayoutChg>
        <pc:sldLayoutChg chg="del">
          <pc:chgData name="Saranya Sriram" userId="31246c95-b325-49bd-b9d7-da3f09848d21" providerId="ADAL" clId="{BD20BE7E-72EA-4327-8326-1145F18CD28D}" dt="2022-10-20T10:17:38.430" v="187" actId="2696"/>
          <pc:sldLayoutMkLst>
            <pc:docMk/>
            <pc:sldMasterMk cId="1164832412" sldId="2147484127"/>
            <pc:sldLayoutMk cId="1982111846" sldId="2147484163"/>
          </pc:sldLayoutMkLst>
        </pc:sldLayoutChg>
        <pc:sldLayoutChg chg="del">
          <pc:chgData name="Saranya Sriram" userId="31246c95-b325-49bd-b9d7-da3f09848d21" providerId="ADAL" clId="{BD20BE7E-72EA-4327-8326-1145F18CD28D}" dt="2022-10-20T10:17:38.433" v="188" actId="2696"/>
          <pc:sldLayoutMkLst>
            <pc:docMk/>
            <pc:sldMasterMk cId="1164832412" sldId="2147484127"/>
            <pc:sldLayoutMk cId="3531290064" sldId="2147484164"/>
          </pc:sldLayoutMkLst>
        </pc:sldLayoutChg>
        <pc:sldLayoutChg chg="del">
          <pc:chgData name="Saranya Sriram" userId="31246c95-b325-49bd-b9d7-da3f09848d21" providerId="ADAL" clId="{BD20BE7E-72EA-4327-8326-1145F18CD28D}" dt="2022-10-20T10:17:38.440" v="189" actId="2696"/>
          <pc:sldLayoutMkLst>
            <pc:docMk/>
            <pc:sldMasterMk cId="1164832412" sldId="2147484127"/>
            <pc:sldLayoutMk cId="939817197" sldId="2147484165"/>
          </pc:sldLayoutMkLst>
        </pc:sldLayoutChg>
        <pc:sldLayoutChg chg="del">
          <pc:chgData name="Saranya Sriram" userId="31246c95-b325-49bd-b9d7-da3f09848d21" providerId="ADAL" clId="{BD20BE7E-72EA-4327-8326-1145F18CD28D}" dt="2022-10-20T10:17:38.447" v="190" actId="2696"/>
          <pc:sldLayoutMkLst>
            <pc:docMk/>
            <pc:sldMasterMk cId="1164832412" sldId="2147484127"/>
            <pc:sldLayoutMk cId="1476543488" sldId="2147484166"/>
          </pc:sldLayoutMkLst>
        </pc:sldLayoutChg>
        <pc:sldLayoutChg chg="del">
          <pc:chgData name="Saranya Sriram" userId="31246c95-b325-49bd-b9d7-da3f09848d21" providerId="ADAL" clId="{BD20BE7E-72EA-4327-8326-1145F18CD28D}" dt="2022-10-20T10:17:38.453" v="191" actId="2696"/>
          <pc:sldLayoutMkLst>
            <pc:docMk/>
            <pc:sldMasterMk cId="1164832412" sldId="2147484127"/>
            <pc:sldLayoutMk cId="2109224604" sldId="2147484167"/>
          </pc:sldLayoutMkLst>
        </pc:sldLayoutChg>
        <pc:sldLayoutChg chg="del">
          <pc:chgData name="Saranya Sriram" userId="31246c95-b325-49bd-b9d7-da3f09848d21" providerId="ADAL" clId="{BD20BE7E-72EA-4327-8326-1145F18CD28D}" dt="2022-10-20T10:17:38.457" v="192" actId="2696"/>
          <pc:sldLayoutMkLst>
            <pc:docMk/>
            <pc:sldMasterMk cId="1164832412" sldId="2147484127"/>
            <pc:sldLayoutMk cId="1789481530" sldId="2147484168"/>
          </pc:sldLayoutMkLst>
        </pc:sldLayoutChg>
        <pc:sldLayoutChg chg="del">
          <pc:chgData name="Saranya Sriram" userId="31246c95-b325-49bd-b9d7-da3f09848d21" providerId="ADAL" clId="{BD20BE7E-72EA-4327-8326-1145F18CD28D}" dt="2022-10-20T10:17:38.460" v="193" actId="2696"/>
          <pc:sldLayoutMkLst>
            <pc:docMk/>
            <pc:sldMasterMk cId="1164832412" sldId="2147484127"/>
            <pc:sldLayoutMk cId="4146304232" sldId="2147484169"/>
          </pc:sldLayoutMkLst>
        </pc:sldLayoutChg>
        <pc:sldLayoutChg chg="del">
          <pc:chgData name="Saranya Sriram" userId="31246c95-b325-49bd-b9d7-da3f09848d21" providerId="ADAL" clId="{BD20BE7E-72EA-4327-8326-1145F18CD28D}" dt="2022-10-20T10:17:38.463" v="194" actId="2696"/>
          <pc:sldLayoutMkLst>
            <pc:docMk/>
            <pc:sldMasterMk cId="1164832412" sldId="2147484127"/>
            <pc:sldLayoutMk cId="2114143235" sldId="2147484170"/>
          </pc:sldLayoutMkLst>
        </pc:sldLayoutChg>
        <pc:sldLayoutChg chg="del">
          <pc:chgData name="Saranya Sriram" userId="31246c95-b325-49bd-b9d7-da3f09848d21" providerId="ADAL" clId="{BD20BE7E-72EA-4327-8326-1145F18CD28D}" dt="2022-10-20T10:17:38.466" v="195" actId="2696"/>
          <pc:sldLayoutMkLst>
            <pc:docMk/>
            <pc:sldMasterMk cId="1164832412" sldId="2147484127"/>
            <pc:sldLayoutMk cId="4280638635" sldId="2147484171"/>
          </pc:sldLayoutMkLst>
        </pc:sldLayoutChg>
        <pc:sldLayoutChg chg="del">
          <pc:chgData name="Saranya Sriram" userId="31246c95-b325-49bd-b9d7-da3f09848d21" providerId="ADAL" clId="{BD20BE7E-72EA-4327-8326-1145F18CD28D}" dt="2022-10-20T10:17:38.468" v="196" actId="2696"/>
          <pc:sldLayoutMkLst>
            <pc:docMk/>
            <pc:sldMasterMk cId="1164832412" sldId="2147484127"/>
            <pc:sldLayoutMk cId="3588975868" sldId="2147484172"/>
          </pc:sldLayoutMkLst>
        </pc:sldLayoutChg>
        <pc:sldLayoutChg chg="del">
          <pc:chgData name="Saranya Sriram" userId="31246c95-b325-49bd-b9d7-da3f09848d21" providerId="ADAL" clId="{BD20BE7E-72EA-4327-8326-1145F18CD28D}" dt="2022-10-20T10:17:38.471" v="197" actId="2696"/>
          <pc:sldLayoutMkLst>
            <pc:docMk/>
            <pc:sldMasterMk cId="1164832412" sldId="2147484127"/>
            <pc:sldLayoutMk cId="1273662438" sldId="2147484173"/>
          </pc:sldLayoutMkLst>
        </pc:sldLayoutChg>
        <pc:sldLayoutChg chg="del">
          <pc:chgData name="Saranya Sriram" userId="31246c95-b325-49bd-b9d7-da3f09848d21" providerId="ADAL" clId="{BD20BE7E-72EA-4327-8326-1145F18CD28D}" dt="2022-10-20T10:17:38.474" v="198" actId="2696"/>
          <pc:sldLayoutMkLst>
            <pc:docMk/>
            <pc:sldMasterMk cId="1164832412" sldId="2147484127"/>
            <pc:sldLayoutMk cId="343030023" sldId="2147484174"/>
          </pc:sldLayoutMkLst>
        </pc:sldLayoutChg>
        <pc:sldLayoutChg chg="del">
          <pc:chgData name="Saranya Sriram" userId="31246c95-b325-49bd-b9d7-da3f09848d21" providerId="ADAL" clId="{BD20BE7E-72EA-4327-8326-1145F18CD28D}" dt="2022-10-20T10:17:38.477" v="199" actId="2696"/>
          <pc:sldLayoutMkLst>
            <pc:docMk/>
            <pc:sldMasterMk cId="1164832412" sldId="2147484127"/>
            <pc:sldLayoutMk cId="2738873596" sldId="2147484175"/>
          </pc:sldLayoutMkLst>
        </pc:sldLayoutChg>
        <pc:sldLayoutChg chg="del">
          <pc:chgData name="Saranya Sriram" userId="31246c95-b325-49bd-b9d7-da3f09848d21" providerId="ADAL" clId="{BD20BE7E-72EA-4327-8326-1145F18CD28D}" dt="2022-10-20T10:17:38.480" v="200" actId="2696"/>
          <pc:sldLayoutMkLst>
            <pc:docMk/>
            <pc:sldMasterMk cId="1164832412" sldId="2147484127"/>
            <pc:sldLayoutMk cId="515537420" sldId="2147484176"/>
          </pc:sldLayoutMkLst>
        </pc:sldLayoutChg>
        <pc:sldLayoutChg chg="del">
          <pc:chgData name="Saranya Sriram" userId="31246c95-b325-49bd-b9d7-da3f09848d21" providerId="ADAL" clId="{BD20BE7E-72EA-4327-8326-1145F18CD28D}" dt="2022-10-20T10:17:38.482" v="201" actId="2696"/>
          <pc:sldLayoutMkLst>
            <pc:docMk/>
            <pc:sldMasterMk cId="1164832412" sldId="2147484127"/>
            <pc:sldLayoutMk cId="359844603" sldId="2147484177"/>
          </pc:sldLayoutMkLst>
        </pc:sldLayoutChg>
        <pc:sldLayoutChg chg="del">
          <pc:chgData name="Saranya Sriram" userId="31246c95-b325-49bd-b9d7-da3f09848d21" providerId="ADAL" clId="{BD20BE7E-72EA-4327-8326-1145F18CD28D}" dt="2022-10-20T10:17:38.486" v="202" actId="2696"/>
          <pc:sldLayoutMkLst>
            <pc:docMk/>
            <pc:sldMasterMk cId="1164832412" sldId="2147484127"/>
            <pc:sldLayoutMk cId="273697449" sldId="2147484178"/>
          </pc:sldLayoutMkLst>
        </pc:sldLayoutChg>
        <pc:sldLayoutChg chg="del">
          <pc:chgData name="Saranya Sriram" userId="31246c95-b325-49bd-b9d7-da3f09848d21" providerId="ADAL" clId="{BD20BE7E-72EA-4327-8326-1145F18CD28D}" dt="2022-10-20T10:17:38.489" v="203" actId="2696"/>
          <pc:sldLayoutMkLst>
            <pc:docMk/>
            <pc:sldMasterMk cId="1164832412" sldId="2147484127"/>
            <pc:sldLayoutMk cId="32949933" sldId="2147484179"/>
          </pc:sldLayoutMkLst>
        </pc:sldLayoutChg>
        <pc:sldLayoutChg chg="del">
          <pc:chgData name="Saranya Sriram" userId="31246c95-b325-49bd-b9d7-da3f09848d21" providerId="ADAL" clId="{BD20BE7E-72EA-4327-8326-1145F18CD28D}" dt="2022-10-20T10:17:38.491" v="204" actId="2696"/>
          <pc:sldLayoutMkLst>
            <pc:docMk/>
            <pc:sldMasterMk cId="1164832412" sldId="2147484127"/>
            <pc:sldLayoutMk cId="645954464" sldId="2147484180"/>
          </pc:sldLayoutMkLst>
        </pc:sldLayoutChg>
        <pc:sldLayoutChg chg="del">
          <pc:chgData name="Saranya Sriram" userId="31246c95-b325-49bd-b9d7-da3f09848d21" providerId="ADAL" clId="{BD20BE7E-72EA-4327-8326-1145F18CD28D}" dt="2022-10-20T10:17:38.491" v="205" actId="2696"/>
          <pc:sldLayoutMkLst>
            <pc:docMk/>
            <pc:sldMasterMk cId="1164832412" sldId="2147484127"/>
            <pc:sldLayoutMk cId="2407444229" sldId="2147484181"/>
          </pc:sldLayoutMkLst>
        </pc:sldLayoutChg>
        <pc:sldLayoutChg chg="del">
          <pc:chgData name="Saranya Sriram" userId="31246c95-b325-49bd-b9d7-da3f09848d21" providerId="ADAL" clId="{BD20BE7E-72EA-4327-8326-1145F18CD28D}" dt="2022-10-20T10:17:38.491" v="206" actId="2696"/>
          <pc:sldLayoutMkLst>
            <pc:docMk/>
            <pc:sldMasterMk cId="1164832412" sldId="2147484127"/>
            <pc:sldLayoutMk cId="3941123236" sldId="2147484182"/>
          </pc:sldLayoutMkLst>
        </pc:sldLayoutChg>
        <pc:sldLayoutChg chg="del">
          <pc:chgData name="Saranya Sriram" userId="31246c95-b325-49bd-b9d7-da3f09848d21" providerId="ADAL" clId="{BD20BE7E-72EA-4327-8326-1145F18CD28D}" dt="2022-10-20T10:17:38.501" v="207" actId="2696"/>
          <pc:sldLayoutMkLst>
            <pc:docMk/>
            <pc:sldMasterMk cId="1164832412" sldId="2147484127"/>
            <pc:sldLayoutMk cId="3297594481" sldId="2147484183"/>
          </pc:sldLayoutMkLst>
        </pc:sldLayoutChg>
        <pc:sldLayoutChg chg="del">
          <pc:chgData name="Saranya Sriram" userId="31246c95-b325-49bd-b9d7-da3f09848d21" providerId="ADAL" clId="{BD20BE7E-72EA-4327-8326-1145F18CD28D}" dt="2022-10-20T10:17:38.505" v="208" actId="2696"/>
          <pc:sldLayoutMkLst>
            <pc:docMk/>
            <pc:sldMasterMk cId="1164832412" sldId="2147484127"/>
            <pc:sldLayoutMk cId="2166309924" sldId="2147484184"/>
          </pc:sldLayoutMkLst>
        </pc:sldLayoutChg>
        <pc:sldLayoutChg chg="del">
          <pc:chgData name="Saranya Sriram" userId="31246c95-b325-49bd-b9d7-da3f09848d21" providerId="ADAL" clId="{BD20BE7E-72EA-4327-8326-1145F18CD28D}" dt="2022-10-20T10:17:38.509" v="209" actId="2696"/>
          <pc:sldLayoutMkLst>
            <pc:docMk/>
            <pc:sldMasterMk cId="1164832412" sldId="2147484127"/>
            <pc:sldLayoutMk cId="1394620724" sldId="2147484185"/>
          </pc:sldLayoutMkLst>
        </pc:sldLayoutChg>
        <pc:sldLayoutChg chg="del">
          <pc:chgData name="Saranya Sriram" userId="31246c95-b325-49bd-b9d7-da3f09848d21" providerId="ADAL" clId="{BD20BE7E-72EA-4327-8326-1145F18CD28D}" dt="2022-10-20T10:17:38.511" v="210" actId="2696"/>
          <pc:sldLayoutMkLst>
            <pc:docMk/>
            <pc:sldMasterMk cId="1164832412" sldId="2147484127"/>
            <pc:sldLayoutMk cId="2800215202" sldId="2147484186"/>
          </pc:sldLayoutMkLst>
        </pc:sldLayoutChg>
        <pc:sldLayoutChg chg="del">
          <pc:chgData name="Saranya Sriram" userId="31246c95-b325-49bd-b9d7-da3f09848d21" providerId="ADAL" clId="{BD20BE7E-72EA-4327-8326-1145F18CD28D}" dt="2022-10-20T10:17:38.517" v="211" actId="2696"/>
          <pc:sldLayoutMkLst>
            <pc:docMk/>
            <pc:sldMasterMk cId="1164832412" sldId="2147484127"/>
            <pc:sldLayoutMk cId="2104420813" sldId="2147484187"/>
          </pc:sldLayoutMkLst>
        </pc:sldLayoutChg>
        <pc:sldLayoutChg chg="del">
          <pc:chgData name="Saranya Sriram" userId="31246c95-b325-49bd-b9d7-da3f09848d21" providerId="ADAL" clId="{BD20BE7E-72EA-4327-8326-1145F18CD28D}" dt="2022-10-20T10:17:38.521" v="212" actId="2696"/>
          <pc:sldLayoutMkLst>
            <pc:docMk/>
            <pc:sldMasterMk cId="1164832412" sldId="2147484127"/>
            <pc:sldLayoutMk cId="2866111956" sldId="2147484188"/>
          </pc:sldLayoutMkLst>
        </pc:sldLayoutChg>
        <pc:sldLayoutChg chg="del">
          <pc:chgData name="Saranya Sriram" userId="31246c95-b325-49bd-b9d7-da3f09848d21" providerId="ADAL" clId="{BD20BE7E-72EA-4327-8326-1145F18CD28D}" dt="2022-10-20T10:17:38.525" v="213" actId="2696"/>
          <pc:sldLayoutMkLst>
            <pc:docMk/>
            <pc:sldMasterMk cId="1164832412" sldId="2147484127"/>
            <pc:sldLayoutMk cId="3700040368" sldId="2147484189"/>
          </pc:sldLayoutMkLst>
        </pc:sldLayoutChg>
        <pc:sldLayoutChg chg="del">
          <pc:chgData name="Saranya Sriram" userId="31246c95-b325-49bd-b9d7-da3f09848d21" providerId="ADAL" clId="{BD20BE7E-72EA-4327-8326-1145F18CD28D}" dt="2022-10-20T10:17:38.528" v="214" actId="2696"/>
          <pc:sldLayoutMkLst>
            <pc:docMk/>
            <pc:sldMasterMk cId="1164832412" sldId="2147484127"/>
            <pc:sldLayoutMk cId="3990762412" sldId="2147484190"/>
          </pc:sldLayoutMkLst>
        </pc:sldLayoutChg>
        <pc:sldLayoutChg chg="del">
          <pc:chgData name="Saranya Sriram" userId="31246c95-b325-49bd-b9d7-da3f09848d21" providerId="ADAL" clId="{BD20BE7E-72EA-4327-8326-1145F18CD28D}" dt="2022-10-20T10:17:38.533" v="215" actId="2696"/>
          <pc:sldLayoutMkLst>
            <pc:docMk/>
            <pc:sldMasterMk cId="1164832412" sldId="2147484127"/>
            <pc:sldLayoutMk cId="2537131470" sldId="2147484191"/>
          </pc:sldLayoutMkLst>
        </pc:sldLayoutChg>
        <pc:sldLayoutChg chg="del">
          <pc:chgData name="Saranya Sriram" userId="31246c95-b325-49bd-b9d7-da3f09848d21" providerId="ADAL" clId="{BD20BE7E-72EA-4327-8326-1145F18CD28D}" dt="2022-10-20T10:17:38.535" v="216" actId="2696"/>
          <pc:sldLayoutMkLst>
            <pc:docMk/>
            <pc:sldMasterMk cId="1164832412" sldId="2147484127"/>
            <pc:sldLayoutMk cId="1642367111" sldId="2147484192"/>
          </pc:sldLayoutMkLst>
        </pc:sldLayoutChg>
        <pc:sldLayoutChg chg="del">
          <pc:chgData name="Saranya Sriram" userId="31246c95-b325-49bd-b9d7-da3f09848d21" providerId="ADAL" clId="{BD20BE7E-72EA-4327-8326-1145F18CD28D}" dt="2022-10-20T10:17:38.538" v="217" actId="2696"/>
          <pc:sldLayoutMkLst>
            <pc:docMk/>
            <pc:sldMasterMk cId="1164832412" sldId="2147484127"/>
            <pc:sldLayoutMk cId="391834936" sldId="2147484193"/>
          </pc:sldLayoutMkLst>
        </pc:sldLayoutChg>
        <pc:sldLayoutChg chg="del">
          <pc:chgData name="Saranya Sriram" userId="31246c95-b325-49bd-b9d7-da3f09848d21" providerId="ADAL" clId="{BD20BE7E-72EA-4327-8326-1145F18CD28D}" dt="2022-10-20T10:17:38.540" v="218" actId="2696"/>
          <pc:sldLayoutMkLst>
            <pc:docMk/>
            <pc:sldMasterMk cId="1164832412" sldId="2147484127"/>
            <pc:sldLayoutMk cId="2771710563" sldId="2147484194"/>
          </pc:sldLayoutMkLst>
        </pc:sldLayoutChg>
        <pc:sldLayoutChg chg="del">
          <pc:chgData name="Saranya Sriram" userId="31246c95-b325-49bd-b9d7-da3f09848d21" providerId="ADAL" clId="{BD20BE7E-72EA-4327-8326-1145F18CD28D}" dt="2022-10-20T10:17:38.542" v="219" actId="2696"/>
          <pc:sldLayoutMkLst>
            <pc:docMk/>
            <pc:sldMasterMk cId="1164832412" sldId="2147484127"/>
            <pc:sldLayoutMk cId="2304224096" sldId="2147484195"/>
          </pc:sldLayoutMkLst>
        </pc:sldLayoutChg>
        <pc:sldLayoutChg chg="del">
          <pc:chgData name="Saranya Sriram" userId="31246c95-b325-49bd-b9d7-da3f09848d21" providerId="ADAL" clId="{BD20BE7E-72EA-4327-8326-1145F18CD28D}" dt="2022-10-20T10:17:38.544" v="220" actId="2696"/>
          <pc:sldLayoutMkLst>
            <pc:docMk/>
            <pc:sldMasterMk cId="1164832412" sldId="2147484127"/>
            <pc:sldLayoutMk cId="988071835" sldId="2147484196"/>
          </pc:sldLayoutMkLst>
        </pc:sldLayoutChg>
        <pc:sldLayoutChg chg="del">
          <pc:chgData name="Saranya Sriram" userId="31246c95-b325-49bd-b9d7-da3f09848d21" providerId="ADAL" clId="{BD20BE7E-72EA-4327-8326-1145F18CD28D}" dt="2022-10-20T10:17:38.547" v="221" actId="2696"/>
          <pc:sldLayoutMkLst>
            <pc:docMk/>
            <pc:sldMasterMk cId="1164832412" sldId="2147484127"/>
            <pc:sldLayoutMk cId="411557040" sldId="2147484197"/>
          </pc:sldLayoutMkLst>
        </pc:sldLayoutChg>
        <pc:sldLayoutChg chg="del">
          <pc:chgData name="Saranya Sriram" userId="31246c95-b325-49bd-b9d7-da3f09848d21" providerId="ADAL" clId="{BD20BE7E-72EA-4327-8326-1145F18CD28D}" dt="2022-10-20T10:17:38.549" v="222" actId="2696"/>
          <pc:sldLayoutMkLst>
            <pc:docMk/>
            <pc:sldMasterMk cId="1164832412" sldId="2147484127"/>
            <pc:sldLayoutMk cId="4017226254" sldId="2147484198"/>
          </pc:sldLayoutMkLst>
        </pc:sldLayoutChg>
        <pc:sldLayoutChg chg="del">
          <pc:chgData name="Saranya Sriram" userId="31246c95-b325-49bd-b9d7-da3f09848d21" providerId="ADAL" clId="{BD20BE7E-72EA-4327-8326-1145F18CD28D}" dt="2022-10-20T10:17:38.552" v="223" actId="2696"/>
          <pc:sldLayoutMkLst>
            <pc:docMk/>
            <pc:sldMasterMk cId="1164832412" sldId="2147484127"/>
            <pc:sldLayoutMk cId="3682449862" sldId="2147484199"/>
          </pc:sldLayoutMkLst>
        </pc:sldLayoutChg>
        <pc:sldLayoutChg chg="del">
          <pc:chgData name="Saranya Sriram" userId="31246c95-b325-49bd-b9d7-da3f09848d21" providerId="ADAL" clId="{BD20BE7E-72EA-4327-8326-1145F18CD28D}" dt="2022-10-20T10:17:38.555" v="224" actId="2696"/>
          <pc:sldLayoutMkLst>
            <pc:docMk/>
            <pc:sldMasterMk cId="1164832412" sldId="2147484127"/>
            <pc:sldLayoutMk cId="1257816433" sldId="2147484200"/>
          </pc:sldLayoutMkLst>
        </pc:sldLayoutChg>
        <pc:sldLayoutChg chg="del">
          <pc:chgData name="Saranya Sriram" userId="31246c95-b325-49bd-b9d7-da3f09848d21" providerId="ADAL" clId="{BD20BE7E-72EA-4327-8326-1145F18CD28D}" dt="2022-10-20T10:17:38.559" v="225" actId="2696"/>
          <pc:sldLayoutMkLst>
            <pc:docMk/>
            <pc:sldMasterMk cId="1164832412" sldId="2147484127"/>
            <pc:sldLayoutMk cId="4115418146" sldId="2147484201"/>
          </pc:sldLayoutMkLst>
        </pc:sldLayoutChg>
        <pc:sldLayoutChg chg="del">
          <pc:chgData name="Saranya Sriram" userId="31246c95-b325-49bd-b9d7-da3f09848d21" providerId="ADAL" clId="{BD20BE7E-72EA-4327-8326-1145F18CD28D}" dt="2022-10-20T10:17:38.562" v="226" actId="2696"/>
          <pc:sldLayoutMkLst>
            <pc:docMk/>
            <pc:sldMasterMk cId="1164832412" sldId="2147484127"/>
            <pc:sldLayoutMk cId="1972905718" sldId="2147484202"/>
          </pc:sldLayoutMkLst>
        </pc:sldLayoutChg>
        <pc:sldLayoutChg chg="del">
          <pc:chgData name="Saranya Sriram" userId="31246c95-b325-49bd-b9d7-da3f09848d21" providerId="ADAL" clId="{BD20BE7E-72EA-4327-8326-1145F18CD28D}" dt="2022-10-20T10:17:38.566" v="227" actId="2696"/>
          <pc:sldLayoutMkLst>
            <pc:docMk/>
            <pc:sldMasterMk cId="1164832412" sldId="2147484127"/>
            <pc:sldLayoutMk cId="4260939571" sldId="2147484203"/>
          </pc:sldLayoutMkLst>
        </pc:sldLayoutChg>
        <pc:sldLayoutChg chg="del">
          <pc:chgData name="Saranya Sriram" userId="31246c95-b325-49bd-b9d7-da3f09848d21" providerId="ADAL" clId="{BD20BE7E-72EA-4327-8326-1145F18CD28D}" dt="2022-10-20T10:17:38.569" v="228" actId="2696"/>
          <pc:sldLayoutMkLst>
            <pc:docMk/>
            <pc:sldMasterMk cId="1164832412" sldId="2147484127"/>
            <pc:sldLayoutMk cId="1891879206" sldId="2147484204"/>
          </pc:sldLayoutMkLst>
        </pc:sldLayoutChg>
        <pc:sldLayoutChg chg="del">
          <pc:chgData name="Saranya Sriram" userId="31246c95-b325-49bd-b9d7-da3f09848d21" providerId="ADAL" clId="{BD20BE7E-72EA-4327-8326-1145F18CD28D}" dt="2022-10-20T10:17:38.571" v="229" actId="2696"/>
          <pc:sldLayoutMkLst>
            <pc:docMk/>
            <pc:sldMasterMk cId="1164832412" sldId="2147484127"/>
            <pc:sldLayoutMk cId="2533043718" sldId="2147484205"/>
          </pc:sldLayoutMkLst>
        </pc:sldLayoutChg>
        <pc:sldLayoutChg chg="del">
          <pc:chgData name="Saranya Sriram" userId="31246c95-b325-49bd-b9d7-da3f09848d21" providerId="ADAL" clId="{BD20BE7E-72EA-4327-8326-1145F18CD28D}" dt="2022-10-20T10:17:38.574" v="230" actId="2696"/>
          <pc:sldLayoutMkLst>
            <pc:docMk/>
            <pc:sldMasterMk cId="1164832412" sldId="2147484127"/>
            <pc:sldLayoutMk cId="1970782211" sldId="2147484206"/>
          </pc:sldLayoutMkLst>
        </pc:sldLayoutChg>
        <pc:sldLayoutChg chg="del">
          <pc:chgData name="Saranya Sriram" userId="31246c95-b325-49bd-b9d7-da3f09848d21" providerId="ADAL" clId="{BD20BE7E-72EA-4327-8326-1145F18CD28D}" dt="2022-10-20T10:17:38.577" v="231" actId="2696"/>
          <pc:sldLayoutMkLst>
            <pc:docMk/>
            <pc:sldMasterMk cId="1164832412" sldId="2147484127"/>
            <pc:sldLayoutMk cId="1220387802" sldId="2147484207"/>
          </pc:sldLayoutMkLst>
        </pc:sldLayoutChg>
        <pc:sldLayoutChg chg="del">
          <pc:chgData name="Saranya Sriram" userId="31246c95-b325-49bd-b9d7-da3f09848d21" providerId="ADAL" clId="{BD20BE7E-72EA-4327-8326-1145F18CD28D}" dt="2022-10-20T10:17:38.583" v="232" actId="2696"/>
          <pc:sldLayoutMkLst>
            <pc:docMk/>
            <pc:sldMasterMk cId="1164832412" sldId="2147484127"/>
            <pc:sldLayoutMk cId="3448915296" sldId="2147484208"/>
          </pc:sldLayoutMkLst>
        </pc:sldLayoutChg>
        <pc:sldLayoutChg chg="del">
          <pc:chgData name="Saranya Sriram" userId="31246c95-b325-49bd-b9d7-da3f09848d21" providerId="ADAL" clId="{BD20BE7E-72EA-4327-8326-1145F18CD28D}" dt="2022-10-20T10:17:38.590" v="233" actId="2696"/>
          <pc:sldLayoutMkLst>
            <pc:docMk/>
            <pc:sldMasterMk cId="1164832412" sldId="2147484127"/>
            <pc:sldLayoutMk cId="3554420918" sldId="2147484209"/>
          </pc:sldLayoutMkLst>
        </pc:sldLayoutChg>
        <pc:sldLayoutChg chg="del">
          <pc:chgData name="Saranya Sriram" userId="31246c95-b325-49bd-b9d7-da3f09848d21" providerId="ADAL" clId="{BD20BE7E-72EA-4327-8326-1145F18CD28D}" dt="2022-10-20T10:17:38.590" v="234" actId="2696"/>
          <pc:sldLayoutMkLst>
            <pc:docMk/>
            <pc:sldMasterMk cId="1164832412" sldId="2147484127"/>
            <pc:sldLayoutMk cId="1531062747" sldId="2147484210"/>
          </pc:sldLayoutMkLst>
        </pc:sldLayoutChg>
        <pc:sldLayoutChg chg="del">
          <pc:chgData name="Saranya Sriram" userId="31246c95-b325-49bd-b9d7-da3f09848d21" providerId="ADAL" clId="{BD20BE7E-72EA-4327-8326-1145F18CD28D}" dt="2022-10-20T10:17:38.597" v="235" actId="2696"/>
          <pc:sldLayoutMkLst>
            <pc:docMk/>
            <pc:sldMasterMk cId="1164832412" sldId="2147484127"/>
            <pc:sldLayoutMk cId="2682347415" sldId="2147484211"/>
          </pc:sldLayoutMkLst>
        </pc:sldLayoutChg>
        <pc:sldLayoutChg chg="del">
          <pc:chgData name="Saranya Sriram" userId="31246c95-b325-49bd-b9d7-da3f09848d21" providerId="ADAL" clId="{BD20BE7E-72EA-4327-8326-1145F18CD28D}" dt="2022-10-20T10:17:38.600" v="236" actId="2696"/>
          <pc:sldLayoutMkLst>
            <pc:docMk/>
            <pc:sldMasterMk cId="1164832412" sldId="2147484127"/>
            <pc:sldLayoutMk cId="650061966" sldId="2147484212"/>
          </pc:sldLayoutMkLst>
        </pc:sldLayoutChg>
        <pc:sldLayoutChg chg="del">
          <pc:chgData name="Saranya Sriram" userId="31246c95-b325-49bd-b9d7-da3f09848d21" providerId="ADAL" clId="{BD20BE7E-72EA-4327-8326-1145F18CD28D}" dt="2022-10-20T10:17:38.600" v="237" actId="2696"/>
          <pc:sldLayoutMkLst>
            <pc:docMk/>
            <pc:sldMasterMk cId="1164832412" sldId="2147484127"/>
            <pc:sldLayoutMk cId="1189865953" sldId="2147484213"/>
          </pc:sldLayoutMkLst>
        </pc:sldLayoutChg>
        <pc:sldLayoutChg chg="del">
          <pc:chgData name="Saranya Sriram" userId="31246c95-b325-49bd-b9d7-da3f09848d21" providerId="ADAL" clId="{BD20BE7E-72EA-4327-8326-1145F18CD28D}" dt="2022-10-20T10:17:38.604" v="238" actId="2696"/>
          <pc:sldLayoutMkLst>
            <pc:docMk/>
            <pc:sldMasterMk cId="1164832412" sldId="2147484127"/>
            <pc:sldLayoutMk cId="3039777373" sldId="2147484214"/>
          </pc:sldLayoutMkLst>
        </pc:sldLayoutChg>
        <pc:sldLayoutChg chg="del">
          <pc:chgData name="Saranya Sriram" userId="31246c95-b325-49bd-b9d7-da3f09848d21" providerId="ADAL" clId="{BD20BE7E-72EA-4327-8326-1145F18CD28D}" dt="2022-10-20T10:17:38.607" v="239" actId="2696"/>
          <pc:sldLayoutMkLst>
            <pc:docMk/>
            <pc:sldMasterMk cId="1164832412" sldId="2147484127"/>
            <pc:sldLayoutMk cId="3813745439" sldId="2147484215"/>
          </pc:sldLayoutMkLst>
        </pc:sldLayoutChg>
        <pc:sldLayoutChg chg="del">
          <pc:chgData name="Saranya Sriram" userId="31246c95-b325-49bd-b9d7-da3f09848d21" providerId="ADAL" clId="{BD20BE7E-72EA-4327-8326-1145F18CD28D}" dt="2022-10-20T10:17:38.610" v="240" actId="2696"/>
          <pc:sldLayoutMkLst>
            <pc:docMk/>
            <pc:sldMasterMk cId="1164832412" sldId="2147484127"/>
            <pc:sldLayoutMk cId="894501609" sldId="2147484216"/>
          </pc:sldLayoutMkLst>
        </pc:sldLayoutChg>
        <pc:sldLayoutChg chg="del">
          <pc:chgData name="Saranya Sriram" userId="31246c95-b325-49bd-b9d7-da3f09848d21" providerId="ADAL" clId="{BD20BE7E-72EA-4327-8326-1145F18CD28D}" dt="2022-10-20T10:17:38.611" v="241" actId="2696"/>
          <pc:sldLayoutMkLst>
            <pc:docMk/>
            <pc:sldMasterMk cId="1164832412" sldId="2147484127"/>
            <pc:sldLayoutMk cId="776659292" sldId="2147484217"/>
          </pc:sldLayoutMkLst>
        </pc:sldLayoutChg>
        <pc:sldLayoutChg chg="del">
          <pc:chgData name="Saranya Sriram" userId="31246c95-b325-49bd-b9d7-da3f09848d21" providerId="ADAL" clId="{BD20BE7E-72EA-4327-8326-1145F18CD28D}" dt="2022-10-20T10:17:38.615" v="242" actId="2696"/>
          <pc:sldLayoutMkLst>
            <pc:docMk/>
            <pc:sldMasterMk cId="1164832412" sldId="2147484127"/>
            <pc:sldLayoutMk cId="1221847026" sldId="2147484218"/>
          </pc:sldLayoutMkLst>
        </pc:sldLayoutChg>
        <pc:sldLayoutChg chg="del">
          <pc:chgData name="Saranya Sriram" userId="31246c95-b325-49bd-b9d7-da3f09848d21" providerId="ADAL" clId="{BD20BE7E-72EA-4327-8326-1145F18CD28D}" dt="2022-10-20T10:17:38.616" v="243" actId="2696"/>
          <pc:sldLayoutMkLst>
            <pc:docMk/>
            <pc:sldMasterMk cId="1164832412" sldId="2147484127"/>
            <pc:sldLayoutMk cId="1357189503" sldId="2147484219"/>
          </pc:sldLayoutMkLst>
        </pc:sldLayoutChg>
        <pc:sldLayoutChg chg="del">
          <pc:chgData name="Saranya Sriram" userId="31246c95-b325-49bd-b9d7-da3f09848d21" providerId="ADAL" clId="{BD20BE7E-72EA-4327-8326-1145F18CD28D}" dt="2022-10-20T10:17:38.616" v="244" actId="2696"/>
          <pc:sldLayoutMkLst>
            <pc:docMk/>
            <pc:sldMasterMk cId="1164832412" sldId="2147484127"/>
            <pc:sldLayoutMk cId="3042140439" sldId="2147484220"/>
          </pc:sldLayoutMkLst>
        </pc:sldLayoutChg>
        <pc:sldLayoutChg chg="del">
          <pc:chgData name="Saranya Sriram" userId="31246c95-b325-49bd-b9d7-da3f09848d21" providerId="ADAL" clId="{BD20BE7E-72EA-4327-8326-1145F18CD28D}" dt="2022-10-20T10:17:38.622" v="245" actId="2696"/>
          <pc:sldLayoutMkLst>
            <pc:docMk/>
            <pc:sldMasterMk cId="1164832412" sldId="2147484127"/>
            <pc:sldLayoutMk cId="1007764799" sldId="2147484221"/>
          </pc:sldLayoutMkLst>
        </pc:sldLayoutChg>
        <pc:sldLayoutChg chg="del">
          <pc:chgData name="Saranya Sriram" userId="31246c95-b325-49bd-b9d7-da3f09848d21" providerId="ADAL" clId="{BD20BE7E-72EA-4327-8326-1145F18CD28D}" dt="2022-10-20T10:17:38.625" v="246" actId="2696"/>
          <pc:sldLayoutMkLst>
            <pc:docMk/>
            <pc:sldMasterMk cId="1164832412" sldId="2147484127"/>
            <pc:sldLayoutMk cId="1193447970" sldId="2147484222"/>
          </pc:sldLayoutMkLst>
        </pc:sldLayoutChg>
        <pc:sldLayoutChg chg="del">
          <pc:chgData name="Saranya Sriram" userId="31246c95-b325-49bd-b9d7-da3f09848d21" providerId="ADAL" clId="{BD20BE7E-72EA-4327-8326-1145F18CD28D}" dt="2022-10-20T10:17:38.627" v="247" actId="2696"/>
          <pc:sldLayoutMkLst>
            <pc:docMk/>
            <pc:sldMasterMk cId="1164832412" sldId="2147484127"/>
            <pc:sldLayoutMk cId="1142679972" sldId="2147484223"/>
          </pc:sldLayoutMkLst>
        </pc:sldLayoutChg>
        <pc:sldLayoutChg chg="del">
          <pc:chgData name="Saranya Sriram" userId="31246c95-b325-49bd-b9d7-da3f09848d21" providerId="ADAL" clId="{BD20BE7E-72EA-4327-8326-1145F18CD28D}" dt="2022-10-20T10:17:38.631" v="248" actId="2696"/>
          <pc:sldLayoutMkLst>
            <pc:docMk/>
            <pc:sldMasterMk cId="1164832412" sldId="2147484127"/>
            <pc:sldLayoutMk cId="2157006148" sldId="2147484224"/>
          </pc:sldLayoutMkLst>
        </pc:sldLayoutChg>
        <pc:sldLayoutChg chg="del">
          <pc:chgData name="Saranya Sriram" userId="31246c95-b325-49bd-b9d7-da3f09848d21" providerId="ADAL" clId="{BD20BE7E-72EA-4327-8326-1145F18CD28D}" dt="2022-10-20T10:17:38.632" v="249" actId="2696"/>
          <pc:sldLayoutMkLst>
            <pc:docMk/>
            <pc:sldMasterMk cId="1164832412" sldId="2147484127"/>
            <pc:sldLayoutMk cId="46886080" sldId="2147484225"/>
          </pc:sldLayoutMkLst>
        </pc:sldLayoutChg>
        <pc:sldLayoutChg chg="del">
          <pc:chgData name="Saranya Sriram" userId="31246c95-b325-49bd-b9d7-da3f09848d21" providerId="ADAL" clId="{BD20BE7E-72EA-4327-8326-1145F18CD28D}" dt="2022-10-20T10:17:38.632" v="250" actId="2696"/>
          <pc:sldLayoutMkLst>
            <pc:docMk/>
            <pc:sldMasterMk cId="1164832412" sldId="2147484127"/>
            <pc:sldLayoutMk cId="2451139196" sldId="2147484226"/>
          </pc:sldLayoutMkLst>
        </pc:sldLayoutChg>
        <pc:sldLayoutChg chg="del">
          <pc:chgData name="Saranya Sriram" userId="31246c95-b325-49bd-b9d7-da3f09848d21" providerId="ADAL" clId="{BD20BE7E-72EA-4327-8326-1145F18CD28D}" dt="2022-10-20T10:17:38.637" v="251" actId="2696"/>
          <pc:sldLayoutMkLst>
            <pc:docMk/>
            <pc:sldMasterMk cId="1164832412" sldId="2147484127"/>
            <pc:sldLayoutMk cId="2747594735" sldId="2147484227"/>
          </pc:sldLayoutMkLst>
        </pc:sldLayoutChg>
        <pc:sldLayoutChg chg="del">
          <pc:chgData name="Saranya Sriram" userId="31246c95-b325-49bd-b9d7-da3f09848d21" providerId="ADAL" clId="{BD20BE7E-72EA-4327-8326-1145F18CD28D}" dt="2022-10-20T10:17:38.639" v="252" actId="2696"/>
          <pc:sldLayoutMkLst>
            <pc:docMk/>
            <pc:sldMasterMk cId="1164832412" sldId="2147484127"/>
            <pc:sldLayoutMk cId="2328094959" sldId="2147484228"/>
          </pc:sldLayoutMkLst>
        </pc:sldLayoutChg>
        <pc:sldLayoutChg chg="del">
          <pc:chgData name="Saranya Sriram" userId="31246c95-b325-49bd-b9d7-da3f09848d21" providerId="ADAL" clId="{BD20BE7E-72EA-4327-8326-1145F18CD28D}" dt="2022-10-20T10:17:38.640" v="253" actId="2696"/>
          <pc:sldLayoutMkLst>
            <pc:docMk/>
            <pc:sldMasterMk cId="1164832412" sldId="2147484127"/>
            <pc:sldLayoutMk cId="2018908974" sldId="2147484229"/>
          </pc:sldLayoutMkLst>
        </pc:sldLayoutChg>
        <pc:sldLayoutChg chg="del">
          <pc:chgData name="Saranya Sriram" userId="31246c95-b325-49bd-b9d7-da3f09848d21" providerId="ADAL" clId="{BD20BE7E-72EA-4327-8326-1145F18CD28D}" dt="2022-10-20T10:17:38.640" v="254" actId="2696"/>
          <pc:sldLayoutMkLst>
            <pc:docMk/>
            <pc:sldMasterMk cId="1164832412" sldId="2147484127"/>
            <pc:sldLayoutMk cId="2206632091" sldId="2147484230"/>
          </pc:sldLayoutMkLst>
        </pc:sldLayoutChg>
        <pc:sldLayoutChg chg="del">
          <pc:chgData name="Saranya Sriram" userId="31246c95-b325-49bd-b9d7-da3f09848d21" providerId="ADAL" clId="{BD20BE7E-72EA-4327-8326-1145F18CD28D}" dt="2022-10-20T10:17:38.640" v="255" actId="2696"/>
          <pc:sldLayoutMkLst>
            <pc:docMk/>
            <pc:sldMasterMk cId="1164832412" sldId="2147484127"/>
            <pc:sldLayoutMk cId="1233833736" sldId="2147484231"/>
          </pc:sldLayoutMkLst>
        </pc:sldLayoutChg>
        <pc:sldLayoutChg chg="del">
          <pc:chgData name="Saranya Sriram" userId="31246c95-b325-49bd-b9d7-da3f09848d21" providerId="ADAL" clId="{BD20BE7E-72EA-4327-8326-1145F18CD28D}" dt="2022-10-20T10:17:38.648" v="256" actId="2696"/>
          <pc:sldLayoutMkLst>
            <pc:docMk/>
            <pc:sldMasterMk cId="1164832412" sldId="2147484127"/>
            <pc:sldLayoutMk cId="644284320" sldId="2147484232"/>
          </pc:sldLayoutMkLst>
        </pc:sldLayoutChg>
        <pc:sldLayoutChg chg="del">
          <pc:chgData name="Saranya Sriram" userId="31246c95-b325-49bd-b9d7-da3f09848d21" providerId="ADAL" clId="{BD20BE7E-72EA-4327-8326-1145F18CD28D}" dt="2022-10-20T10:17:38.650" v="257" actId="2696"/>
          <pc:sldLayoutMkLst>
            <pc:docMk/>
            <pc:sldMasterMk cId="1164832412" sldId="2147484127"/>
            <pc:sldLayoutMk cId="3875192442" sldId="2147484233"/>
          </pc:sldLayoutMkLst>
        </pc:sldLayoutChg>
        <pc:sldLayoutChg chg="del">
          <pc:chgData name="Saranya Sriram" userId="31246c95-b325-49bd-b9d7-da3f09848d21" providerId="ADAL" clId="{BD20BE7E-72EA-4327-8326-1145F18CD28D}" dt="2022-10-20T10:17:38.653" v="258" actId="2696"/>
          <pc:sldLayoutMkLst>
            <pc:docMk/>
            <pc:sldMasterMk cId="1164832412" sldId="2147484127"/>
            <pc:sldLayoutMk cId="3282741634" sldId="2147484234"/>
          </pc:sldLayoutMkLst>
        </pc:sldLayoutChg>
        <pc:sldLayoutChg chg="del">
          <pc:chgData name="Saranya Sriram" userId="31246c95-b325-49bd-b9d7-da3f09848d21" providerId="ADAL" clId="{BD20BE7E-72EA-4327-8326-1145F18CD28D}" dt="2022-10-20T10:17:38.655" v="259" actId="2696"/>
          <pc:sldLayoutMkLst>
            <pc:docMk/>
            <pc:sldMasterMk cId="1164832412" sldId="2147484127"/>
            <pc:sldLayoutMk cId="980383052" sldId="2147484235"/>
          </pc:sldLayoutMkLst>
        </pc:sldLayoutChg>
        <pc:sldLayoutChg chg="del">
          <pc:chgData name="Saranya Sriram" userId="31246c95-b325-49bd-b9d7-da3f09848d21" providerId="ADAL" clId="{BD20BE7E-72EA-4327-8326-1145F18CD28D}" dt="2022-10-20T10:17:38.657" v="260" actId="2696"/>
          <pc:sldLayoutMkLst>
            <pc:docMk/>
            <pc:sldMasterMk cId="1164832412" sldId="2147484127"/>
            <pc:sldLayoutMk cId="1900520436" sldId="2147484236"/>
          </pc:sldLayoutMkLst>
        </pc:sldLayoutChg>
        <pc:sldLayoutChg chg="del">
          <pc:chgData name="Saranya Sriram" userId="31246c95-b325-49bd-b9d7-da3f09848d21" providerId="ADAL" clId="{BD20BE7E-72EA-4327-8326-1145F18CD28D}" dt="2022-10-20T10:17:38.659" v="261" actId="2696"/>
          <pc:sldLayoutMkLst>
            <pc:docMk/>
            <pc:sldMasterMk cId="1164832412" sldId="2147484127"/>
            <pc:sldLayoutMk cId="3960865019" sldId="2147484237"/>
          </pc:sldLayoutMkLst>
        </pc:sldLayoutChg>
        <pc:sldLayoutChg chg="del">
          <pc:chgData name="Saranya Sriram" userId="31246c95-b325-49bd-b9d7-da3f09848d21" providerId="ADAL" clId="{BD20BE7E-72EA-4327-8326-1145F18CD28D}" dt="2022-10-20T10:17:38.660" v="262" actId="2696"/>
          <pc:sldLayoutMkLst>
            <pc:docMk/>
            <pc:sldMasterMk cId="1164832412" sldId="2147484127"/>
            <pc:sldLayoutMk cId="2112070771" sldId="2147484238"/>
          </pc:sldLayoutMkLst>
        </pc:sldLayoutChg>
        <pc:sldLayoutChg chg="del">
          <pc:chgData name="Saranya Sriram" userId="31246c95-b325-49bd-b9d7-da3f09848d21" providerId="ADAL" clId="{BD20BE7E-72EA-4327-8326-1145F18CD28D}" dt="2022-10-20T10:17:38.663" v="263" actId="2696"/>
          <pc:sldLayoutMkLst>
            <pc:docMk/>
            <pc:sldMasterMk cId="1164832412" sldId="2147484127"/>
            <pc:sldLayoutMk cId="2073345873" sldId="2147484239"/>
          </pc:sldLayoutMkLst>
        </pc:sldLayoutChg>
        <pc:sldLayoutChg chg="del">
          <pc:chgData name="Saranya Sriram" userId="31246c95-b325-49bd-b9d7-da3f09848d21" providerId="ADAL" clId="{BD20BE7E-72EA-4327-8326-1145F18CD28D}" dt="2022-10-20T10:17:38.663" v="264" actId="2696"/>
          <pc:sldLayoutMkLst>
            <pc:docMk/>
            <pc:sldMasterMk cId="1164832412" sldId="2147484127"/>
            <pc:sldLayoutMk cId="2366085322" sldId="2147484240"/>
          </pc:sldLayoutMkLst>
        </pc:sldLayoutChg>
      </pc:sldMasterChg>
      <pc:sldMasterChg chg="del delSldLayout">
        <pc:chgData name="Saranya Sriram" userId="31246c95-b325-49bd-b9d7-da3f09848d21" providerId="ADAL" clId="{BD20BE7E-72EA-4327-8326-1145F18CD28D}" dt="2022-10-20T10:17:39.354" v="499" actId="2696"/>
        <pc:sldMasterMkLst>
          <pc:docMk/>
          <pc:sldMasterMk cId="3327896601" sldId="2147484241"/>
        </pc:sldMasterMkLst>
        <pc:sldLayoutChg chg="del">
          <pc:chgData name="Saranya Sriram" userId="31246c95-b325-49bd-b9d7-da3f09848d21" providerId="ADAL" clId="{BD20BE7E-72EA-4327-8326-1145F18CD28D}" dt="2022-10-20T10:17:39.266" v="475" actId="2696"/>
          <pc:sldLayoutMkLst>
            <pc:docMk/>
            <pc:sldMasterMk cId="3327896601" sldId="2147484241"/>
            <pc:sldLayoutMk cId="2092163907" sldId="2147484242"/>
          </pc:sldLayoutMkLst>
        </pc:sldLayoutChg>
        <pc:sldLayoutChg chg="del">
          <pc:chgData name="Saranya Sriram" userId="31246c95-b325-49bd-b9d7-da3f09848d21" providerId="ADAL" clId="{BD20BE7E-72EA-4327-8326-1145F18CD28D}" dt="2022-10-20T10:17:39.266" v="476" actId="2696"/>
          <pc:sldLayoutMkLst>
            <pc:docMk/>
            <pc:sldMasterMk cId="3327896601" sldId="2147484241"/>
            <pc:sldLayoutMk cId="2137163826" sldId="2147484243"/>
          </pc:sldLayoutMkLst>
        </pc:sldLayoutChg>
        <pc:sldLayoutChg chg="del">
          <pc:chgData name="Saranya Sriram" userId="31246c95-b325-49bd-b9d7-da3f09848d21" providerId="ADAL" clId="{BD20BE7E-72EA-4327-8326-1145F18CD28D}" dt="2022-10-20T10:17:39.277" v="477" actId="2696"/>
          <pc:sldLayoutMkLst>
            <pc:docMk/>
            <pc:sldMasterMk cId="3327896601" sldId="2147484241"/>
            <pc:sldLayoutMk cId="3596504389" sldId="2147484244"/>
          </pc:sldLayoutMkLst>
        </pc:sldLayoutChg>
        <pc:sldLayoutChg chg="del">
          <pc:chgData name="Saranya Sriram" userId="31246c95-b325-49bd-b9d7-da3f09848d21" providerId="ADAL" clId="{BD20BE7E-72EA-4327-8326-1145F18CD28D}" dt="2022-10-20T10:17:39.277" v="478" actId="2696"/>
          <pc:sldLayoutMkLst>
            <pc:docMk/>
            <pc:sldMasterMk cId="3327896601" sldId="2147484241"/>
            <pc:sldLayoutMk cId="1631972022" sldId="2147484245"/>
          </pc:sldLayoutMkLst>
        </pc:sldLayoutChg>
        <pc:sldLayoutChg chg="del">
          <pc:chgData name="Saranya Sriram" userId="31246c95-b325-49bd-b9d7-da3f09848d21" providerId="ADAL" clId="{BD20BE7E-72EA-4327-8326-1145F18CD28D}" dt="2022-10-20T10:17:39.286" v="479" actId="2696"/>
          <pc:sldLayoutMkLst>
            <pc:docMk/>
            <pc:sldMasterMk cId="3327896601" sldId="2147484241"/>
            <pc:sldLayoutMk cId="1573301690" sldId="2147484246"/>
          </pc:sldLayoutMkLst>
        </pc:sldLayoutChg>
        <pc:sldLayoutChg chg="del">
          <pc:chgData name="Saranya Sriram" userId="31246c95-b325-49bd-b9d7-da3f09848d21" providerId="ADAL" clId="{BD20BE7E-72EA-4327-8326-1145F18CD28D}" dt="2022-10-20T10:17:39.288" v="480" actId="2696"/>
          <pc:sldLayoutMkLst>
            <pc:docMk/>
            <pc:sldMasterMk cId="3327896601" sldId="2147484241"/>
            <pc:sldLayoutMk cId="2148187823" sldId="2147484247"/>
          </pc:sldLayoutMkLst>
        </pc:sldLayoutChg>
        <pc:sldLayoutChg chg="del">
          <pc:chgData name="Saranya Sriram" userId="31246c95-b325-49bd-b9d7-da3f09848d21" providerId="ADAL" clId="{BD20BE7E-72EA-4327-8326-1145F18CD28D}" dt="2022-10-20T10:17:39.290" v="481" actId="2696"/>
          <pc:sldLayoutMkLst>
            <pc:docMk/>
            <pc:sldMasterMk cId="3327896601" sldId="2147484241"/>
            <pc:sldLayoutMk cId="358613567" sldId="2147484248"/>
          </pc:sldLayoutMkLst>
        </pc:sldLayoutChg>
        <pc:sldLayoutChg chg="del">
          <pc:chgData name="Saranya Sriram" userId="31246c95-b325-49bd-b9d7-da3f09848d21" providerId="ADAL" clId="{BD20BE7E-72EA-4327-8326-1145F18CD28D}" dt="2022-10-20T10:17:39.296" v="482" actId="2696"/>
          <pc:sldLayoutMkLst>
            <pc:docMk/>
            <pc:sldMasterMk cId="3327896601" sldId="2147484241"/>
            <pc:sldLayoutMk cId="2792134468" sldId="2147484249"/>
          </pc:sldLayoutMkLst>
        </pc:sldLayoutChg>
        <pc:sldLayoutChg chg="del">
          <pc:chgData name="Saranya Sriram" userId="31246c95-b325-49bd-b9d7-da3f09848d21" providerId="ADAL" clId="{BD20BE7E-72EA-4327-8326-1145F18CD28D}" dt="2022-10-20T10:17:39.299" v="483" actId="2696"/>
          <pc:sldLayoutMkLst>
            <pc:docMk/>
            <pc:sldMasterMk cId="3327896601" sldId="2147484241"/>
            <pc:sldLayoutMk cId="1871935568" sldId="2147484250"/>
          </pc:sldLayoutMkLst>
        </pc:sldLayoutChg>
        <pc:sldLayoutChg chg="del">
          <pc:chgData name="Saranya Sriram" userId="31246c95-b325-49bd-b9d7-da3f09848d21" providerId="ADAL" clId="{BD20BE7E-72EA-4327-8326-1145F18CD28D}" dt="2022-10-20T10:17:39.304" v="484" actId="2696"/>
          <pc:sldLayoutMkLst>
            <pc:docMk/>
            <pc:sldMasterMk cId="3327896601" sldId="2147484241"/>
            <pc:sldLayoutMk cId="1898499743" sldId="2147484251"/>
          </pc:sldLayoutMkLst>
        </pc:sldLayoutChg>
        <pc:sldLayoutChg chg="del">
          <pc:chgData name="Saranya Sriram" userId="31246c95-b325-49bd-b9d7-da3f09848d21" providerId="ADAL" clId="{BD20BE7E-72EA-4327-8326-1145F18CD28D}" dt="2022-10-20T10:17:39.312" v="485" actId="2696"/>
          <pc:sldLayoutMkLst>
            <pc:docMk/>
            <pc:sldMasterMk cId="3327896601" sldId="2147484241"/>
            <pc:sldLayoutMk cId="999260951" sldId="2147484252"/>
          </pc:sldLayoutMkLst>
        </pc:sldLayoutChg>
        <pc:sldLayoutChg chg="del">
          <pc:chgData name="Saranya Sriram" userId="31246c95-b325-49bd-b9d7-da3f09848d21" providerId="ADAL" clId="{BD20BE7E-72EA-4327-8326-1145F18CD28D}" dt="2022-10-20T10:17:39.313" v="486" actId="2696"/>
          <pc:sldLayoutMkLst>
            <pc:docMk/>
            <pc:sldMasterMk cId="3327896601" sldId="2147484241"/>
            <pc:sldLayoutMk cId="1758595984" sldId="2147484253"/>
          </pc:sldLayoutMkLst>
        </pc:sldLayoutChg>
        <pc:sldLayoutChg chg="del">
          <pc:chgData name="Saranya Sriram" userId="31246c95-b325-49bd-b9d7-da3f09848d21" providerId="ADAL" clId="{BD20BE7E-72EA-4327-8326-1145F18CD28D}" dt="2022-10-20T10:17:39.316" v="487" actId="2696"/>
          <pc:sldLayoutMkLst>
            <pc:docMk/>
            <pc:sldMasterMk cId="3327896601" sldId="2147484241"/>
            <pc:sldLayoutMk cId="3557344353" sldId="2147484254"/>
          </pc:sldLayoutMkLst>
        </pc:sldLayoutChg>
        <pc:sldLayoutChg chg="del">
          <pc:chgData name="Saranya Sriram" userId="31246c95-b325-49bd-b9d7-da3f09848d21" providerId="ADAL" clId="{BD20BE7E-72EA-4327-8326-1145F18CD28D}" dt="2022-10-20T10:17:39.318" v="488" actId="2696"/>
          <pc:sldLayoutMkLst>
            <pc:docMk/>
            <pc:sldMasterMk cId="3327896601" sldId="2147484241"/>
            <pc:sldLayoutMk cId="2642031739" sldId="2147484255"/>
          </pc:sldLayoutMkLst>
        </pc:sldLayoutChg>
        <pc:sldLayoutChg chg="del">
          <pc:chgData name="Saranya Sriram" userId="31246c95-b325-49bd-b9d7-da3f09848d21" providerId="ADAL" clId="{BD20BE7E-72EA-4327-8326-1145F18CD28D}" dt="2022-10-20T10:17:39.322" v="489" actId="2696"/>
          <pc:sldLayoutMkLst>
            <pc:docMk/>
            <pc:sldMasterMk cId="3327896601" sldId="2147484241"/>
            <pc:sldLayoutMk cId="1234319147" sldId="2147484256"/>
          </pc:sldLayoutMkLst>
        </pc:sldLayoutChg>
        <pc:sldLayoutChg chg="del">
          <pc:chgData name="Saranya Sriram" userId="31246c95-b325-49bd-b9d7-da3f09848d21" providerId="ADAL" clId="{BD20BE7E-72EA-4327-8326-1145F18CD28D}" dt="2022-10-20T10:17:39.326" v="490" actId="2696"/>
          <pc:sldLayoutMkLst>
            <pc:docMk/>
            <pc:sldMasterMk cId="3327896601" sldId="2147484241"/>
            <pc:sldLayoutMk cId="1092593094" sldId="2147484257"/>
          </pc:sldLayoutMkLst>
        </pc:sldLayoutChg>
        <pc:sldLayoutChg chg="del">
          <pc:chgData name="Saranya Sriram" userId="31246c95-b325-49bd-b9d7-da3f09848d21" providerId="ADAL" clId="{BD20BE7E-72EA-4327-8326-1145F18CD28D}" dt="2022-10-20T10:17:39.326" v="491" actId="2696"/>
          <pc:sldLayoutMkLst>
            <pc:docMk/>
            <pc:sldMasterMk cId="3327896601" sldId="2147484241"/>
            <pc:sldLayoutMk cId="3533405183" sldId="2147484258"/>
          </pc:sldLayoutMkLst>
        </pc:sldLayoutChg>
        <pc:sldLayoutChg chg="del">
          <pc:chgData name="Saranya Sriram" userId="31246c95-b325-49bd-b9d7-da3f09848d21" providerId="ADAL" clId="{BD20BE7E-72EA-4327-8326-1145F18CD28D}" dt="2022-10-20T10:17:39.326" v="492" actId="2696"/>
          <pc:sldLayoutMkLst>
            <pc:docMk/>
            <pc:sldMasterMk cId="3327896601" sldId="2147484241"/>
            <pc:sldLayoutMk cId="1031252138" sldId="2147484259"/>
          </pc:sldLayoutMkLst>
        </pc:sldLayoutChg>
        <pc:sldLayoutChg chg="del">
          <pc:chgData name="Saranya Sriram" userId="31246c95-b325-49bd-b9d7-da3f09848d21" providerId="ADAL" clId="{BD20BE7E-72EA-4327-8326-1145F18CD28D}" dt="2022-10-20T10:17:39.326" v="493" actId="2696"/>
          <pc:sldLayoutMkLst>
            <pc:docMk/>
            <pc:sldMasterMk cId="3327896601" sldId="2147484241"/>
            <pc:sldLayoutMk cId="782349587" sldId="2147484260"/>
          </pc:sldLayoutMkLst>
        </pc:sldLayoutChg>
        <pc:sldLayoutChg chg="del">
          <pc:chgData name="Saranya Sriram" userId="31246c95-b325-49bd-b9d7-da3f09848d21" providerId="ADAL" clId="{BD20BE7E-72EA-4327-8326-1145F18CD28D}" dt="2022-10-20T10:17:39.339" v="494" actId="2696"/>
          <pc:sldLayoutMkLst>
            <pc:docMk/>
            <pc:sldMasterMk cId="3327896601" sldId="2147484241"/>
            <pc:sldLayoutMk cId="697292059" sldId="2147484261"/>
          </pc:sldLayoutMkLst>
        </pc:sldLayoutChg>
        <pc:sldLayoutChg chg="del">
          <pc:chgData name="Saranya Sriram" userId="31246c95-b325-49bd-b9d7-da3f09848d21" providerId="ADAL" clId="{BD20BE7E-72EA-4327-8326-1145F18CD28D}" dt="2022-10-20T10:17:39.341" v="495" actId="2696"/>
          <pc:sldLayoutMkLst>
            <pc:docMk/>
            <pc:sldMasterMk cId="3327896601" sldId="2147484241"/>
            <pc:sldLayoutMk cId="1353367696" sldId="2147484262"/>
          </pc:sldLayoutMkLst>
        </pc:sldLayoutChg>
        <pc:sldLayoutChg chg="del">
          <pc:chgData name="Saranya Sriram" userId="31246c95-b325-49bd-b9d7-da3f09848d21" providerId="ADAL" clId="{BD20BE7E-72EA-4327-8326-1145F18CD28D}" dt="2022-10-20T10:17:39.344" v="496" actId="2696"/>
          <pc:sldLayoutMkLst>
            <pc:docMk/>
            <pc:sldMasterMk cId="3327896601" sldId="2147484241"/>
            <pc:sldLayoutMk cId="4261286050" sldId="2147484263"/>
          </pc:sldLayoutMkLst>
        </pc:sldLayoutChg>
        <pc:sldLayoutChg chg="del">
          <pc:chgData name="Saranya Sriram" userId="31246c95-b325-49bd-b9d7-da3f09848d21" providerId="ADAL" clId="{BD20BE7E-72EA-4327-8326-1145F18CD28D}" dt="2022-10-20T10:17:39.348" v="497" actId="2696"/>
          <pc:sldLayoutMkLst>
            <pc:docMk/>
            <pc:sldMasterMk cId="3327896601" sldId="2147484241"/>
            <pc:sldLayoutMk cId="3876795096" sldId="2147484264"/>
          </pc:sldLayoutMkLst>
        </pc:sldLayoutChg>
        <pc:sldLayoutChg chg="del">
          <pc:chgData name="Saranya Sriram" userId="31246c95-b325-49bd-b9d7-da3f09848d21" providerId="ADAL" clId="{BD20BE7E-72EA-4327-8326-1145F18CD28D}" dt="2022-10-20T10:17:39.349" v="498" actId="2696"/>
          <pc:sldLayoutMkLst>
            <pc:docMk/>
            <pc:sldMasterMk cId="3327896601" sldId="2147484241"/>
            <pc:sldLayoutMk cId="3880609181" sldId="2147484265"/>
          </pc:sldLayoutMkLst>
        </pc:sldLayoutChg>
      </pc:sldMasterChg>
      <pc:sldMasterChg chg="delSldLayout">
        <pc:chgData name="Saranya Sriram" userId="31246c95-b325-49bd-b9d7-da3f09848d21" providerId="ADAL" clId="{BD20BE7E-72EA-4327-8326-1145F18CD28D}" dt="2022-10-20T15:29:44.519" v="974" actId="47"/>
        <pc:sldMasterMkLst>
          <pc:docMk/>
          <pc:sldMasterMk cId="4159745500" sldId="2147484303"/>
        </pc:sldMasterMkLst>
        <pc:sldLayoutChg chg="del">
          <pc:chgData name="Saranya Sriram" userId="31246c95-b325-49bd-b9d7-da3f09848d21" providerId="ADAL" clId="{BD20BE7E-72EA-4327-8326-1145F18CD28D}" dt="2022-10-20T15:29:44.519" v="974" actId="47"/>
          <pc:sldLayoutMkLst>
            <pc:docMk/>
            <pc:sldMasterMk cId="4159745500" sldId="2147484303"/>
            <pc:sldLayoutMk cId="1385223375" sldId="2147484315"/>
          </pc:sldLayoutMkLst>
        </pc:sldLayoutChg>
      </pc:sldMasterChg>
      <pc:sldMasterChg chg="delSldLayout">
        <pc:chgData name="Saranya Sriram" userId="31246c95-b325-49bd-b9d7-da3f09848d21" providerId="ADAL" clId="{BD20BE7E-72EA-4327-8326-1145F18CD28D}" dt="2022-10-20T14:30:55.454" v="959" actId="2696"/>
        <pc:sldMasterMkLst>
          <pc:docMk/>
          <pc:sldMasterMk cId="4276530771" sldId="2147484676"/>
        </pc:sldMasterMkLst>
        <pc:sldLayoutChg chg="del">
          <pc:chgData name="Saranya Sriram" userId="31246c95-b325-49bd-b9d7-da3f09848d21" providerId="ADAL" clId="{BD20BE7E-72EA-4327-8326-1145F18CD28D}" dt="2022-10-20T14:30:55.454" v="959" actId="2696"/>
          <pc:sldLayoutMkLst>
            <pc:docMk/>
            <pc:sldMasterMk cId="4276530771" sldId="2147484676"/>
            <pc:sldLayoutMk cId="1294803304" sldId="2147484732"/>
          </pc:sldLayoutMkLst>
        </pc:sldLayoutChg>
      </pc:sldMasterChg>
      <pc:sldMasterChg chg="modSp mod">
        <pc:chgData name="Saranya Sriram" userId="31246c95-b325-49bd-b9d7-da3f09848d21" providerId="ADAL" clId="{BD20BE7E-72EA-4327-8326-1145F18CD28D}" dt="2022-10-20T15:29:42.699" v="968" actId="27636"/>
        <pc:sldMasterMkLst>
          <pc:docMk/>
          <pc:sldMasterMk cId="3290201474" sldId="2147484733"/>
        </pc:sldMasterMkLst>
        <pc:spChg chg="mod">
          <ac:chgData name="Saranya Sriram" userId="31246c95-b325-49bd-b9d7-da3f09848d21" providerId="ADAL" clId="{BD20BE7E-72EA-4327-8326-1145F18CD28D}" dt="2022-10-20T15:29:42.690" v="967" actId="27636"/>
          <ac:spMkLst>
            <pc:docMk/>
            <pc:sldMasterMk cId="3290201474" sldId="2147484733"/>
            <ac:spMk id="142" creationId="{5141FD8F-F7DE-2A45-9E44-1ECEFD28CF8E}"/>
          </ac:spMkLst>
        </pc:spChg>
        <pc:spChg chg="mod">
          <ac:chgData name="Saranya Sriram" userId="31246c95-b325-49bd-b9d7-da3f09848d21" providerId="ADAL" clId="{BD20BE7E-72EA-4327-8326-1145F18CD28D}" dt="2022-10-20T15:29:42.699" v="968" actId="27636"/>
          <ac:spMkLst>
            <pc:docMk/>
            <pc:sldMasterMk cId="3290201474" sldId="2147484733"/>
            <ac:spMk id="143" creationId="{E4A4C58D-6B40-8F40-A8F2-6546F6C99A49}"/>
          </ac:spMkLst>
        </pc:spChg>
        <pc:spChg chg="mod">
          <ac:chgData name="Saranya Sriram" userId="31246c95-b325-49bd-b9d7-da3f09848d21" providerId="ADAL" clId="{BD20BE7E-72EA-4327-8326-1145F18CD28D}" dt="2022-10-20T15:29:42.673" v="966" actId="27636"/>
          <ac:spMkLst>
            <pc:docMk/>
            <pc:sldMasterMk cId="3290201474" sldId="2147484733"/>
            <ac:spMk id="144" creationId="{1D395897-A51E-C54D-9D1D-38873B0F3F1A}"/>
          </ac:spMkLst>
        </pc:spChg>
        <pc:spChg chg="mod">
          <ac:chgData name="Saranya Sriram" userId="31246c95-b325-49bd-b9d7-da3f09848d21" providerId="ADAL" clId="{BD20BE7E-72EA-4327-8326-1145F18CD28D}" dt="2022-10-20T15:29:42.665" v="964" actId="27636"/>
          <ac:spMkLst>
            <pc:docMk/>
            <pc:sldMasterMk cId="3290201474" sldId="2147484733"/>
            <ac:spMk id="145" creationId="{10EA571D-902C-8547-BEFA-966221F0F224}"/>
          </ac:spMkLst>
        </pc:spChg>
        <pc:spChg chg="mod">
          <ac:chgData name="Saranya Sriram" userId="31246c95-b325-49bd-b9d7-da3f09848d21" providerId="ADAL" clId="{BD20BE7E-72EA-4327-8326-1145F18CD28D}" dt="2022-10-20T15:29:42.673" v="965" actId="27636"/>
          <ac:spMkLst>
            <pc:docMk/>
            <pc:sldMasterMk cId="3290201474" sldId="2147484733"/>
            <ac:spMk id="147" creationId="{66BF1245-79F6-BB46-8211-1F6CFF8FC909}"/>
          </ac:spMkLst>
        </pc:spChg>
      </pc:sldMasterChg>
      <pc:sldMasterChg chg="modSp mod">
        <pc:chgData name="Saranya Sriram" userId="31246c95-b325-49bd-b9d7-da3f09848d21" providerId="ADAL" clId="{BD20BE7E-72EA-4327-8326-1145F18CD28D}" dt="2022-10-20T15:29:42.898" v="973" actId="27636"/>
        <pc:sldMasterMkLst>
          <pc:docMk/>
          <pc:sldMasterMk cId="3938955425" sldId="2147484741"/>
        </pc:sldMasterMkLst>
        <pc:spChg chg="mod">
          <ac:chgData name="Saranya Sriram" userId="31246c95-b325-49bd-b9d7-da3f09848d21" providerId="ADAL" clId="{BD20BE7E-72EA-4327-8326-1145F18CD28D}" dt="2022-10-20T15:29:42.857" v="969" actId="27636"/>
          <ac:spMkLst>
            <pc:docMk/>
            <pc:sldMasterMk cId="3938955425" sldId="2147484741"/>
            <ac:spMk id="142" creationId="{5141FD8F-F7DE-2A45-9E44-1ECEFD28CF8E}"/>
          </ac:spMkLst>
        </pc:spChg>
        <pc:spChg chg="mod">
          <ac:chgData name="Saranya Sriram" userId="31246c95-b325-49bd-b9d7-da3f09848d21" providerId="ADAL" clId="{BD20BE7E-72EA-4327-8326-1145F18CD28D}" dt="2022-10-20T15:29:42.898" v="973" actId="27636"/>
          <ac:spMkLst>
            <pc:docMk/>
            <pc:sldMasterMk cId="3938955425" sldId="2147484741"/>
            <ac:spMk id="143" creationId="{E4A4C58D-6B40-8F40-A8F2-6546F6C99A49}"/>
          </ac:spMkLst>
        </pc:spChg>
        <pc:spChg chg="mod">
          <ac:chgData name="Saranya Sriram" userId="31246c95-b325-49bd-b9d7-da3f09848d21" providerId="ADAL" clId="{BD20BE7E-72EA-4327-8326-1145F18CD28D}" dt="2022-10-20T15:29:42.881" v="971" actId="27636"/>
          <ac:spMkLst>
            <pc:docMk/>
            <pc:sldMasterMk cId="3938955425" sldId="2147484741"/>
            <ac:spMk id="144" creationId="{1D395897-A51E-C54D-9D1D-38873B0F3F1A}"/>
          </ac:spMkLst>
        </pc:spChg>
        <pc:spChg chg="mod">
          <ac:chgData name="Saranya Sriram" userId="31246c95-b325-49bd-b9d7-da3f09848d21" providerId="ADAL" clId="{BD20BE7E-72EA-4327-8326-1145F18CD28D}" dt="2022-10-20T15:29:42.864" v="970" actId="27636"/>
          <ac:spMkLst>
            <pc:docMk/>
            <pc:sldMasterMk cId="3938955425" sldId="2147484741"/>
            <ac:spMk id="145" creationId="{10EA571D-902C-8547-BEFA-966221F0F224}"/>
          </ac:spMkLst>
        </pc:spChg>
        <pc:spChg chg="mod">
          <ac:chgData name="Saranya Sriram" userId="31246c95-b325-49bd-b9d7-da3f09848d21" providerId="ADAL" clId="{BD20BE7E-72EA-4327-8326-1145F18CD28D}" dt="2022-10-20T15:29:42.890" v="972" actId="27636"/>
          <ac:spMkLst>
            <pc:docMk/>
            <pc:sldMasterMk cId="3938955425" sldId="2147484741"/>
            <ac:spMk id="147" creationId="{66BF1245-79F6-BB46-8211-1F6CFF8FC909}"/>
          </ac:spMkLst>
        </pc:spChg>
      </pc:sldMasterChg>
    </pc:docChg>
  </pc:docChgLst>
  <pc:docChgLst>
    <pc:chgData name="Saranya Sriram" userId="31246c95-b325-49bd-b9d7-da3f09848d21" providerId="ADAL" clId="{1257B7C5-6374-4E27-BB26-3A140873B03A}"/>
    <pc:docChg chg="undo custSel addSld delSld modSld sldOrd modMainMaster modSection">
      <pc:chgData name="Saranya Sriram" userId="31246c95-b325-49bd-b9d7-da3f09848d21" providerId="ADAL" clId="{1257B7C5-6374-4E27-BB26-3A140873B03A}" dt="2021-11-02T16:39:36.919" v="3448" actId="14100"/>
      <pc:docMkLst>
        <pc:docMk/>
      </pc:docMkLst>
      <pc:sldChg chg="addSp delSp modSp mod">
        <pc:chgData name="Saranya Sriram" userId="31246c95-b325-49bd-b9d7-da3f09848d21" providerId="ADAL" clId="{1257B7C5-6374-4E27-BB26-3A140873B03A}" dt="2021-11-02T16:39:36.919" v="3448" actId="14100"/>
        <pc:sldMkLst>
          <pc:docMk/>
          <pc:sldMk cId="3854447715" sldId="257"/>
        </pc:sldMkLst>
        <pc:spChg chg="mod">
          <ac:chgData name="Saranya Sriram" userId="31246c95-b325-49bd-b9d7-da3f09848d21" providerId="ADAL" clId="{1257B7C5-6374-4E27-BB26-3A140873B03A}" dt="2021-11-02T03:06:05.384" v="742" actId="1076"/>
          <ac:spMkLst>
            <pc:docMk/>
            <pc:sldMk cId="3854447715" sldId="257"/>
            <ac:spMk id="4" creationId="{1D646387-4D11-4A07-AE7D-75C38FCAE33F}"/>
          </ac:spMkLst>
        </pc:spChg>
        <pc:spChg chg="del">
          <ac:chgData name="Saranya Sriram" userId="31246c95-b325-49bd-b9d7-da3f09848d21" providerId="ADAL" clId="{1257B7C5-6374-4E27-BB26-3A140873B03A}" dt="2021-11-02T02:11:18.262" v="44" actId="478"/>
          <ac:spMkLst>
            <pc:docMk/>
            <pc:sldMk cId="3854447715" sldId="257"/>
            <ac:spMk id="5" creationId="{E937E2EE-51B3-4DAF-83B8-077390229DD7}"/>
          </ac:spMkLst>
        </pc:spChg>
        <pc:spChg chg="add del mod">
          <ac:chgData name="Saranya Sriram" userId="31246c95-b325-49bd-b9d7-da3f09848d21" providerId="ADAL" clId="{1257B7C5-6374-4E27-BB26-3A140873B03A}" dt="2021-11-02T02:11:45.481" v="47" actId="478"/>
          <ac:spMkLst>
            <pc:docMk/>
            <pc:sldMk cId="3854447715" sldId="257"/>
            <ac:spMk id="6" creationId="{01267C29-5F40-498B-9B2E-3905D0CEF404}"/>
          </ac:spMkLst>
        </pc:spChg>
        <pc:spChg chg="add mod">
          <ac:chgData name="Saranya Sriram" userId="31246c95-b325-49bd-b9d7-da3f09848d21" providerId="ADAL" clId="{1257B7C5-6374-4E27-BB26-3A140873B03A}" dt="2021-11-02T03:05:59.775" v="741" actId="1076"/>
          <ac:spMkLst>
            <pc:docMk/>
            <pc:sldMk cId="3854447715" sldId="257"/>
            <ac:spMk id="7" creationId="{6881F07D-971D-494E-9BD7-4F0F619BBC47}"/>
          </ac:spMkLst>
        </pc:spChg>
        <pc:spChg chg="add mod">
          <ac:chgData name="Saranya Sriram" userId="31246c95-b325-49bd-b9d7-da3f09848d21" providerId="ADAL" clId="{1257B7C5-6374-4E27-BB26-3A140873B03A}" dt="2021-11-02T16:39:36.919" v="3448" actId="14100"/>
          <ac:spMkLst>
            <pc:docMk/>
            <pc:sldMk cId="3854447715" sldId="257"/>
            <ac:spMk id="9" creationId="{C24E5013-8F15-4062-93AF-41127B14B78F}"/>
          </ac:spMkLst>
        </pc:spChg>
        <pc:spChg chg="add del mod">
          <ac:chgData name="Saranya Sriram" userId="31246c95-b325-49bd-b9d7-da3f09848d21" providerId="ADAL" clId="{1257B7C5-6374-4E27-BB26-3A140873B03A}" dt="2021-11-02T03:03:16.411" v="647" actId="478"/>
          <ac:spMkLst>
            <pc:docMk/>
            <pc:sldMk cId="3854447715" sldId="257"/>
            <ac:spMk id="11" creationId="{D3D0B455-7AB7-4667-8BF0-96090A3F89E9}"/>
          </ac:spMkLst>
        </pc:spChg>
        <pc:spChg chg="add mod">
          <ac:chgData name="Saranya Sriram" userId="31246c95-b325-49bd-b9d7-da3f09848d21" providerId="ADAL" clId="{1257B7C5-6374-4E27-BB26-3A140873B03A}" dt="2021-11-02T04:12:15.573" v="2891" actId="1076"/>
          <ac:spMkLst>
            <pc:docMk/>
            <pc:sldMk cId="3854447715" sldId="257"/>
            <ac:spMk id="13" creationId="{26D02FE3-3958-4E1F-9749-97597F35EAE1}"/>
          </ac:spMkLst>
        </pc:spChg>
        <pc:spChg chg="add mod">
          <ac:chgData name="Saranya Sriram" userId="31246c95-b325-49bd-b9d7-da3f09848d21" providerId="ADAL" clId="{1257B7C5-6374-4E27-BB26-3A140873B03A}" dt="2021-11-02T03:05:22.048" v="728" actId="1076"/>
          <ac:spMkLst>
            <pc:docMk/>
            <pc:sldMk cId="3854447715" sldId="257"/>
            <ac:spMk id="15" creationId="{015F3C26-CC2D-4BAE-AC71-517DA6532AA9}"/>
          </ac:spMkLst>
        </pc:spChg>
      </pc:sldChg>
      <pc:sldChg chg="add del">
        <pc:chgData name="Saranya Sriram" userId="31246c95-b325-49bd-b9d7-da3f09848d21" providerId="ADAL" clId="{1257B7C5-6374-4E27-BB26-3A140873B03A}" dt="2021-11-02T04:13:15.061" v="2921" actId="47"/>
        <pc:sldMkLst>
          <pc:docMk/>
          <pc:sldMk cId="2039867333" sldId="262"/>
        </pc:sldMkLst>
      </pc:sldChg>
      <pc:sldChg chg="add setBg">
        <pc:chgData name="Saranya Sriram" userId="31246c95-b325-49bd-b9d7-da3f09848d21" providerId="ADAL" clId="{1257B7C5-6374-4E27-BB26-3A140873B03A}" dt="2021-11-02T03:41:01.034" v="1102"/>
        <pc:sldMkLst>
          <pc:docMk/>
          <pc:sldMk cId="4076938399" sldId="266"/>
        </pc:sldMkLst>
      </pc:sldChg>
      <pc:sldChg chg="modSp add del mod">
        <pc:chgData name="Saranya Sriram" userId="31246c95-b325-49bd-b9d7-da3f09848d21" providerId="ADAL" clId="{1257B7C5-6374-4E27-BB26-3A140873B03A}" dt="2021-11-02T04:13:42.234" v="3005" actId="20577"/>
        <pc:sldMkLst>
          <pc:docMk/>
          <pc:sldMk cId="1211496508" sldId="272"/>
        </pc:sldMkLst>
        <pc:spChg chg="mod">
          <ac:chgData name="Saranya Sriram" userId="31246c95-b325-49bd-b9d7-da3f09848d21" providerId="ADAL" clId="{1257B7C5-6374-4E27-BB26-3A140873B03A}" dt="2021-11-02T04:13:42.234" v="3005" actId="20577"/>
          <ac:spMkLst>
            <pc:docMk/>
            <pc:sldMk cId="1211496508" sldId="272"/>
            <ac:spMk id="3" creationId="{6C0579D5-4F6A-464E-BECB-6A2B641AEEE4}"/>
          </ac:spMkLst>
        </pc:spChg>
      </pc:sldChg>
      <pc:sldChg chg="modSp add del mod">
        <pc:chgData name="Saranya Sriram" userId="31246c95-b325-49bd-b9d7-da3f09848d21" providerId="ADAL" clId="{1257B7C5-6374-4E27-BB26-3A140873B03A}" dt="2021-11-02T02:46:36.655" v="420" actId="20577"/>
        <pc:sldMkLst>
          <pc:docMk/>
          <pc:sldMk cId="3639179457" sldId="279"/>
        </pc:sldMkLst>
        <pc:spChg chg="mod">
          <ac:chgData name="Saranya Sriram" userId="31246c95-b325-49bd-b9d7-da3f09848d21" providerId="ADAL" clId="{1257B7C5-6374-4E27-BB26-3A140873B03A}" dt="2021-11-02T02:37:01.713" v="394" actId="27636"/>
          <ac:spMkLst>
            <pc:docMk/>
            <pc:sldMk cId="3639179457" sldId="279"/>
            <ac:spMk id="2" creationId="{53E0B2B7-9BDD-4484-8BDC-810419F0FE6E}"/>
          </ac:spMkLst>
        </pc:spChg>
        <pc:spChg chg="mod">
          <ac:chgData name="Saranya Sriram" userId="31246c95-b325-49bd-b9d7-da3f09848d21" providerId="ADAL" clId="{1257B7C5-6374-4E27-BB26-3A140873B03A}" dt="2021-11-02T02:46:36.655" v="420" actId="20577"/>
          <ac:spMkLst>
            <pc:docMk/>
            <pc:sldMk cId="3639179457" sldId="279"/>
            <ac:spMk id="3" creationId="{5C46EF29-3C58-455A-AFC6-FD152090BD59}"/>
          </ac:spMkLst>
        </pc:spChg>
      </pc:sldChg>
      <pc:sldChg chg="delSp modSp add del mod">
        <pc:chgData name="Saranya Sriram" userId="31246c95-b325-49bd-b9d7-da3f09848d21" providerId="ADAL" clId="{1257B7C5-6374-4E27-BB26-3A140873B03A}" dt="2021-11-02T04:10:11.215" v="2883" actId="207"/>
        <pc:sldMkLst>
          <pc:docMk/>
          <pc:sldMk cId="1493913159" sldId="284"/>
        </pc:sldMkLst>
        <pc:spChg chg="mod">
          <ac:chgData name="Saranya Sriram" userId="31246c95-b325-49bd-b9d7-da3f09848d21" providerId="ADAL" clId="{1257B7C5-6374-4E27-BB26-3A140873B03A}" dt="2021-11-02T03:36:33.740" v="969" actId="6549"/>
          <ac:spMkLst>
            <pc:docMk/>
            <pc:sldMk cId="1493913159" sldId="284"/>
            <ac:spMk id="5" creationId="{3A927330-F324-41D3-8265-056E469AF223}"/>
          </ac:spMkLst>
        </pc:spChg>
        <pc:spChg chg="del">
          <ac:chgData name="Saranya Sriram" userId="31246c95-b325-49bd-b9d7-da3f09848d21" providerId="ADAL" clId="{1257B7C5-6374-4E27-BB26-3A140873B03A}" dt="2021-11-02T03:36:24.361" v="967" actId="478"/>
          <ac:spMkLst>
            <pc:docMk/>
            <pc:sldMk cId="1493913159" sldId="284"/>
            <ac:spMk id="19" creationId="{70BB7F89-80F8-4B67-82F4-07A5D73DE97C}"/>
          </ac:spMkLst>
        </pc:spChg>
        <pc:spChg chg="del">
          <ac:chgData name="Saranya Sriram" userId="31246c95-b325-49bd-b9d7-da3f09848d21" providerId="ADAL" clId="{1257B7C5-6374-4E27-BB26-3A140873B03A}" dt="2021-11-02T03:36:27.074" v="968" actId="478"/>
          <ac:spMkLst>
            <pc:docMk/>
            <pc:sldMk cId="1493913159" sldId="284"/>
            <ac:spMk id="20" creationId="{6916B767-248F-45F7-8673-2813966AD8E7}"/>
          </ac:spMkLst>
        </pc:spChg>
        <pc:spChg chg="mod">
          <ac:chgData name="Saranya Sriram" userId="31246c95-b325-49bd-b9d7-da3f09848d21" providerId="ADAL" clId="{1257B7C5-6374-4E27-BB26-3A140873B03A}" dt="2021-11-02T04:10:11.215" v="2883" actId="207"/>
          <ac:spMkLst>
            <pc:docMk/>
            <pc:sldMk cId="1493913159" sldId="284"/>
            <ac:spMk id="167" creationId="{B49C93CA-2813-4B4A-B587-88D61934E7A1}"/>
          </ac:spMkLst>
        </pc:spChg>
      </pc:sldChg>
      <pc:sldChg chg="add del">
        <pc:chgData name="Saranya Sriram" userId="31246c95-b325-49bd-b9d7-da3f09848d21" providerId="ADAL" clId="{1257B7C5-6374-4E27-BB26-3A140873B03A}" dt="2021-11-02T02:20:01.605" v="261" actId="47"/>
        <pc:sldMkLst>
          <pc:docMk/>
          <pc:sldMk cId="3565526113" sldId="331"/>
        </pc:sldMkLst>
      </pc:sldChg>
      <pc:sldChg chg="add del">
        <pc:chgData name="Saranya Sriram" userId="31246c95-b325-49bd-b9d7-da3f09848d21" providerId="ADAL" clId="{1257B7C5-6374-4E27-BB26-3A140873B03A}" dt="2021-11-02T02:19:59.479" v="259" actId="47"/>
        <pc:sldMkLst>
          <pc:docMk/>
          <pc:sldMk cId="356346544" sldId="336"/>
        </pc:sldMkLst>
      </pc:sldChg>
      <pc:sldChg chg="add del">
        <pc:chgData name="Saranya Sriram" userId="31246c95-b325-49bd-b9d7-da3f09848d21" providerId="ADAL" clId="{1257B7C5-6374-4E27-BB26-3A140873B03A}" dt="2021-11-02T02:35:51.200" v="385"/>
        <pc:sldMkLst>
          <pc:docMk/>
          <pc:sldMk cId="3273566663" sldId="523"/>
        </pc:sldMkLst>
      </pc:sldChg>
      <pc:sldChg chg="add del">
        <pc:chgData name="Saranya Sriram" userId="31246c95-b325-49bd-b9d7-da3f09848d21" providerId="ADAL" clId="{1257B7C5-6374-4E27-BB26-3A140873B03A}" dt="2021-11-02T02:27:33.376" v="330"/>
        <pc:sldMkLst>
          <pc:docMk/>
          <pc:sldMk cId="4061290486" sldId="626"/>
        </pc:sldMkLst>
      </pc:sldChg>
      <pc:sldChg chg="add del">
        <pc:chgData name="Saranya Sriram" userId="31246c95-b325-49bd-b9d7-da3f09848d21" providerId="ADAL" clId="{1257B7C5-6374-4E27-BB26-3A140873B03A}" dt="2021-11-02T02:35:51.200" v="385"/>
        <pc:sldMkLst>
          <pc:docMk/>
          <pc:sldMk cId="2035231441" sldId="642"/>
        </pc:sldMkLst>
      </pc:sldChg>
      <pc:sldChg chg="add del">
        <pc:chgData name="Saranya Sriram" userId="31246c95-b325-49bd-b9d7-da3f09848d21" providerId="ADAL" clId="{1257B7C5-6374-4E27-BB26-3A140873B03A}" dt="2021-11-02T02:35:51.200" v="385"/>
        <pc:sldMkLst>
          <pc:docMk/>
          <pc:sldMk cId="3643931087" sldId="643"/>
        </pc:sldMkLst>
      </pc:sldChg>
      <pc:sldChg chg="add del">
        <pc:chgData name="Saranya Sriram" userId="31246c95-b325-49bd-b9d7-da3f09848d21" providerId="ADAL" clId="{1257B7C5-6374-4E27-BB26-3A140873B03A}" dt="2021-11-02T02:36:01.518" v="388"/>
        <pc:sldMkLst>
          <pc:docMk/>
          <pc:sldMk cId="808087419" sldId="645"/>
        </pc:sldMkLst>
      </pc:sldChg>
      <pc:sldChg chg="add del">
        <pc:chgData name="Saranya Sriram" userId="31246c95-b325-49bd-b9d7-da3f09848d21" providerId="ADAL" clId="{1257B7C5-6374-4E27-BB26-3A140873B03A}" dt="2021-11-02T02:59:46.628" v="543"/>
        <pc:sldMkLst>
          <pc:docMk/>
          <pc:sldMk cId="1096441933" sldId="646"/>
        </pc:sldMkLst>
      </pc:sldChg>
      <pc:sldChg chg="add del">
        <pc:chgData name="Saranya Sriram" userId="31246c95-b325-49bd-b9d7-da3f09848d21" providerId="ADAL" clId="{1257B7C5-6374-4E27-BB26-3A140873B03A}" dt="2021-11-02T02:25:07.417" v="321"/>
        <pc:sldMkLst>
          <pc:docMk/>
          <pc:sldMk cId="2048180312" sldId="653"/>
        </pc:sldMkLst>
      </pc:sldChg>
      <pc:sldChg chg="addSp delSp add del mod">
        <pc:chgData name="Saranya Sriram" userId="31246c95-b325-49bd-b9d7-da3f09848d21" providerId="ADAL" clId="{1257B7C5-6374-4E27-BB26-3A140873B03A}" dt="2021-11-02T04:19:57.648" v="3447"/>
        <pc:sldMkLst>
          <pc:docMk/>
          <pc:sldMk cId="3603543490" sldId="655"/>
        </pc:sldMkLst>
        <pc:inkChg chg="add del">
          <ac:chgData name="Saranya Sriram" userId="31246c95-b325-49bd-b9d7-da3f09848d21" providerId="ADAL" clId="{1257B7C5-6374-4E27-BB26-3A140873B03A}" dt="2021-11-02T04:19:57.648" v="3447"/>
          <ac:inkMkLst>
            <pc:docMk/>
            <pc:sldMk cId="3603543490" sldId="655"/>
            <ac:inkMk id="3" creationId="{3DF1FE8E-F094-40B8-A2FF-5EEBC539CB15}"/>
          </ac:inkMkLst>
        </pc:inkChg>
      </pc:sldChg>
      <pc:sldChg chg="add del">
        <pc:chgData name="Saranya Sriram" userId="31246c95-b325-49bd-b9d7-da3f09848d21" providerId="ADAL" clId="{1257B7C5-6374-4E27-BB26-3A140873B03A}" dt="2021-11-02T02:29:03.751" v="339"/>
        <pc:sldMkLst>
          <pc:docMk/>
          <pc:sldMk cId="174744436" sldId="656"/>
        </pc:sldMkLst>
      </pc:sldChg>
      <pc:sldChg chg="add del">
        <pc:chgData name="Saranya Sriram" userId="31246c95-b325-49bd-b9d7-da3f09848d21" providerId="ADAL" clId="{1257B7C5-6374-4E27-BB26-3A140873B03A}" dt="2021-11-02T02:56:36.937" v="540"/>
        <pc:sldMkLst>
          <pc:docMk/>
          <pc:sldMk cId="4102728862" sldId="657"/>
        </pc:sldMkLst>
      </pc:sldChg>
      <pc:sldChg chg="add del">
        <pc:chgData name="Saranya Sriram" userId="31246c95-b325-49bd-b9d7-da3f09848d21" providerId="ADAL" clId="{1257B7C5-6374-4E27-BB26-3A140873B03A}" dt="2021-11-02T02:27:33.376" v="330"/>
        <pc:sldMkLst>
          <pc:docMk/>
          <pc:sldMk cId="3614954226" sldId="658"/>
        </pc:sldMkLst>
      </pc:sldChg>
      <pc:sldChg chg="add del">
        <pc:chgData name="Saranya Sriram" userId="31246c95-b325-49bd-b9d7-da3f09848d21" providerId="ADAL" clId="{1257B7C5-6374-4E27-BB26-3A140873B03A}" dt="2021-11-02T02:25:07.417" v="321"/>
        <pc:sldMkLst>
          <pc:docMk/>
          <pc:sldMk cId="4234163842" sldId="664"/>
        </pc:sldMkLst>
      </pc:sldChg>
      <pc:sldChg chg="addSp delSp add del mod">
        <pc:chgData name="Saranya Sriram" userId="31246c95-b325-49bd-b9d7-da3f09848d21" providerId="ADAL" clId="{1257B7C5-6374-4E27-BB26-3A140873B03A}" dt="2021-11-02T02:30:56.967" v="350" actId="22"/>
        <pc:sldMkLst>
          <pc:docMk/>
          <pc:sldMk cId="2672133038" sldId="665"/>
        </pc:sldMkLst>
        <pc:picChg chg="add del">
          <ac:chgData name="Saranya Sriram" userId="31246c95-b325-49bd-b9d7-da3f09848d21" providerId="ADAL" clId="{1257B7C5-6374-4E27-BB26-3A140873B03A}" dt="2021-11-02T02:30:56.967" v="350" actId="22"/>
          <ac:picMkLst>
            <pc:docMk/>
            <pc:sldMk cId="2672133038" sldId="665"/>
            <ac:picMk id="5" creationId="{89BA8BD1-B750-4991-98C7-EE00DFE6AD87}"/>
          </ac:picMkLst>
        </pc:picChg>
      </pc:sldChg>
      <pc:sldChg chg="add del">
        <pc:chgData name="Saranya Sriram" userId="31246c95-b325-49bd-b9d7-da3f09848d21" providerId="ADAL" clId="{1257B7C5-6374-4E27-BB26-3A140873B03A}" dt="2021-11-02T02:36:27.803" v="391"/>
        <pc:sldMkLst>
          <pc:docMk/>
          <pc:sldMk cId="3905848365" sldId="667"/>
        </pc:sldMkLst>
      </pc:sldChg>
      <pc:sldChg chg="add del">
        <pc:chgData name="Saranya Sriram" userId="31246c95-b325-49bd-b9d7-da3f09848d21" providerId="ADAL" clId="{1257B7C5-6374-4E27-BB26-3A140873B03A}" dt="2021-11-02T02:29:14.390" v="342"/>
        <pc:sldMkLst>
          <pc:docMk/>
          <pc:sldMk cId="253836448" sldId="668"/>
        </pc:sldMkLst>
      </pc:sldChg>
      <pc:sldChg chg="modSp add del mod">
        <pc:chgData name="Saranya Sriram" userId="31246c95-b325-49bd-b9d7-da3f09848d21" providerId="ADAL" clId="{1257B7C5-6374-4E27-BB26-3A140873B03A}" dt="2021-11-02T04:18:48.904" v="3445" actId="20577"/>
        <pc:sldMkLst>
          <pc:docMk/>
          <pc:sldMk cId="3074672719" sldId="669"/>
        </pc:sldMkLst>
        <pc:spChg chg="mod">
          <ac:chgData name="Saranya Sriram" userId="31246c95-b325-49bd-b9d7-da3f09848d21" providerId="ADAL" clId="{1257B7C5-6374-4E27-BB26-3A140873B03A}" dt="2021-11-02T04:18:48.904" v="3445" actId="20577"/>
          <ac:spMkLst>
            <pc:docMk/>
            <pc:sldMk cId="3074672719" sldId="669"/>
            <ac:spMk id="12" creationId="{00000000-0000-0000-0000-000000000000}"/>
          </ac:spMkLst>
        </pc:spChg>
      </pc:sldChg>
      <pc:sldChg chg="add del">
        <pc:chgData name="Saranya Sriram" userId="31246c95-b325-49bd-b9d7-da3f09848d21" providerId="ADAL" clId="{1257B7C5-6374-4E27-BB26-3A140873B03A}" dt="2021-11-02T02:28:14.179" v="333"/>
        <pc:sldMkLst>
          <pc:docMk/>
          <pc:sldMk cId="2257879741" sldId="671"/>
        </pc:sldMkLst>
      </pc:sldChg>
      <pc:sldChg chg="add del">
        <pc:chgData name="Saranya Sriram" userId="31246c95-b325-49bd-b9d7-da3f09848d21" providerId="ADAL" clId="{1257B7C5-6374-4E27-BB26-3A140873B03A}" dt="2021-11-02T02:29:47.890" v="348"/>
        <pc:sldMkLst>
          <pc:docMk/>
          <pc:sldMk cId="4213798706" sldId="674"/>
        </pc:sldMkLst>
      </pc:sldChg>
      <pc:sldChg chg="add del ord modTransition">
        <pc:chgData name="Saranya Sriram" userId="31246c95-b325-49bd-b9d7-da3f09848d21" providerId="ADAL" clId="{1257B7C5-6374-4E27-BB26-3A140873B03A}" dt="2021-11-02T03:50:29.089" v="1342"/>
        <pc:sldMkLst>
          <pc:docMk/>
          <pc:sldMk cId="3917951613" sldId="675"/>
        </pc:sldMkLst>
      </pc:sldChg>
      <pc:sldChg chg="add del">
        <pc:chgData name="Saranya Sriram" userId="31246c95-b325-49bd-b9d7-da3f09848d21" providerId="ADAL" clId="{1257B7C5-6374-4E27-BB26-3A140873B03A}" dt="2021-11-02T02:25:43.884" v="327"/>
        <pc:sldMkLst>
          <pc:docMk/>
          <pc:sldMk cId="603918319" sldId="676"/>
        </pc:sldMkLst>
      </pc:sldChg>
      <pc:sldChg chg="add del ord">
        <pc:chgData name="Saranya Sriram" userId="31246c95-b325-49bd-b9d7-da3f09848d21" providerId="ADAL" clId="{1257B7C5-6374-4E27-BB26-3A140873B03A}" dt="2021-11-02T03:50:20.552" v="1340"/>
        <pc:sldMkLst>
          <pc:docMk/>
          <pc:sldMk cId="3974389144" sldId="677"/>
        </pc:sldMkLst>
      </pc:sldChg>
      <pc:sldChg chg="add">
        <pc:chgData name="Saranya Sriram" userId="31246c95-b325-49bd-b9d7-da3f09848d21" providerId="ADAL" clId="{1257B7C5-6374-4E27-BB26-3A140873B03A}" dt="2021-11-02T02:36:50.188" v="392"/>
        <pc:sldMkLst>
          <pc:docMk/>
          <pc:sldMk cId="3368091708" sldId="678"/>
        </pc:sldMkLst>
      </pc:sldChg>
      <pc:sldChg chg="add del">
        <pc:chgData name="Saranya Sriram" userId="31246c95-b325-49bd-b9d7-da3f09848d21" providerId="ADAL" clId="{1257B7C5-6374-4E27-BB26-3A140873B03A}" dt="2021-11-02T02:29:30.102" v="345"/>
        <pc:sldMkLst>
          <pc:docMk/>
          <pc:sldMk cId="1328114205" sldId="679"/>
        </pc:sldMkLst>
      </pc:sldChg>
      <pc:sldChg chg="add del">
        <pc:chgData name="Saranya Sriram" userId="31246c95-b325-49bd-b9d7-da3f09848d21" providerId="ADAL" clId="{1257B7C5-6374-4E27-BB26-3A140873B03A}" dt="2021-11-02T02:56:36.937" v="540"/>
        <pc:sldMkLst>
          <pc:docMk/>
          <pc:sldMk cId="3321464401" sldId="680"/>
        </pc:sldMkLst>
      </pc:sldChg>
      <pc:sldChg chg="addSp modSp add mod">
        <pc:chgData name="Saranya Sriram" userId="31246c95-b325-49bd-b9d7-da3f09848d21" providerId="ADAL" clId="{1257B7C5-6374-4E27-BB26-3A140873B03A}" dt="2021-11-02T02:34:30.360" v="379" actId="1076"/>
        <pc:sldMkLst>
          <pc:docMk/>
          <pc:sldMk cId="2167446969" sldId="681"/>
        </pc:sldMkLst>
        <pc:picChg chg="mod">
          <ac:chgData name="Saranya Sriram" userId="31246c95-b325-49bd-b9d7-da3f09848d21" providerId="ADAL" clId="{1257B7C5-6374-4E27-BB26-3A140873B03A}" dt="2021-11-02T02:34:15.025" v="373" actId="1076"/>
          <ac:picMkLst>
            <pc:docMk/>
            <pc:sldMk cId="2167446969" sldId="681"/>
            <ac:picMk id="3" creationId="{9542D8AA-AC2B-4F28-9DA6-FDC8544E3D6A}"/>
          </ac:picMkLst>
        </pc:picChg>
        <pc:picChg chg="add mod">
          <ac:chgData name="Saranya Sriram" userId="31246c95-b325-49bd-b9d7-da3f09848d21" providerId="ADAL" clId="{1257B7C5-6374-4E27-BB26-3A140873B03A}" dt="2021-11-02T02:34:22.260" v="376" actId="1076"/>
          <ac:picMkLst>
            <pc:docMk/>
            <pc:sldMk cId="2167446969" sldId="681"/>
            <ac:picMk id="6" creationId="{6BCDA4C1-B3C0-457F-B599-47D5C12FD370}"/>
          </ac:picMkLst>
        </pc:picChg>
        <pc:picChg chg="add mod">
          <ac:chgData name="Saranya Sriram" userId="31246c95-b325-49bd-b9d7-da3f09848d21" providerId="ADAL" clId="{1257B7C5-6374-4E27-BB26-3A140873B03A}" dt="2021-11-02T02:34:30.360" v="379" actId="1076"/>
          <ac:picMkLst>
            <pc:docMk/>
            <pc:sldMk cId="2167446969" sldId="681"/>
            <ac:picMk id="8" creationId="{6B51DB3A-51D0-4753-BDD8-E6853062240F}"/>
          </ac:picMkLst>
        </pc:picChg>
        <pc:picChg chg="mod">
          <ac:chgData name="Saranya Sriram" userId="31246c95-b325-49bd-b9d7-da3f09848d21" providerId="ADAL" clId="{1257B7C5-6374-4E27-BB26-3A140873B03A}" dt="2021-11-02T02:31:11.377" v="354" actId="1076"/>
          <ac:picMkLst>
            <pc:docMk/>
            <pc:sldMk cId="2167446969" sldId="681"/>
            <ac:picMk id="1026" creationId="{06712BBF-48B1-4317-B133-B6DBFD4A8992}"/>
          </ac:picMkLst>
        </pc:picChg>
      </pc:sldChg>
      <pc:sldChg chg="add del">
        <pc:chgData name="Saranya Sriram" userId="31246c95-b325-49bd-b9d7-da3f09848d21" providerId="ADAL" clId="{1257B7C5-6374-4E27-BB26-3A140873B03A}" dt="2021-11-02T02:56:36.937" v="540"/>
        <pc:sldMkLst>
          <pc:docMk/>
          <pc:sldMk cId="894916138" sldId="682"/>
        </pc:sldMkLst>
      </pc:sldChg>
      <pc:sldChg chg="add del">
        <pc:chgData name="Saranya Sriram" userId="31246c95-b325-49bd-b9d7-da3f09848d21" providerId="ADAL" clId="{1257B7C5-6374-4E27-BB26-3A140873B03A}" dt="2021-11-02T02:56:36.937" v="540"/>
        <pc:sldMkLst>
          <pc:docMk/>
          <pc:sldMk cId="3337872262" sldId="684"/>
        </pc:sldMkLst>
      </pc:sldChg>
      <pc:sldChg chg="modSp add del mod ord">
        <pc:chgData name="Saranya Sriram" userId="31246c95-b325-49bd-b9d7-da3f09848d21" providerId="ADAL" clId="{1257B7C5-6374-4E27-BB26-3A140873B03A}" dt="2021-11-02T04:18:28.074" v="3431"/>
        <pc:sldMkLst>
          <pc:docMk/>
          <pc:sldMk cId="1420711863" sldId="685"/>
        </pc:sldMkLst>
        <pc:spChg chg="mod">
          <ac:chgData name="Saranya Sriram" userId="31246c95-b325-49bd-b9d7-da3f09848d21" providerId="ADAL" clId="{1257B7C5-6374-4E27-BB26-3A140873B03A}" dt="2021-11-02T04:17:51.184" v="3429" actId="20577"/>
          <ac:spMkLst>
            <pc:docMk/>
            <pc:sldMk cId="1420711863" sldId="685"/>
            <ac:spMk id="2" creationId="{00000000-0000-0000-0000-000000000000}"/>
          </ac:spMkLst>
        </pc:spChg>
        <pc:spChg chg="mod">
          <ac:chgData name="Saranya Sriram" userId="31246c95-b325-49bd-b9d7-da3f09848d21" providerId="ADAL" clId="{1257B7C5-6374-4E27-BB26-3A140873B03A}" dt="2021-11-02T03:45:33.782" v="1190" actId="20577"/>
          <ac:spMkLst>
            <pc:docMk/>
            <pc:sldMk cId="1420711863" sldId="685"/>
            <ac:spMk id="3" creationId="{00000000-0000-0000-0000-000000000000}"/>
          </ac:spMkLst>
        </pc:spChg>
      </pc:sldChg>
      <pc:sldChg chg="add del">
        <pc:chgData name="Saranya Sriram" userId="31246c95-b325-49bd-b9d7-da3f09848d21" providerId="ADAL" clId="{1257B7C5-6374-4E27-BB26-3A140873B03A}" dt="2021-11-02T02:29:03.751" v="339"/>
        <pc:sldMkLst>
          <pc:docMk/>
          <pc:sldMk cId="2364078140" sldId="687"/>
        </pc:sldMkLst>
      </pc:sldChg>
      <pc:sldChg chg="addSp delSp modSp add del mod setBg delDesignElem">
        <pc:chgData name="Saranya Sriram" userId="31246c95-b325-49bd-b9d7-da3f09848d21" providerId="ADAL" clId="{1257B7C5-6374-4E27-BB26-3A140873B03A}" dt="2021-11-02T02:24:33.878" v="318"/>
        <pc:sldMkLst>
          <pc:docMk/>
          <pc:sldMk cId="4231542655" sldId="4665"/>
        </pc:sldMkLst>
        <pc:spChg chg="mod">
          <ac:chgData name="Saranya Sriram" userId="31246c95-b325-49bd-b9d7-da3f09848d21" providerId="ADAL" clId="{1257B7C5-6374-4E27-BB26-3A140873B03A}" dt="2021-11-02T02:24:33.797" v="317"/>
          <ac:spMkLst>
            <pc:docMk/>
            <pc:sldMk cId="4231542655" sldId="4665"/>
            <ac:spMk id="3" creationId="{6336D665-E31A-4042-A0F3-FAA5FD057ED1}"/>
          </ac:spMkLst>
        </pc:spChg>
        <pc:spChg chg="add del">
          <ac:chgData name="Saranya Sriram" userId="31246c95-b325-49bd-b9d7-da3f09848d21" providerId="ADAL" clId="{1257B7C5-6374-4E27-BB26-3A140873B03A}" dt="2021-11-02T02:24:33.797" v="317"/>
          <ac:spMkLst>
            <pc:docMk/>
            <pc:sldMk cId="4231542655" sldId="4665"/>
            <ac:spMk id="10" creationId="{F64BBAA4-C62B-4146-B49F-FE4CC4655EE0}"/>
          </ac:spMkLst>
        </pc:spChg>
        <pc:spChg chg="add del">
          <ac:chgData name="Saranya Sriram" userId="31246c95-b325-49bd-b9d7-da3f09848d21" providerId="ADAL" clId="{1257B7C5-6374-4E27-BB26-3A140873B03A}" dt="2021-11-02T02:24:33.797" v="317"/>
          <ac:spMkLst>
            <pc:docMk/>
            <pc:sldMk cId="4231542655" sldId="4665"/>
            <ac:spMk id="14" creationId="{6BF36B24-6632-4516-9692-731462896C1F}"/>
          </ac:spMkLst>
        </pc:spChg>
        <pc:cxnChg chg="add del">
          <ac:chgData name="Saranya Sriram" userId="31246c95-b325-49bd-b9d7-da3f09848d21" providerId="ADAL" clId="{1257B7C5-6374-4E27-BB26-3A140873B03A}" dt="2021-11-02T02:24:33.797" v="317"/>
          <ac:cxnSpMkLst>
            <pc:docMk/>
            <pc:sldMk cId="4231542655" sldId="4665"/>
            <ac:cxnSpMk id="12" creationId="{EEB57AA8-F021-480C-A9E2-F89913313611}"/>
          </ac:cxnSpMkLst>
        </pc:cxnChg>
      </pc:sldChg>
      <pc:sldChg chg="add del">
        <pc:chgData name="Saranya Sriram" userId="31246c95-b325-49bd-b9d7-da3f09848d21" providerId="ADAL" clId="{1257B7C5-6374-4E27-BB26-3A140873B03A}" dt="2021-11-02T02:19:57.712" v="257" actId="47"/>
        <pc:sldMkLst>
          <pc:docMk/>
          <pc:sldMk cId="3146701650" sldId="4705"/>
        </pc:sldMkLst>
      </pc:sldChg>
      <pc:sldChg chg="add del">
        <pc:chgData name="Saranya Sriram" userId="31246c95-b325-49bd-b9d7-da3f09848d21" providerId="ADAL" clId="{1257B7C5-6374-4E27-BB26-3A140873B03A}" dt="2021-11-02T02:20:06.673" v="271" actId="47"/>
        <pc:sldMkLst>
          <pc:docMk/>
          <pc:sldMk cId="3025032986" sldId="4715"/>
        </pc:sldMkLst>
      </pc:sldChg>
      <pc:sldChg chg="add del">
        <pc:chgData name="Saranya Sriram" userId="31246c95-b325-49bd-b9d7-da3f09848d21" providerId="ADAL" clId="{1257B7C5-6374-4E27-BB26-3A140873B03A}" dt="2021-11-02T02:20:07.585" v="272" actId="47"/>
        <pc:sldMkLst>
          <pc:docMk/>
          <pc:sldMk cId="380010686" sldId="4720"/>
        </pc:sldMkLst>
      </pc:sldChg>
      <pc:sldChg chg="add del">
        <pc:chgData name="Saranya Sriram" userId="31246c95-b325-49bd-b9d7-da3f09848d21" providerId="ADAL" clId="{1257B7C5-6374-4E27-BB26-3A140873B03A}" dt="2021-11-02T02:20:08.423" v="273" actId="47"/>
        <pc:sldMkLst>
          <pc:docMk/>
          <pc:sldMk cId="4223367786" sldId="4721"/>
        </pc:sldMkLst>
      </pc:sldChg>
      <pc:sldChg chg="add del">
        <pc:chgData name="Saranya Sriram" userId="31246c95-b325-49bd-b9d7-da3f09848d21" providerId="ADAL" clId="{1257B7C5-6374-4E27-BB26-3A140873B03A}" dt="2021-11-02T02:20:08.989" v="274" actId="47"/>
        <pc:sldMkLst>
          <pc:docMk/>
          <pc:sldMk cId="3688089273" sldId="4722"/>
        </pc:sldMkLst>
      </pc:sldChg>
      <pc:sldChg chg="add del">
        <pc:chgData name="Saranya Sriram" userId="31246c95-b325-49bd-b9d7-da3f09848d21" providerId="ADAL" clId="{1257B7C5-6374-4E27-BB26-3A140873B03A}" dt="2021-11-02T02:20:09.930" v="275" actId="47"/>
        <pc:sldMkLst>
          <pc:docMk/>
          <pc:sldMk cId="1298098417" sldId="4724"/>
        </pc:sldMkLst>
      </pc:sldChg>
      <pc:sldChg chg="add del">
        <pc:chgData name="Saranya Sriram" userId="31246c95-b325-49bd-b9d7-da3f09848d21" providerId="ADAL" clId="{1257B7C5-6374-4E27-BB26-3A140873B03A}" dt="2021-11-02T02:20:10.930" v="276" actId="47"/>
        <pc:sldMkLst>
          <pc:docMk/>
          <pc:sldMk cId="2428915431" sldId="4725"/>
        </pc:sldMkLst>
      </pc:sldChg>
      <pc:sldChg chg="add del">
        <pc:chgData name="Saranya Sriram" userId="31246c95-b325-49bd-b9d7-da3f09848d21" providerId="ADAL" clId="{1257B7C5-6374-4E27-BB26-3A140873B03A}" dt="2021-11-02T02:20:12" v="277" actId="47"/>
        <pc:sldMkLst>
          <pc:docMk/>
          <pc:sldMk cId="1331748928" sldId="4726"/>
        </pc:sldMkLst>
      </pc:sldChg>
      <pc:sldChg chg="add del">
        <pc:chgData name="Saranya Sriram" userId="31246c95-b325-49bd-b9d7-da3f09848d21" providerId="ADAL" clId="{1257B7C5-6374-4E27-BB26-3A140873B03A}" dt="2021-11-02T02:20:12.826" v="278" actId="47"/>
        <pc:sldMkLst>
          <pc:docMk/>
          <pc:sldMk cId="362081352" sldId="4727"/>
        </pc:sldMkLst>
      </pc:sldChg>
      <pc:sldChg chg="add del">
        <pc:chgData name="Saranya Sriram" userId="31246c95-b325-49bd-b9d7-da3f09848d21" providerId="ADAL" clId="{1257B7C5-6374-4E27-BB26-3A140873B03A}" dt="2021-11-02T02:19:54.088" v="253" actId="47"/>
        <pc:sldMkLst>
          <pc:docMk/>
          <pc:sldMk cId="1780045770" sldId="4780"/>
        </pc:sldMkLst>
      </pc:sldChg>
      <pc:sldChg chg="add del">
        <pc:chgData name="Saranya Sriram" userId="31246c95-b325-49bd-b9d7-da3f09848d21" providerId="ADAL" clId="{1257B7C5-6374-4E27-BB26-3A140873B03A}" dt="2021-11-02T02:19:55.205" v="254" actId="47"/>
        <pc:sldMkLst>
          <pc:docMk/>
          <pc:sldMk cId="4017063525" sldId="4781"/>
        </pc:sldMkLst>
      </pc:sldChg>
      <pc:sldChg chg="add del">
        <pc:chgData name="Saranya Sriram" userId="31246c95-b325-49bd-b9d7-da3f09848d21" providerId="ADAL" clId="{1257B7C5-6374-4E27-BB26-3A140873B03A}" dt="2021-11-02T02:19:56.199" v="255" actId="47"/>
        <pc:sldMkLst>
          <pc:docMk/>
          <pc:sldMk cId="571292583" sldId="4783"/>
        </pc:sldMkLst>
      </pc:sldChg>
      <pc:sldChg chg="add del">
        <pc:chgData name="Saranya Sriram" userId="31246c95-b325-49bd-b9d7-da3f09848d21" providerId="ADAL" clId="{1257B7C5-6374-4E27-BB26-3A140873B03A}" dt="2021-11-02T02:19:56.939" v="256" actId="47"/>
        <pc:sldMkLst>
          <pc:docMk/>
          <pc:sldMk cId="3171096457" sldId="4794"/>
        </pc:sldMkLst>
      </pc:sldChg>
      <pc:sldChg chg="add del">
        <pc:chgData name="Saranya Sriram" userId="31246c95-b325-49bd-b9d7-da3f09848d21" providerId="ADAL" clId="{1257B7C5-6374-4E27-BB26-3A140873B03A}" dt="2021-11-02T02:20:13.883" v="279" actId="47"/>
        <pc:sldMkLst>
          <pc:docMk/>
          <pc:sldMk cId="726878980" sldId="4801"/>
        </pc:sldMkLst>
      </pc:sldChg>
      <pc:sldChg chg="del">
        <pc:chgData name="Saranya Sriram" userId="31246c95-b325-49bd-b9d7-da3f09848d21" providerId="ADAL" clId="{1257B7C5-6374-4E27-BB26-3A140873B03A}" dt="2021-11-02T03:18:09.489" v="785" actId="47"/>
        <pc:sldMkLst>
          <pc:docMk/>
          <pc:sldMk cId="3922814351" sldId="2076135794"/>
        </pc:sldMkLst>
      </pc:sldChg>
      <pc:sldChg chg="delSp modSp del mod">
        <pc:chgData name="Saranya Sriram" userId="31246c95-b325-49bd-b9d7-da3f09848d21" providerId="ADAL" clId="{1257B7C5-6374-4E27-BB26-3A140873B03A}" dt="2021-11-02T03:18:12.748" v="787" actId="47"/>
        <pc:sldMkLst>
          <pc:docMk/>
          <pc:sldMk cId="337677894" sldId="2076135795"/>
        </pc:sldMkLst>
        <pc:spChg chg="del mod">
          <ac:chgData name="Saranya Sriram" userId="31246c95-b325-49bd-b9d7-da3f09848d21" providerId="ADAL" clId="{1257B7C5-6374-4E27-BB26-3A140873B03A}" dt="2021-11-02T03:02:08.165" v="635" actId="478"/>
          <ac:spMkLst>
            <pc:docMk/>
            <pc:sldMk cId="337677894" sldId="2076135795"/>
            <ac:spMk id="10" creationId="{46338273-659B-4BE6-8CB2-D880A35AB60D}"/>
          </ac:spMkLst>
        </pc:spChg>
        <pc:spChg chg="mod">
          <ac:chgData name="Saranya Sriram" userId="31246c95-b325-49bd-b9d7-da3f09848d21" providerId="ADAL" clId="{1257B7C5-6374-4E27-BB26-3A140873B03A}" dt="2021-11-02T03:02:31.698" v="640" actId="14100"/>
          <ac:spMkLst>
            <pc:docMk/>
            <pc:sldMk cId="337677894" sldId="2076135795"/>
            <ac:spMk id="12" creationId="{68410213-2627-4B9C-924C-292F66A11726}"/>
          </ac:spMkLst>
        </pc:spChg>
      </pc:sldChg>
      <pc:sldChg chg="del ord">
        <pc:chgData name="Saranya Sriram" userId="31246c95-b325-49bd-b9d7-da3f09848d21" providerId="ADAL" clId="{1257B7C5-6374-4E27-BB26-3A140873B03A}" dt="2021-11-02T03:52:01.433" v="1389" actId="47"/>
        <pc:sldMkLst>
          <pc:docMk/>
          <pc:sldMk cId="3977912002" sldId="2076135800"/>
        </pc:sldMkLst>
      </pc:sldChg>
      <pc:sldChg chg="modSp mod">
        <pc:chgData name="Saranya Sriram" userId="31246c95-b325-49bd-b9d7-da3f09848d21" providerId="ADAL" clId="{1257B7C5-6374-4E27-BB26-3A140873B03A}" dt="2021-11-02T03:52:19.893" v="1410" actId="1076"/>
        <pc:sldMkLst>
          <pc:docMk/>
          <pc:sldMk cId="1061857128" sldId="2076135801"/>
        </pc:sldMkLst>
        <pc:spChg chg="mod">
          <ac:chgData name="Saranya Sriram" userId="31246c95-b325-49bd-b9d7-da3f09848d21" providerId="ADAL" clId="{1257B7C5-6374-4E27-BB26-3A140873B03A}" dt="2021-11-02T03:52:19.893" v="1410" actId="1076"/>
          <ac:spMkLst>
            <pc:docMk/>
            <pc:sldMk cId="1061857128" sldId="2076135801"/>
            <ac:spMk id="7" creationId="{9410CB4F-A4AF-4E3D-80D0-4DC253939513}"/>
          </ac:spMkLst>
        </pc:spChg>
      </pc:sldChg>
      <pc:sldChg chg="del">
        <pc:chgData name="Saranya Sriram" userId="31246c95-b325-49bd-b9d7-da3f09848d21" providerId="ADAL" clId="{1257B7C5-6374-4E27-BB26-3A140873B03A}" dt="2021-11-02T03:57:12.599" v="1909" actId="47"/>
        <pc:sldMkLst>
          <pc:docMk/>
          <pc:sldMk cId="4090897921" sldId="2076135802"/>
        </pc:sldMkLst>
      </pc:sldChg>
      <pc:sldChg chg="add del">
        <pc:chgData name="Saranya Sriram" userId="31246c95-b325-49bd-b9d7-da3f09848d21" providerId="ADAL" clId="{1257B7C5-6374-4E27-BB26-3A140873B03A}" dt="2021-11-02T02:20:16.424" v="280" actId="47"/>
        <pc:sldMkLst>
          <pc:docMk/>
          <pc:sldMk cId="122570106" sldId="2076136154"/>
        </pc:sldMkLst>
      </pc:sldChg>
      <pc:sldChg chg="add del">
        <pc:chgData name="Saranya Sriram" userId="31246c95-b325-49bd-b9d7-da3f09848d21" providerId="ADAL" clId="{1257B7C5-6374-4E27-BB26-3A140873B03A}" dt="2021-11-02T02:20:43.610" v="281" actId="47"/>
        <pc:sldMkLst>
          <pc:docMk/>
          <pc:sldMk cId="963421994" sldId="2076136155"/>
        </pc:sldMkLst>
      </pc:sldChg>
      <pc:sldChg chg="add del">
        <pc:chgData name="Saranya Sriram" userId="31246c95-b325-49bd-b9d7-da3f09848d21" providerId="ADAL" clId="{1257B7C5-6374-4E27-BB26-3A140873B03A}" dt="2021-11-02T02:21:18.061" v="286" actId="47"/>
        <pc:sldMkLst>
          <pc:docMk/>
          <pc:sldMk cId="1506202457" sldId="2076136161"/>
        </pc:sldMkLst>
      </pc:sldChg>
      <pc:sldChg chg="add del">
        <pc:chgData name="Saranya Sriram" userId="31246c95-b325-49bd-b9d7-da3f09848d21" providerId="ADAL" clId="{1257B7C5-6374-4E27-BB26-3A140873B03A}" dt="2021-11-02T02:21:29.837" v="294" actId="47"/>
        <pc:sldMkLst>
          <pc:docMk/>
          <pc:sldMk cId="2320437208" sldId="2076136174"/>
        </pc:sldMkLst>
      </pc:sldChg>
      <pc:sldChg chg="del">
        <pc:chgData name="Saranya Sriram" userId="31246c95-b325-49bd-b9d7-da3f09848d21" providerId="ADAL" clId="{1257B7C5-6374-4E27-BB26-3A140873B03A}" dt="2021-11-02T03:25:09.423" v="920" actId="47"/>
        <pc:sldMkLst>
          <pc:docMk/>
          <pc:sldMk cId="2507162414" sldId="2076136871"/>
        </pc:sldMkLst>
      </pc:sldChg>
      <pc:sldChg chg="del">
        <pc:chgData name="Saranya Sriram" userId="31246c95-b325-49bd-b9d7-da3f09848d21" providerId="ADAL" clId="{1257B7C5-6374-4E27-BB26-3A140873B03A}" dt="2021-11-02T03:21:37.256" v="850" actId="47"/>
        <pc:sldMkLst>
          <pc:docMk/>
          <pc:sldMk cId="959542615" sldId="2076136872"/>
        </pc:sldMkLst>
      </pc:sldChg>
      <pc:sldChg chg="modSp mod ord">
        <pc:chgData name="Saranya Sriram" userId="31246c95-b325-49bd-b9d7-da3f09848d21" providerId="ADAL" clId="{1257B7C5-6374-4E27-BB26-3A140873B03A}" dt="2021-11-02T03:59:06.537" v="2085" actId="20577"/>
        <pc:sldMkLst>
          <pc:docMk/>
          <pc:sldMk cId="118316240" sldId="2076136873"/>
        </pc:sldMkLst>
        <pc:spChg chg="mod">
          <ac:chgData name="Saranya Sriram" userId="31246c95-b325-49bd-b9d7-da3f09848d21" providerId="ADAL" clId="{1257B7C5-6374-4E27-BB26-3A140873B03A}" dt="2021-11-02T03:56:45.788" v="1903" actId="20577"/>
          <ac:spMkLst>
            <pc:docMk/>
            <pc:sldMk cId="118316240" sldId="2076136873"/>
            <ac:spMk id="3" creationId="{A3FC531D-0387-4108-AB53-1C8200874C02}"/>
          </ac:spMkLst>
        </pc:spChg>
        <pc:spChg chg="mod">
          <ac:chgData name="Saranya Sriram" userId="31246c95-b325-49bd-b9d7-da3f09848d21" providerId="ADAL" clId="{1257B7C5-6374-4E27-BB26-3A140873B03A}" dt="2021-11-02T03:59:06.537" v="2085" actId="20577"/>
          <ac:spMkLst>
            <pc:docMk/>
            <pc:sldMk cId="118316240" sldId="2076136873"/>
            <ac:spMk id="4" creationId="{826A531D-5D57-4809-980D-F5B53B2298A2}"/>
          </ac:spMkLst>
        </pc:spChg>
      </pc:sldChg>
      <pc:sldChg chg="del">
        <pc:chgData name="Saranya Sriram" userId="31246c95-b325-49bd-b9d7-da3f09848d21" providerId="ADAL" clId="{1257B7C5-6374-4E27-BB26-3A140873B03A}" dt="2021-11-02T03:52:06.901" v="1390" actId="47"/>
        <pc:sldMkLst>
          <pc:docMk/>
          <pc:sldMk cId="2986308868" sldId="2076136882"/>
        </pc:sldMkLst>
      </pc:sldChg>
      <pc:sldChg chg="modSp add del mod">
        <pc:chgData name="Saranya Sriram" userId="31246c95-b325-49bd-b9d7-da3f09848d21" providerId="ADAL" clId="{1257B7C5-6374-4E27-BB26-3A140873B03A}" dt="2021-11-02T02:17:00.123" v="102"/>
        <pc:sldMkLst>
          <pc:docMk/>
          <pc:sldMk cId="3064312200" sldId="2076137265"/>
        </pc:sldMkLst>
        <pc:spChg chg="mod">
          <ac:chgData name="Saranya Sriram" userId="31246c95-b325-49bd-b9d7-da3f09848d21" providerId="ADAL" clId="{1257B7C5-6374-4E27-BB26-3A140873B03A}" dt="2021-11-02T02:13:07.955" v="100" actId="207"/>
          <ac:spMkLst>
            <pc:docMk/>
            <pc:sldMk cId="3064312200" sldId="2076137265"/>
            <ac:spMk id="3" creationId="{07526BE0-943C-4628-B5AA-AA022484E825}"/>
          </ac:spMkLst>
        </pc:spChg>
      </pc:sldChg>
      <pc:sldChg chg="add del">
        <pc:chgData name="Saranya Sriram" userId="31246c95-b325-49bd-b9d7-da3f09848d21" providerId="ADAL" clId="{1257B7C5-6374-4E27-BB26-3A140873B03A}" dt="2021-11-02T02:17:00.123" v="102"/>
        <pc:sldMkLst>
          <pc:docMk/>
          <pc:sldMk cId="3505181742" sldId="2076137598"/>
        </pc:sldMkLst>
      </pc:sldChg>
      <pc:sldChg chg="add del">
        <pc:chgData name="Saranya Sriram" userId="31246c95-b325-49bd-b9d7-da3f09848d21" providerId="ADAL" clId="{1257B7C5-6374-4E27-BB26-3A140873B03A}" dt="2021-11-02T02:17:00.123" v="102"/>
        <pc:sldMkLst>
          <pc:docMk/>
          <pc:sldMk cId="104491706" sldId="2076137599"/>
        </pc:sldMkLst>
      </pc:sldChg>
      <pc:sldChg chg="add del">
        <pc:chgData name="Saranya Sriram" userId="31246c95-b325-49bd-b9d7-da3f09848d21" providerId="ADAL" clId="{1257B7C5-6374-4E27-BB26-3A140873B03A}" dt="2021-11-02T02:17:00.123" v="102"/>
        <pc:sldMkLst>
          <pc:docMk/>
          <pc:sldMk cId="52749444" sldId="2076137600"/>
        </pc:sldMkLst>
      </pc:sldChg>
      <pc:sldChg chg="add del">
        <pc:chgData name="Saranya Sriram" userId="31246c95-b325-49bd-b9d7-da3f09848d21" providerId="ADAL" clId="{1257B7C5-6374-4E27-BB26-3A140873B03A}" dt="2021-11-02T02:17:00.123" v="102"/>
        <pc:sldMkLst>
          <pc:docMk/>
          <pc:sldMk cId="1695546684" sldId="2076137601"/>
        </pc:sldMkLst>
      </pc:sldChg>
      <pc:sldChg chg="modSp add del mod">
        <pc:chgData name="Saranya Sriram" userId="31246c95-b325-49bd-b9d7-da3f09848d21" providerId="ADAL" clId="{1257B7C5-6374-4E27-BB26-3A140873B03A}" dt="2021-11-02T02:18:57.269" v="251" actId="20577"/>
        <pc:sldMkLst>
          <pc:docMk/>
          <pc:sldMk cId="3533915026" sldId="2076137690"/>
        </pc:sldMkLst>
        <pc:spChg chg="mod">
          <ac:chgData name="Saranya Sriram" userId="31246c95-b325-49bd-b9d7-da3f09848d21" providerId="ADAL" clId="{1257B7C5-6374-4E27-BB26-3A140873B03A}" dt="2021-11-02T02:18:57.269" v="251" actId="20577"/>
          <ac:spMkLst>
            <pc:docMk/>
            <pc:sldMk cId="3533915026" sldId="2076137690"/>
            <ac:spMk id="3" creationId="{83E262E4-F619-4C2C-B70F-70014EB31B88}"/>
          </ac:spMkLst>
        </pc:spChg>
      </pc:sldChg>
      <pc:sldChg chg="add del">
        <pc:chgData name="Saranya Sriram" userId="31246c95-b325-49bd-b9d7-da3f09848d21" providerId="ADAL" clId="{1257B7C5-6374-4E27-BB26-3A140873B03A}" dt="2021-11-02T02:19:58.917" v="258" actId="47"/>
        <pc:sldMkLst>
          <pc:docMk/>
          <pc:sldMk cId="2946715299" sldId="2076137697"/>
        </pc:sldMkLst>
      </pc:sldChg>
      <pc:sldChg chg="add del ord">
        <pc:chgData name="Saranya Sriram" userId="31246c95-b325-49bd-b9d7-da3f09848d21" providerId="ADAL" clId="{1257B7C5-6374-4E27-BB26-3A140873B03A}" dt="2021-11-02T03:50:51.538" v="1345" actId="2696"/>
        <pc:sldMkLst>
          <pc:docMk/>
          <pc:sldMk cId="100013460" sldId="2076137734"/>
        </pc:sldMkLst>
      </pc:sldChg>
      <pc:sldChg chg="add del ord">
        <pc:chgData name="Saranya Sriram" userId="31246c95-b325-49bd-b9d7-da3f09848d21" providerId="ADAL" clId="{1257B7C5-6374-4E27-BB26-3A140873B03A}" dt="2021-11-02T03:56:58.492" v="1905" actId="47"/>
        <pc:sldMkLst>
          <pc:docMk/>
          <pc:sldMk cId="3606521377" sldId="2076137734"/>
        </pc:sldMkLst>
      </pc:sldChg>
      <pc:sldChg chg="add del">
        <pc:chgData name="Saranya Sriram" userId="31246c95-b325-49bd-b9d7-da3f09848d21" providerId="ADAL" clId="{1257B7C5-6374-4E27-BB26-3A140873B03A}" dt="2021-11-02T02:21:57.048" v="312" actId="47"/>
        <pc:sldMkLst>
          <pc:docMk/>
          <pc:sldMk cId="3463050263" sldId="2076137736"/>
        </pc:sldMkLst>
      </pc:sldChg>
      <pc:sldChg chg="add del">
        <pc:chgData name="Saranya Sriram" userId="31246c95-b325-49bd-b9d7-da3f09848d21" providerId="ADAL" clId="{1257B7C5-6374-4E27-BB26-3A140873B03A}" dt="2021-11-02T02:19:53.521" v="252" actId="47"/>
        <pc:sldMkLst>
          <pc:docMk/>
          <pc:sldMk cId="3669144735" sldId="2076137740"/>
        </pc:sldMkLst>
      </pc:sldChg>
      <pc:sldChg chg="add del">
        <pc:chgData name="Saranya Sriram" userId="31246c95-b325-49bd-b9d7-da3f09848d21" providerId="ADAL" clId="{1257B7C5-6374-4E27-BB26-3A140873B03A}" dt="2021-11-02T02:21:24.529" v="290" actId="47"/>
        <pc:sldMkLst>
          <pc:docMk/>
          <pc:sldMk cId="3184025796" sldId="2076137751"/>
        </pc:sldMkLst>
      </pc:sldChg>
      <pc:sldChg chg="modSp add del mod">
        <pc:chgData name="Saranya Sriram" userId="31246c95-b325-49bd-b9d7-da3f09848d21" providerId="ADAL" clId="{1257B7C5-6374-4E27-BB26-3A140873B03A}" dt="2021-11-02T02:18:39.852" v="248" actId="14100"/>
        <pc:sldMkLst>
          <pc:docMk/>
          <pc:sldMk cId="1687055591" sldId="2076137765"/>
        </pc:sldMkLst>
        <pc:spChg chg="mod">
          <ac:chgData name="Saranya Sriram" userId="31246c95-b325-49bd-b9d7-da3f09848d21" providerId="ADAL" clId="{1257B7C5-6374-4E27-BB26-3A140873B03A}" dt="2021-11-02T02:18:39.852" v="248" actId="14100"/>
          <ac:spMkLst>
            <pc:docMk/>
            <pc:sldMk cId="1687055591" sldId="2076137765"/>
            <ac:spMk id="2" creationId="{49B048C3-B9D4-4691-959E-5DADD95C68D9}"/>
          </ac:spMkLst>
        </pc:spChg>
        <pc:spChg chg="mod">
          <ac:chgData name="Saranya Sriram" userId="31246c95-b325-49bd-b9d7-da3f09848d21" providerId="ADAL" clId="{1257B7C5-6374-4E27-BB26-3A140873B03A}" dt="2021-11-02T02:18:31.115" v="239" actId="6549"/>
          <ac:spMkLst>
            <pc:docMk/>
            <pc:sldMk cId="1687055591" sldId="2076137765"/>
            <ac:spMk id="3" creationId="{83E262E4-F619-4C2C-B70F-70014EB31B88}"/>
          </ac:spMkLst>
        </pc:spChg>
      </pc:sldChg>
      <pc:sldChg chg="delSp add del mod">
        <pc:chgData name="Saranya Sriram" userId="31246c95-b325-49bd-b9d7-da3f09848d21" providerId="ADAL" clId="{1257B7C5-6374-4E27-BB26-3A140873B03A}" dt="2021-11-02T03:18:10.488" v="786" actId="47"/>
        <pc:sldMkLst>
          <pc:docMk/>
          <pc:sldMk cId="899986653" sldId="2076137771"/>
        </pc:sldMkLst>
        <pc:picChg chg="del">
          <ac:chgData name="Saranya Sriram" userId="31246c95-b325-49bd-b9d7-da3f09848d21" providerId="ADAL" clId="{1257B7C5-6374-4E27-BB26-3A140873B03A}" dt="2021-11-02T03:07:08.323" v="748" actId="478"/>
          <ac:picMkLst>
            <pc:docMk/>
            <pc:sldMk cId="899986653" sldId="2076137771"/>
            <ac:picMk id="11" creationId="{82BBD57C-BE2F-4DBC-B0E6-065035632F05}"/>
          </ac:picMkLst>
        </pc:picChg>
      </pc:sldChg>
      <pc:sldChg chg="add del">
        <pc:chgData name="Saranya Sriram" userId="31246c95-b325-49bd-b9d7-da3f09848d21" providerId="ADAL" clId="{1257B7C5-6374-4E27-BB26-3A140873B03A}" dt="2021-11-02T02:20:00.997" v="260" actId="47"/>
        <pc:sldMkLst>
          <pc:docMk/>
          <pc:sldMk cId="1799036147" sldId="2076137774"/>
        </pc:sldMkLst>
      </pc:sldChg>
      <pc:sldChg chg="add del">
        <pc:chgData name="Saranya Sriram" userId="31246c95-b325-49bd-b9d7-da3f09848d21" providerId="ADAL" clId="{1257B7C5-6374-4E27-BB26-3A140873B03A}" dt="2021-11-02T02:20:02.140" v="262" actId="47"/>
        <pc:sldMkLst>
          <pc:docMk/>
          <pc:sldMk cId="3015557153" sldId="2076137775"/>
        </pc:sldMkLst>
      </pc:sldChg>
      <pc:sldChg chg="add del">
        <pc:chgData name="Saranya Sriram" userId="31246c95-b325-49bd-b9d7-da3f09848d21" providerId="ADAL" clId="{1257B7C5-6374-4E27-BB26-3A140873B03A}" dt="2021-11-02T02:20:02.740" v="263" actId="47"/>
        <pc:sldMkLst>
          <pc:docMk/>
          <pc:sldMk cId="1399801793" sldId="2076137776"/>
        </pc:sldMkLst>
      </pc:sldChg>
      <pc:sldChg chg="add del">
        <pc:chgData name="Saranya Sriram" userId="31246c95-b325-49bd-b9d7-da3f09848d21" providerId="ADAL" clId="{1257B7C5-6374-4E27-BB26-3A140873B03A}" dt="2021-11-02T02:20:03.176" v="264" actId="47"/>
        <pc:sldMkLst>
          <pc:docMk/>
          <pc:sldMk cId="9366240" sldId="2076137777"/>
        </pc:sldMkLst>
      </pc:sldChg>
      <pc:sldChg chg="add del">
        <pc:chgData name="Saranya Sriram" userId="31246c95-b325-49bd-b9d7-da3f09848d21" providerId="ADAL" clId="{1257B7C5-6374-4E27-BB26-3A140873B03A}" dt="2021-11-02T02:20:03.545" v="265" actId="47"/>
        <pc:sldMkLst>
          <pc:docMk/>
          <pc:sldMk cId="1921759709" sldId="2076137778"/>
        </pc:sldMkLst>
      </pc:sldChg>
      <pc:sldChg chg="add del">
        <pc:chgData name="Saranya Sriram" userId="31246c95-b325-49bd-b9d7-da3f09848d21" providerId="ADAL" clId="{1257B7C5-6374-4E27-BB26-3A140873B03A}" dt="2021-11-02T02:20:03.923" v="266" actId="47"/>
        <pc:sldMkLst>
          <pc:docMk/>
          <pc:sldMk cId="3310262553" sldId="2076137779"/>
        </pc:sldMkLst>
      </pc:sldChg>
      <pc:sldChg chg="add del">
        <pc:chgData name="Saranya Sriram" userId="31246c95-b325-49bd-b9d7-da3f09848d21" providerId="ADAL" clId="{1257B7C5-6374-4E27-BB26-3A140873B03A}" dt="2021-11-02T02:20:04.306" v="267" actId="47"/>
        <pc:sldMkLst>
          <pc:docMk/>
          <pc:sldMk cId="2158976260" sldId="2076137780"/>
        </pc:sldMkLst>
      </pc:sldChg>
      <pc:sldChg chg="add del">
        <pc:chgData name="Saranya Sriram" userId="31246c95-b325-49bd-b9d7-da3f09848d21" providerId="ADAL" clId="{1257B7C5-6374-4E27-BB26-3A140873B03A}" dt="2021-11-02T02:20:04.844" v="268" actId="47"/>
        <pc:sldMkLst>
          <pc:docMk/>
          <pc:sldMk cId="3693050947" sldId="2076137781"/>
        </pc:sldMkLst>
      </pc:sldChg>
      <pc:sldChg chg="add del">
        <pc:chgData name="Saranya Sriram" userId="31246c95-b325-49bd-b9d7-da3f09848d21" providerId="ADAL" clId="{1257B7C5-6374-4E27-BB26-3A140873B03A}" dt="2021-11-02T02:20:05.353" v="269" actId="47"/>
        <pc:sldMkLst>
          <pc:docMk/>
          <pc:sldMk cId="3253468161" sldId="2076137782"/>
        </pc:sldMkLst>
      </pc:sldChg>
      <pc:sldChg chg="add del">
        <pc:chgData name="Saranya Sriram" userId="31246c95-b325-49bd-b9d7-da3f09848d21" providerId="ADAL" clId="{1257B7C5-6374-4E27-BB26-3A140873B03A}" dt="2021-11-02T02:20:05.829" v="270" actId="47"/>
        <pc:sldMkLst>
          <pc:docMk/>
          <pc:sldMk cId="3470637038" sldId="2076137783"/>
        </pc:sldMkLst>
      </pc:sldChg>
      <pc:sldChg chg="add del">
        <pc:chgData name="Saranya Sriram" userId="31246c95-b325-49bd-b9d7-da3f09848d21" providerId="ADAL" clId="{1257B7C5-6374-4E27-BB26-3A140873B03A}" dt="2021-11-02T02:21:34.697" v="298" actId="47"/>
        <pc:sldMkLst>
          <pc:docMk/>
          <pc:sldMk cId="1653688872" sldId="2076137784"/>
        </pc:sldMkLst>
      </pc:sldChg>
      <pc:sldChg chg="add del">
        <pc:chgData name="Saranya Sriram" userId="31246c95-b325-49bd-b9d7-da3f09848d21" providerId="ADAL" clId="{1257B7C5-6374-4E27-BB26-3A140873B03A}" dt="2021-11-02T02:21:33.532" v="297" actId="47"/>
        <pc:sldMkLst>
          <pc:docMk/>
          <pc:sldMk cId="1882636437" sldId="2076137786"/>
        </pc:sldMkLst>
      </pc:sldChg>
      <pc:sldChg chg="add del">
        <pc:chgData name="Saranya Sriram" userId="31246c95-b325-49bd-b9d7-da3f09848d21" providerId="ADAL" clId="{1257B7C5-6374-4E27-BB26-3A140873B03A}" dt="2021-11-02T02:20:44.379" v="282" actId="47"/>
        <pc:sldMkLst>
          <pc:docMk/>
          <pc:sldMk cId="2055465963" sldId="2076137836"/>
        </pc:sldMkLst>
      </pc:sldChg>
      <pc:sldChg chg="add del">
        <pc:chgData name="Saranya Sriram" userId="31246c95-b325-49bd-b9d7-da3f09848d21" providerId="ADAL" clId="{1257B7C5-6374-4E27-BB26-3A140873B03A}" dt="2021-11-02T02:20:44.859" v="283" actId="47"/>
        <pc:sldMkLst>
          <pc:docMk/>
          <pc:sldMk cId="3893339736" sldId="2076137837"/>
        </pc:sldMkLst>
      </pc:sldChg>
      <pc:sldChg chg="add del">
        <pc:chgData name="Saranya Sriram" userId="31246c95-b325-49bd-b9d7-da3f09848d21" providerId="ADAL" clId="{1257B7C5-6374-4E27-BB26-3A140873B03A}" dt="2021-11-02T02:20:45.613" v="284" actId="47"/>
        <pc:sldMkLst>
          <pc:docMk/>
          <pc:sldMk cId="998956596" sldId="2076137838"/>
        </pc:sldMkLst>
      </pc:sldChg>
      <pc:sldChg chg="add del">
        <pc:chgData name="Saranya Sriram" userId="31246c95-b325-49bd-b9d7-da3f09848d21" providerId="ADAL" clId="{1257B7C5-6374-4E27-BB26-3A140873B03A}" dt="2021-11-02T02:20:50.599" v="285" actId="47"/>
        <pc:sldMkLst>
          <pc:docMk/>
          <pc:sldMk cId="869590050" sldId="2076137839"/>
        </pc:sldMkLst>
      </pc:sldChg>
      <pc:sldChg chg="add del">
        <pc:chgData name="Saranya Sriram" userId="31246c95-b325-49bd-b9d7-da3f09848d21" providerId="ADAL" clId="{1257B7C5-6374-4E27-BB26-3A140873B03A}" dt="2021-11-02T02:21:18.978" v="287" actId="47"/>
        <pc:sldMkLst>
          <pc:docMk/>
          <pc:sldMk cId="3800002341" sldId="2076137840"/>
        </pc:sldMkLst>
      </pc:sldChg>
      <pc:sldChg chg="add del">
        <pc:chgData name="Saranya Sriram" userId="31246c95-b325-49bd-b9d7-da3f09848d21" providerId="ADAL" clId="{1257B7C5-6374-4E27-BB26-3A140873B03A}" dt="2021-11-02T02:21:20.195" v="288" actId="47"/>
        <pc:sldMkLst>
          <pc:docMk/>
          <pc:sldMk cId="669104700" sldId="2076137841"/>
        </pc:sldMkLst>
      </pc:sldChg>
      <pc:sldChg chg="add del">
        <pc:chgData name="Saranya Sriram" userId="31246c95-b325-49bd-b9d7-da3f09848d21" providerId="ADAL" clId="{1257B7C5-6374-4E27-BB26-3A140873B03A}" dt="2021-11-02T02:21:21.790" v="289" actId="47"/>
        <pc:sldMkLst>
          <pc:docMk/>
          <pc:sldMk cId="4272901572" sldId="2076137843"/>
        </pc:sldMkLst>
      </pc:sldChg>
      <pc:sldChg chg="add del">
        <pc:chgData name="Saranya Sriram" userId="31246c95-b325-49bd-b9d7-da3f09848d21" providerId="ADAL" clId="{1257B7C5-6374-4E27-BB26-3A140873B03A}" dt="2021-11-02T02:21:26.318" v="291" actId="47"/>
        <pc:sldMkLst>
          <pc:docMk/>
          <pc:sldMk cId="849309580" sldId="2076137844"/>
        </pc:sldMkLst>
      </pc:sldChg>
      <pc:sldChg chg="add del">
        <pc:chgData name="Saranya Sriram" userId="31246c95-b325-49bd-b9d7-da3f09848d21" providerId="ADAL" clId="{1257B7C5-6374-4E27-BB26-3A140873B03A}" dt="2021-11-02T02:21:27.098" v="292" actId="47"/>
        <pc:sldMkLst>
          <pc:docMk/>
          <pc:sldMk cId="2850084901" sldId="2076137845"/>
        </pc:sldMkLst>
      </pc:sldChg>
      <pc:sldChg chg="add del">
        <pc:chgData name="Saranya Sriram" userId="31246c95-b325-49bd-b9d7-da3f09848d21" providerId="ADAL" clId="{1257B7C5-6374-4E27-BB26-3A140873B03A}" dt="2021-11-02T02:21:28.199" v="293" actId="47"/>
        <pc:sldMkLst>
          <pc:docMk/>
          <pc:sldMk cId="476913380" sldId="2076137846"/>
        </pc:sldMkLst>
      </pc:sldChg>
      <pc:sldChg chg="add del">
        <pc:chgData name="Saranya Sriram" userId="31246c95-b325-49bd-b9d7-da3f09848d21" providerId="ADAL" clId="{1257B7C5-6374-4E27-BB26-3A140873B03A}" dt="2021-11-02T03:51:12.280" v="1348" actId="47"/>
        <pc:sldMkLst>
          <pc:docMk/>
          <pc:sldMk cId="1738298456" sldId="2076137847"/>
        </pc:sldMkLst>
      </pc:sldChg>
      <pc:sldChg chg="add del">
        <pc:chgData name="Saranya Sriram" userId="31246c95-b325-49bd-b9d7-da3f09848d21" providerId="ADAL" clId="{1257B7C5-6374-4E27-BB26-3A140873B03A}" dt="2021-11-02T03:51:10.381" v="1347" actId="47"/>
        <pc:sldMkLst>
          <pc:docMk/>
          <pc:sldMk cId="1564604113" sldId="2076137848"/>
        </pc:sldMkLst>
      </pc:sldChg>
      <pc:sldChg chg="add del">
        <pc:chgData name="Saranya Sriram" userId="31246c95-b325-49bd-b9d7-da3f09848d21" providerId="ADAL" clId="{1257B7C5-6374-4E27-BB26-3A140873B03A}" dt="2021-11-02T03:51:10.381" v="1347" actId="47"/>
        <pc:sldMkLst>
          <pc:docMk/>
          <pc:sldMk cId="1769579037" sldId="2076137849"/>
        </pc:sldMkLst>
      </pc:sldChg>
      <pc:sldChg chg="add del">
        <pc:chgData name="Saranya Sriram" userId="31246c95-b325-49bd-b9d7-da3f09848d21" providerId="ADAL" clId="{1257B7C5-6374-4E27-BB26-3A140873B03A}" dt="2021-11-02T02:29:03.669" v="338"/>
        <pc:sldMkLst>
          <pc:docMk/>
          <pc:sldMk cId="332003695" sldId="2076137850"/>
        </pc:sldMkLst>
      </pc:sldChg>
      <pc:sldChg chg="add del">
        <pc:chgData name="Saranya Sriram" userId="31246c95-b325-49bd-b9d7-da3f09848d21" providerId="ADAL" clId="{1257B7C5-6374-4E27-BB26-3A140873B03A}" dt="2021-11-02T03:45:50.159" v="1191" actId="47"/>
        <pc:sldMkLst>
          <pc:docMk/>
          <pc:sldMk cId="2193245359" sldId="2076137850"/>
        </pc:sldMkLst>
      </pc:sldChg>
      <pc:sldChg chg="add del">
        <pc:chgData name="Saranya Sriram" userId="31246c95-b325-49bd-b9d7-da3f09848d21" providerId="ADAL" clId="{1257B7C5-6374-4E27-BB26-3A140873B03A}" dt="2021-11-02T02:21:37.613" v="300" actId="47"/>
        <pc:sldMkLst>
          <pc:docMk/>
          <pc:sldMk cId="3871975859" sldId="2076137851"/>
        </pc:sldMkLst>
      </pc:sldChg>
      <pc:sldChg chg="add del">
        <pc:chgData name="Saranya Sriram" userId="31246c95-b325-49bd-b9d7-da3f09848d21" providerId="ADAL" clId="{1257B7C5-6374-4E27-BB26-3A140873B03A}" dt="2021-11-02T02:21:38.632" v="301" actId="47"/>
        <pc:sldMkLst>
          <pc:docMk/>
          <pc:sldMk cId="4106070445" sldId="2076137852"/>
        </pc:sldMkLst>
      </pc:sldChg>
      <pc:sldChg chg="add del">
        <pc:chgData name="Saranya Sriram" userId="31246c95-b325-49bd-b9d7-da3f09848d21" providerId="ADAL" clId="{1257B7C5-6374-4E27-BB26-3A140873B03A}" dt="2021-11-02T02:21:39.485" v="302" actId="47"/>
        <pc:sldMkLst>
          <pc:docMk/>
          <pc:sldMk cId="2789732370" sldId="2076137853"/>
        </pc:sldMkLst>
      </pc:sldChg>
      <pc:sldChg chg="add del">
        <pc:chgData name="Saranya Sriram" userId="31246c95-b325-49bd-b9d7-da3f09848d21" providerId="ADAL" clId="{1257B7C5-6374-4E27-BB26-3A140873B03A}" dt="2021-11-02T02:21:40.210" v="303" actId="47"/>
        <pc:sldMkLst>
          <pc:docMk/>
          <pc:sldMk cId="4061126162" sldId="2076137854"/>
        </pc:sldMkLst>
      </pc:sldChg>
      <pc:sldChg chg="add del">
        <pc:chgData name="Saranya Sriram" userId="31246c95-b325-49bd-b9d7-da3f09848d21" providerId="ADAL" clId="{1257B7C5-6374-4E27-BB26-3A140873B03A}" dt="2021-11-02T02:21:41.088" v="304" actId="47"/>
        <pc:sldMkLst>
          <pc:docMk/>
          <pc:sldMk cId="406563676" sldId="2076137856"/>
        </pc:sldMkLst>
      </pc:sldChg>
      <pc:sldChg chg="add del">
        <pc:chgData name="Saranya Sriram" userId="31246c95-b325-49bd-b9d7-da3f09848d21" providerId="ADAL" clId="{1257B7C5-6374-4E27-BB26-3A140873B03A}" dt="2021-11-02T02:21:41.814" v="305" actId="47"/>
        <pc:sldMkLst>
          <pc:docMk/>
          <pc:sldMk cId="2105139608" sldId="2076137857"/>
        </pc:sldMkLst>
      </pc:sldChg>
      <pc:sldChg chg="add del">
        <pc:chgData name="Saranya Sriram" userId="31246c95-b325-49bd-b9d7-da3f09848d21" providerId="ADAL" clId="{1257B7C5-6374-4E27-BB26-3A140873B03A}" dt="2021-11-02T02:21:42.707" v="306" actId="47"/>
        <pc:sldMkLst>
          <pc:docMk/>
          <pc:sldMk cId="2811310328" sldId="2076137858"/>
        </pc:sldMkLst>
      </pc:sldChg>
      <pc:sldChg chg="add del">
        <pc:chgData name="Saranya Sriram" userId="31246c95-b325-49bd-b9d7-da3f09848d21" providerId="ADAL" clId="{1257B7C5-6374-4E27-BB26-3A140873B03A}" dt="2021-11-02T02:21:43.147" v="307" actId="47"/>
        <pc:sldMkLst>
          <pc:docMk/>
          <pc:sldMk cId="2785143035" sldId="2076137859"/>
        </pc:sldMkLst>
      </pc:sldChg>
      <pc:sldChg chg="add del">
        <pc:chgData name="Saranya Sriram" userId="31246c95-b325-49bd-b9d7-da3f09848d21" providerId="ADAL" clId="{1257B7C5-6374-4E27-BB26-3A140873B03A}" dt="2021-11-02T02:21:43.875" v="308" actId="47"/>
        <pc:sldMkLst>
          <pc:docMk/>
          <pc:sldMk cId="4238602621" sldId="2076137860"/>
        </pc:sldMkLst>
      </pc:sldChg>
      <pc:sldChg chg="add del">
        <pc:chgData name="Saranya Sriram" userId="31246c95-b325-49bd-b9d7-da3f09848d21" providerId="ADAL" clId="{1257B7C5-6374-4E27-BB26-3A140873B03A}" dt="2021-11-02T02:21:44.564" v="309" actId="47"/>
        <pc:sldMkLst>
          <pc:docMk/>
          <pc:sldMk cId="2516367760" sldId="2076137861"/>
        </pc:sldMkLst>
      </pc:sldChg>
      <pc:sldChg chg="add del">
        <pc:chgData name="Saranya Sriram" userId="31246c95-b325-49bd-b9d7-da3f09848d21" providerId="ADAL" clId="{1257B7C5-6374-4E27-BB26-3A140873B03A}" dt="2021-11-02T02:21:45.296" v="310" actId="47"/>
        <pc:sldMkLst>
          <pc:docMk/>
          <pc:sldMk cId="1371457213" sldId="2076137862"/>
        </pc:sldMkLst>
      </pc:sldChg>
      <pc:sldChg chg="add del">
        <pc:chgData name="Saranya Sriram" userId="31246c95-b325-49bd-b9d7-da3f09848d21" providerId="ADAL" clId="{1257B7C5-6374-4E27-BB26-3A140873B03A}" dt="2021-11-02T02:21:46.283" v="311" actId="47"/>
        <pc:sldMkLst>
          <pc:docMk/>
          <pc:sldMk cId="4033225050" sldId="2076137863"/>
        </pc:sldMkLst>
      </pc:sldChg>
      <pc:sldChg chg="add del">
        <pc:chgData name="Saranya Sriram" userId="31246c95-b325-49bd-b9d7-da3f09848d21" providerId="ADAL" clId="{1257B7C5-6374-4E27-BB26-3A140873B03A}" dt="2021-11-02T02:21:36" v="299" actId="47"/>
        <pc:sldMkLst>
          <pc:docMk/>
          <pc:sldMk cId="1050109054" sldId="2076137864"/>
        </pc:sldMkLst>
      </pc:sldChg>
      <pc:sldChg chg="add del">
        <pc:chgData name="Saranya Sriram" userId="31246c95-b325-49bd-b9d7-da3f09848d21" providerId="ADAL" clId="{1257B7C5-6374-4E27-BB26-3A140873B03A}" dt="2021-11-02T02:21:32.318" v="295" actId="47"/>
        <pc:sldMkLst>
          <pc:docMk/>
          <pc:sldMk cId="3964228008" sldId="2076137865"/>
        </pc:sldMkLst>
      </pc:sldChg>
      <pc:sldChg chg="add del">
        <pc:chgData name="Saranya Sriram" userId="31246c95-b325-49bd-b9d7-da3f09848d21" providerId="ADAL" clId="{1257B7C5-6374-4E27-BB26-3A140873B03A}" dt="2021-11-02T02:21:32.929" v="296" actId="47"/>
        <pc:sldMkLst>
          <pc:docMk/>
          <pc:sldMk cId="3929698236" sldId="2076137866"/>
        </pc:sldMkLst>
      </pc:sldChg>
      <pc:sldChg chg="add del">
        <pc:chgData name="Saranya Sriram" userId="31246c95-b325-49bd-b9d7-da3f09848d21" providerId="ADAL" clId="{1257B7C5-6374-4E27-BB26-3A140873B03A}" dt="2021-11-02T02:51:31.046" v="423"/>
        <pc:sldMkLst>
          <pc:docMk/>
          <pc:sldMk cId="279288700" sldId="2134804850"/>
        </pc:sldMkLst>
      </pc:sldChg>
      <pc:sldChg chg="add del">
        <pc:chgData name="Saranya Sriram" userId="31246c95-b325-49bd-b9d7-da3f09848d21" providerId="ADAL" clId="{1257B7C5-6374-4E27-BB26-3A140873B03A}" dt="2021-11-02T02:51:31.046" v="423"/>
        <pc:sldMkLst>
          <pc:docMk/>
          <pc:sldMk cId="738090357" sldId="2134804865"/>
        </pc:sldMkLst>
      </pc:sldChg>
      <pc:sldChg chg="add del">
        <pc:chgData name="Saranya Sriram" userId="31246c95-b325-49bd-b9d7-da3f09848d21" providerId="ADAL" clId="{1257B7C5-6374-4E27-BB26-3A140873B03A}" dt="2021-11-02T02:51:31.046" v="423"/>
        <pc:sldMkLst>
          <pc:docMk/>
          <pc:sldMk cId="4217801541" sldId="2134804878"/>
        </pc:sldMkLst>
      </pc:sldChg>
      <pc:sldChg chg="add del">
        <pc:chgData name="Saranya Sriram" userId="31246c95-b325-49bd-b9d7-da3f09848d21" providerId="ADAL" clId="{1257B7C5-6374-4E27-BB26-3A140873B03A}" dt="2021-11-02T02:51:31.046" v="423"/>
        <pc:sldMkLst>
          <pc:docMk/>
          <pc:sldMk cId="3839566656" sldId="2134804879"/>
        </pc:sldMkLst>
      </pc:sldChg>
      <pc:sldChg chg="add del">
        <pc:chgData name="Saranya Sriram" userId="31246c95-b325-49bd-b9d7-da3f09848d21" providerId="ADAL" clId="{1257B7C5-6374-4E27-BB26-3A140873B03A}" dt="2021-11-02T02:51:31.046" v="423"/>
        <pc:sldMkLst>
          <pc:docMk/>
          <pc:sldMk cId="330262182" sldId="2134804890"/>
        </pc:sldMkLst>
      </pc:sldChg>
      <pc:sldChg chg="add del">
        <pc:chgData name="Saranya Sriram" userId="31246c95-b325-49bd-b9d7-da3f09848d21" providerId="ADAL" clId="{1257B7C5-6374-4E27-BB26-3A140873B03A}" dt="2021-11-02T02:51:31.046" v="423"/>
        <pc:sldMkLst>
          <pc:docMk/>
          <pc:sldMk cId="1823925467" sldId="2134804893"/>
        </pc:sldMkLst>
      </pc:sldChg>
      <pc:sldChg chg="add del">
        <pc:chgData name="Saranya Sriram" userId="31246c95-b325-49bd-b9d7-da3f09848d21" providerId="ADAL" clId="{1257B7C5-6374-4E27-BB26-3A140873B03A}" dt="2021-11-02T02:53:14.466" v="509" actId="47"/>
        <pc:sldMkLst>
          <pc:docMk/>
          <pc:sldMk cId="721863853" sldId="2134804894"/>
        </pc:sldMkLst>
      </pc:sldChg>
      <pc:sldChg chg="add del">
        <pc:chgData name="Saranya Sriram" userId="31246c95-b325-49bd-b9d7-da3f09848d21" providerId="ADAL" clId="{1257B7C5-6374-4E27-BB26-3A140873B03A}" dt="2021-11-02T02:52:55.186" v="508" actId="47"/>
        <pc:sldMkLst>
          <pc:docMk/>
          <pc:sldMk cId="2746947155" sldId="2134804896"/>
        </pc:sldMkLst>
      </pc:sldChg>
      <pc:sldChg chg="modSp add mod">
        <pc:chgData name="Saranya Sriram" userId="31246c95-b325-49bd-b9d7-da3f09848d21" providerId="ADAL" clId="{1257B7C5-6374-4E27-BB26-3A140873B03A}" dt="2021-11-02T03:51:18.210" v="1350" actId="20577"/>
        <pc:sldMkLst>
          <pc:docMk/>
          <pc:sldMk cId="2030430440" sldId="2134804897"/>
        </pc:sldMkLst>
        <pc:spChg chg="mod">
          <ac:chgData name="Saranya Sriram" userId="31246c95-b325-49bd-b9d7-da3f09848d21" providerId="ADAL" clId="{1257B7C5-6374-4E27-BB26-3A140873B03A}" dt="2021-11-02T03:51:18.210" v="1350" actId="20577"/>
          <ac:spMkLst>
            <pc:docMk/>
            <pc:sldMk cId="2030430440" sldId="2134804897"/>
            <ac:spMk id="10" creationId="{46338273-659B-4BE6-8CB2-D880A35AB60D}"/>
          </ac:spMkLst>
        </pc:spChg>
        <pc:spChg chg="mod">
          <ac:chgData name="Saranya Sriram" userId="31246c95-b325-49bd-b9d7-da3f09848d21" providerId="ADAL" clId="{1257B7C5-6374-4E27-BB26-3A140873B03A}" dt="2021-11-02T02:52:25.999" v="501" actId="6549"/>
          <ac:spMkLst>
            <pc:docMk/>
            <pc:sldMk cId="2030430440" sldId="2134804897"/>
            <ac:spMk id="12" creationId="{68410213-2627-4B9C-924C-292F66A11726}"/>
          </ac:spMkLst>
        </pc:spChg>
      </pc:sldChg>
      <pc:sldChg chg="add del setBg">
        <pc:chgData name="Saranya Sriram" userId="31246c95-b325-49bd-b9d7-da3f09848d21" providerId="ADAL" clId="{1257B7C5-6374-4E27-BB26-3A140873B03A}" dt="2021-11-02T02:51:48.937" v="425"/>
        <pc:sldMkLst>
          <pc:docMk/>
          <pc:sldMk cId="4265296474" sldId="2134804897"/>
        </pc:sldMkLst>
      </pc:sldChg>
      <pc:sldChg chg="add del setBg">
        <pc:chgData name="Saranya Sriram" userId="31246c95-b325-49bd-b9d7-da3f09848d21" providerId="ADAL" clId="{1257B7C5-6374-4E27-BB26-3A140873B03A}" dt="2021-11-02T02:59:54.854" v="545"/>
        <pc:sldMkLst>
          <pc:docMk/>
          <pc:sldMk cId="684263547" sldId="2134804898"/>
        </pc:sldMkLst>
      </pc:sldChg>
      <pc:sldChg chg="modSp add mod">
        <pc:chgData name="Saranya Sriram" userId="31246c95-b325-49bd-b9d7-da3f09848d21" providerId="ADAL" clId="{1257B7C5-6374-4E27-BB26-3A140873B03A}" dt="2021-11-02T03:49:58.549" v="1338" actId="20577"/>
        <pc:sldMkLst>
          <pc:docMk/>
          <pc:sldMk cId="2530871134" sldId="2134804898"/>
        </pc:sldMkLst>
        <pc:spChg chg="mod">
          <ac:chgData name="Saranya Sriram" userId="31246c95-b325-49bd-b9d7-da3f09848d21" providerId="ADAL" clId="{1257B7C5-6374-4E27-BB26-3A140873B03A}" dt="2021-11-02T03:49:58.549" v="1338" actId="20577"/>
          <ac:spMkLst>
            <pc:docMk/>
            <pc:sldMk cId="2530871134" sldId="2134804898"/>
            <ac:spMk id="10" creationId="{46338273-659B-4BE6-8CB2-D880A35AB60D}"/>
          </ac:spMkLst>
        </pc:spChg>
      </pc:sldChg>
      <pc:sldChg chg="addSp modSp add del mod setBg">
        <pc:chgData name="Saranya Sriram" userId="31246c95-b325-49bd-b9d7-da3f09848d21" providerId="ADAL" clId="{1257B7C5-6374-4E27-BB26-3A140873B03A}" dt="2021-11-02T03:18:19.590" v="788" actId="47"/>
        <pc:sldMkLst>
          <pc:docMk/>
          <pc:sldMk cId="314565109" sldId="2134804899"/>
        </pc:sldMkLst>
        <pc:spChg chg="add">
          <ac:chgData name="Saranya Sriram" userId="31246c95-b325-49bd-b9d7-da3f09848d21" providerId="ADAL" clId="{1257B7C5-6374-4E27-BB26-3A140873B03A}" dt="2021-11-02T03:16:02.962" v="750" actId="22"/>
          <ac:spMkLst>
            <pc:docMk/>
            <pc:sldMk cId="314565109" sldId="2134804899"/>
            <ac:spMk id="8" creationId="{DE5A25A4-B71A-487A-A815-60E639715D0A}"/>
          </ac:spMkLst>
        </pc:spChg>
        <pc:spChg chg="add">
          <ac:chgData name="Saranya Sriram" userId="31246c95-b325-49bd-b9d7-da3f09848d21" providerId="ADAL" clId="{1257B7C5-6374-4E27-BB26-3A140873B03A}" dt="2021-11-02T03:16:02.962" v="750" actId="22"/>
          <ac:spMkLst>
            <pc:docMk/>
            <pc:sldMk cId="314565109" sldId="2134804899"/>
            <ac:spMk id="10" creationId="{78B74AF5-E63B-442D-9D58-C5392884504C}"/>
          </ac:spMkLst>
        </pc:spChg>
        <pc:spChg chg="add">
          <ac:chgData name="Saranya Sriram" userId="31246c95-b325-49bd-b9d7-da3f09848d21" providerId="ADAL" clId="{1257B7C5-6374-4E27-BB26-3A140873B03A}" dt="2021-11-02T03:16:02.962" v="750" actId="22"/>
          <ac:spMkLst>
            <pc:docMk/>
            <pc:sldMk cId="314565109" sldId="2134804899"/>
            <ac:spMk id="14" creationId="{3E1B41D1-39B1-4693-8053-82E7B4E58AF8}"/>
          </ac:spMkLst>
        </pc:spChg>
        <pc:spChg chg="add">
          <ac:chgData name="Saranya Sriram" userId="31246c95-b325-49bd-b9d7-da3f09848d21" providerId="ADAL" clId="{1257B7C5-6374-4E27-BB26-3A140873B03A}" dt="2021-11-02T03:16:02.962" v="750" actId="22"/>
          <ac:spMkLst>
            <pc:docMk/>
            <pc:sldMk cId="314565109" sldId="2134804899"/>
            <ac:spMk id="16" creationId="{749793EE-AB9B-452D-AAB6-7A2FD916793F}"/>
          </ac:spMkLst>
        </pc:spChg>
        <pc:spChg chg="add">
          <ac:chgData name="Saranya Sriram" userId="31246c95-b325-49bd-b9d7-da3f09848d21" providerId="ADAL" clId="{1257B7C5-6374-4E27-BB26-3A140873B03A}" dt="2021-11-02T03:16:02.962" v="750" actId="22"/>
          <ac:spMkLst>
            <pc:docMk/>
            <pc:sldMk cId="314565109" sldId="2134804899"/>
            <ac:spMk id="20" creationId="{F2F7D0A1-8FF6-41D2-BC00-EE7AE3882244}"/>
          </ac:spMkLst>
        </pc:spChg>
        <pc:spChg chg="add">
          <ac:chgData name="Saranya Sriram" userId="31246c95-b325-49bd-b9d7-da3f09848d21" providerId="ADAL" clId="{1257B7C5-6374-4E27-BB26-3A140873B03A}" dt="2021-11-02T03:16:02.962" v="750" actId="22"/>
          <ac:spMkLst>
            <pc:docMk/>
            <pc:sldMk cId="314565109" sldId="2134804899"/>
            <ac:spMk id="22" creationId="{6FAEA746-2C49-49D5-85D8-475A56B44435}"/>
          </ac:spMkLst>
        </pc:spChg>
        <pc:cxnChg chg="add mod">
          <ac:chgData name="Saranya Sriram" userId="31246c95-b325-49bd-b9d7-da3f09848d21" providerId="ADAL" clId="{1257B7C5-6374-4E27-BB26-3A140873B03A}" dt="2021-11-02T03:16:02.962" v="751"/>
          <ac:cxnSpMkLst>
            <pc:docMk/>
            <pc:sldMk cId="314565109" sldId="2134804899"/>
            <ac:cxnSpMk id="4" creationId="{4327678C-6CA8-4785-A968-F213CE0E88EC}"/>
          </ac:cxnSpMkLst>
        </pc:cxnChg>
        <pc:cxnChg chg="add mod">
          <ac:chgData name="Saranya Sriram" userId="31246c95-b325-49bd-b9d7-da3f09848d21" providerId="ADAL" clId="{1257B7C5-6374-4E27-BB26-3A140873B03A}" dt="2021-11-02T03:16:02.962" v="751"/>
          <ac:cxnSpMkLst>
            <pc:docMk/>
            <pc:sldMk cId="314565109" sldId="2134804899"/>
            <ac:cxnSpMk id="6" creationId="{56E820CB-81CC-4CC3-AC7D-6AEA5C89E138}"/>
          </ac:cxnSpMkLst>
        </pc:cxnChg>
        <pc:cxnChg chg="add mod">
          <ac:chgData name="Saranya Sriram" userId="31246c95-b325-49bd-b9d7-da3f09848d21" providerId="ADAL" clId="{1257B7C5-6374-4E27-BB26-3A140873B03A}" dt="2021-11-02T03:16:02.962" v="751"/>
          <ac:cxnSpMkLst>
            <pc:docMk/>
            <pc:sldMk cId="314565109" sldId="2134804899"/>
            <ac:cxnSpMk id="18" creationId="{37665201-1501-44C3-8095-5F20547442A9}"/>
          </ac:cxnSpMkLst>
        </pc:cxnChg>
      </pc:sldChg>
      <pc:sldChg chg="add del setBg">
        <pc:chgData name="Saranya Sriram" userId="31246c95-b325-49bd-b9d7-da3f09848d21" providerId="ADAL" clId="{1257B7C5-6374-4E27-BB26-3A140873B03A}" dt="2021-11-02T03:16:08.552" v="753"/>
        <pc:sldMkLst>
          <pc:docMk/>
          <pc:sldMk cId="1905780245" sldId="2134804900"/>
        </pc:sldMkLst>
      </pc:sldChg>
      <pc:sldChg chg="addSp delSp modSp add mod">
        <pc:chgData name="Saranya Sriram" userId="31246c95-b325-49bd-b9d7-da3f09848d21" providerId="ADAL" clId="{1257B7C5-6374-4E27-BB26-3A140873B03A}" dt="2021-11-02T04:09:45.532" v="2882" actId="1076"/>
        <pc:sldMkLst>
          <pc:docMk/>
          <pc:sldMk cId="2181310569" sldId="2134804900"/>
        </pc:sldMkLst>
        <pc:spChg chg="del">
          <ac:chgData name="Saranya Sriram" userId="31246c95-b325-49bd-b9d7-da3f09848d21" providerId="ADAL" clId="{1257B7C5-6374-4E27-BB26-3A140873B03A}" dt="2021-11-02T03:16:22.496" v="756" actId="478"/>
          <ac:spMkLst>
            <pc:docMk/>
            <pc:sldMk cId="2181310569" sldId="2134804900"/>
            <ac:spMk id="2" creationId="{E018D7C0-F556-4999-8AA6-5D9CB66740E2}"/>
          </ac:spMkLst>
        </pc:spChg>
        <pc:spChg chg="mod">
          <ac:chgData name="Saranya Sriram" userId="31246c95-b325-49bd-b9d7-da3f09848d21" providerId="ADAL" clId="{1257B7C5-6374-4E27-BB26-3A140873B03A}" dt="2021-11-02T04:09:45.532" v="2882" actId="1076"/>
          <ac:spMkLst>
            <pc:docMk/>
            <pc:sldMk cId="2181310569" sldId="2134804900"/>
            <ac:spMk id="3" creationId="{7540F09F-ADE9-4A93-BCF9-A185A198C1B3}"/>
          </ac:spMkLst>
        </pc:spChg>
        <pc:spChg chg="add mod">
          <ac:chgData name="Saranya Sriram" userId="31246c95-b325-49bd-b9d7-da3f09848d21" providerId="ADAL" clId="{1257B7C5-6374-4E27-BB26-3A140873B03A}" dt="2021-11-02T04:09:45.532" v="2882" actId="1076"/>
          <ac:spMkLst>
            <pc:docMk/>
            <pc:sldMk cId="2181310569" sldId="2134804900"/>
            <ac:spMk id="8" creationId="{695A9BC2-703B-45D8-A969-07DD344BC6D9}"/>
          </ac:spMkLst>
        </pc:spChg>
        <pc:spChg chg="add mod">
          <ac:chgData name="Saranya Sriram" userId="31246c95-b325-49bd-b9d7-da3f09848d21" providerId="ADAL" clId="{1257B7C5-6374-4E27-BB26-3A140873B03A}" dt="2021-11-02T04:09:45.532" v="2882" actId="1076"/>
          <ac:spMkLst>
            <pc:docMk/>
            <pc:sldMk cId="2181310569" sldId="2134804900"/>
            <ac:spMk id="10" creationId="{0A6CDB6C-1CF5-4AC4-87D3-17C601EB19C9}"/>
          </ac:spMkLst>
        </pc:spChg>
        <pc:spChg chg="del">
          <ac:chgData name="Saranya Sriram" userId="31246c95-b325-49bd-b9d7-da3f09848d21" providerId="ADAL" clId="{1257B7C5-6374-4E27-BB26-3A140873B03A}" dt="2021-11-02T03:16:20.064" v="755" actId="478"/>
          <ac:spMkLst>
            <pc:docMk/>
            <pc:sldMk cId="2181310569" sldId="2134804900"/>
            <ac:spMk id="12" creationId="{68410213-2627-4B9C-924C-292F66A11726}"/>
          </ac:spMkLst>
        </pc:spChg>
        <pc:spChg chg="add mod">
          <ac:chgData name="Saranya Sriram" userId="31246c95-b325-49bd-b9d7-da3f09848d21" providerId="ADAL" clId="{1257B7C5-6374-4E27-BB26-3A140873B03A}" dt="2021-11-02T04:09:45.532" v="2882" actId="1076"/>
          <ac:spMkLst>
            <pc:docMk/>
            <pc:sldMk cId="2181310569" sldId="2134804900"/>
            <ac:spMk id="14" creationId="{9F78472E-FDFF-49B4-8925-26588A7DA86F}"/>
          </ac:spMkLst>
        </pc:spChg>
        <pc:spChg chg="add mod">
          <ac:chgData name="Saranya Sriram" userId="31246c95-b325-49bd-b9d7-da3f09848d21" providerId="ADAL" clId="{1257B7C5-6374-4E27-BB26-3A140873B03A}" dt="2021-11-02T04:09:45.532" v="2882" actId="1076"/>
          <ac:spMkLst>
            <pc:docMk/>
            <pc:sldMk cId="2181310569" sldId="2134804900"/>
            <ac:spMk id="16" creationId="{D8D7A6FA-221F-4C65-AFDE-596DF28C26F1}"/>
          </ac:spMkLst>
        </pc:spChg>
        <pc:spChg chg="add mod">
          <ac:chgData name="Saranya Sriram" userId="31246c95-b325-49bd-b9d7-da3f09848d21" providerId="ADAL" clId="{1257B7C5-6374-4E27-BB26-3A140873B03A}" dt="2021-11-02T04:09:45.532" v="2882" actId="1076"/>
          <ac:spMkLst>
            <pc:docMk/>
            <pc:sldMk cId="2181310569" sldId="2134804900"/>
            <ac:spMk id="20" creationId="{B7EF1D2B-99A3-43AD-BEC4-42F9EEFE4BAD}"/>
          </ac:spMkLst>
        </pc:spChg>
        <pc:spChg chg="add mod">
          <ac:chgData name="Saranya Sriram" userId="31246c95-b325-49bd-b9d7-da3f09848d21" providerId="ADAL" clId="{1257B7C5-6374-4E27-BB26-3A140873B03A}" dt="2021-11-02T04:09:45.532" v="2882" actId="1076"/>
          <ac:spMkLst>
            <pc:docMk/>
            <pc:sldMk cId="2181310569" sldId="2134804900"/>
            <ac:spMk id="22" creationId="{4A537A12-F3AA-4466-92E5-7FA5AAC1C36E}"/>
          </ac:spMkLst>
        </pc:spChg>
        <pc:spChg chg="add mod">
          <ac:chgData name="Saranya Sriram" userId="31246c95-b325-49bd-b9d7-da3f09848d21" providerId="ADAL" clId="{1257B7C5-6374-4E27-BB26-3A140873B03A}" dt="2021-11-02T04:09:37.471" v="2881" actId="403"/>
          <ac:spMkLst>
            <pc:docMk/>
            <pc:sldMk cId="2181310569" sldId="2134804900"/>
            <ac:spMk id="24" creationId="{A1B47805-5CB2-4064-B6B2-5E2261B9A36B}"/>
          </ac:spMkLst>
        </pc:spChg>
        <pc:spChg chg="add mod">
          <ac:chgData name="Saranya Sriram" userId="31246c95-b325-49bd-b9d7-da3f09848d21" providerId="ADAL" clId="{1257B7C5-6374-4E27-BB26-3A140873B03A}" dt="2021-11-02T04:09:45.532" v="2882" actId="1076"/>
          <ac:spMkLst>
            <pc:docMk/>
            <pc:sldMk cId="2181310569" sldId="2134804900"/>
            <ac:spMk id="28" creationId="{BE76ED0E-4E1A-4712-891D-FA1E8F2E39BA}"/>
          </ac:spMkLst>
        </pc:spChg>
        <pc:spChg chg="add mod">
          <ac:chgData name="Saranya Sriram" userId="31246c95-b325-49bd-b9d7-da3f09848d21" providerId="ADAL" clId="{1257B7C5-6374-4E27-BB26-3A140873B03A}" dt="2021-11-02T04:09:45.532" v="2882" actId="1076"/>
          <ac:spMkLst>
            <pc:docMk/>
            <pc:sldMk cId="2181310569" sldId="2134804900"/>
            <ac:spMk id="30" creationId="{B4AA9229-1BD4-40D2-A1C1-A82B62D04B24}"/>
          </ac:spMkLst>
        </pc:spChg>
        <pc:cxnChg chg="add mod">
          <ac:chgData name="Saranya Sriram" userId="31246c95-b325-49bd-b9d7-da3f09848d21" providerId="ADAL" clId="{1257B7C5-6374-4E27-BB26-3A140873B03A}" dt="2021-11-02T04:09:45.532" v="2882" actId="1076"/>
          <ac:cxnSpMkLst>
            <pc:docMk/>
            <pc:sldMk cId="2181310569" sldId="2134804900"/>
            <ac:cxnSpMk id="4" creationId="{5D9B25BF-D352-4F3C-B219-D07CAAAE7DE8}"/>
          </ac:cxnSpMkLst>
        </pc:cxnChg>
        <pc:cxnChg chg="add mod">
          <ac:chgData name="Saranya Sriram" userId="31246c95-b325-49bd-b9d7-da3f09848d21" providerId="ADAL" clId="{1257B7C5-6374-4E27-BB26-3A140873B03A}" dt="2021-11-02T04:09:45.532" v="2882" actId="1076"/>
          <ac:cxnSpMkLst>
            <pc:docMk/>
            <pc:sldMk cId="2181310569" sldId="2134804900"/>
            <ac:cxnSpMk id="6" creationId="{AC8F778A-BA61-47B7-841D-319F932A6945}"/>
          </ac:cxnSpMkLst>
        </pc:cxnChg>
        <pc:cxnChg chg="add mod">
          <ac:chgData name="Saranya Sriram" userId="31246c95-b325-49bd-b9d7-da3f09848d21" providerId="ADAL" clId="{1257B7C5-6374-4E27-BB26-3A140873B03A}" dt="2021-11-02T04:09:45.532" v="2882" actId="1076"/>
          <ac:cxnSpMkLst>
            <pc:docMk/>
            <pc:sldMk cId="2181310569" sldId="2134804900"/>
            <ac:cxnSpMk id="18" creationId="{11B7F5C7-5DA0-4C8A-9D4D-392C396A2D0B}"/>
          </ac:cxnSpMkLst>
        </pc:cxnChg>
        <pc:cxnChg chg="add mod">
          <ac:chgData name="Saranya Sriram" userId="31246c95-b325-49bd-b9d7-da3f09848d21" providerId="ADAL" clId="{1257B7C5-6374-4E27-BB26-3A140873B03A}" dt="2021-11-02T04:09:45.532" v="2882" actId="1076"/>
          <ac:cxnSpMkLst>
            <pc:docMk/>
            <pc:sldMk cId="2181310569" sldId="2134804900"/>
            <ac:cxnSpMk id="26" creationId="{B5030CD7-CD53-4215-A80B-6B82DEB7FC21}"/>
          </ac:cxnSpMkLst>
        </pc:cxnChg>
      </pc:sldChg>
      <pc:sldChg chg="add del setBg">
        <pc:chgData name="Saranya Sriram" userId="31246c95-b325-49bd-b9d7-da3f09848d21" providerId="ADAL" clId="{1257B7C5-6374-4E27-BB26-3A140873B03A}" dt="2021-11-02T03:23:11.136" v="852"/>
        <pc:sldMkLst>
          <pc:docMk/>
          <pc:sldMk cId="3046101668" sldId="2134804901"/>
        </pc:sldMkLst>
      </pc:sldChg>
      <pc:sldChg chg="modSp add mod">
        <pc:chgData name="Saranya Sriram" userId="31246c95-b325-49bd-b9d7-da3f09848d21" providerId="ADAL" clId="{1257B7C5-6374-4E27-BB26-3A140873B03A}" dt="2021-11-02T03:23:30.417" v="907" actId="20577"/>
        <pc:sldMkLst>
          <pc:docMk/>
          <pc:sldMk cId="3056045645" sldId="2134804901"/>
        </pc:sldMkLst>
        <pc:spChg chg="mod">
          <ac:chgData name="Saranya Sriram" userId="31246c95-b325-49bd-b9d7-da3f09848d21" providerId="ADAL" clId="{1257B7C5-6374-4E27-BB26-3A140873B03A}" dt="2021-11-02T03:23:30.417" v="907" actId="20577"/>
          <ac:spMkLst>
            <pc:docMk/>
            <pc:sldMk cId="3056045645" sldId="2134804901"/>
            <ac:spMk id="10" creationId="{46338273-659B-4BE6-8CB2-D880A35AB60D}"/>
          </ac:spMkLst>
        </pc:spChg>
      </pc:sldChg>
      <pc:sldChg chg="add del setBg">
        <pc:chgData name="Saranya Sriram" userId="31246c95-b325-49bd-b9d7-da3f09848d21" providerId="ADAL" clId="{1257B7C5-6374-4E27-BB26-3A140873B03A}" dt="2021-11-02T03:23:35.411" v="909"/>
        <pc:sldMkLst>
          <pc:docMk/>
          <pc:sldMk cId="1873672662" sldId="2134804902"/>
        </pc:sldMkLst>
      </pc:sldChg>
      <pc:sldChg chg="modSp add mod ord">
        <pc:chgData name="Saranya Sriram" userId="31246c95-b325-49bd-b9d7-da3f09848d21" providerId="ADAL" clId="{1257B7C5-6374-4E27-BB26-3A140873B03A}" dt="2021-11-02T03:25:02.040" v="919"/>
        <pc:sldMkLst>
          <pc:docMk/>
          <pc:sldMk cId="2221710060" sldId="2134804902"/>
        </pc:sldMkLst>
        <pc:spChg chg="mod">
          <ac:chgData name="Saranya Sriram" userId="31246c95-b325-49bd-b9d7-da3f09848d21" providerId="ADAL" clId="{1257B7C5-6374-4E27-BB26-3A140873B03A}" dt="2021-11-02T03:23:55.968" v="917" actId="20577"/>
          <ac:spMkLst>
            <pc:docMk/>
            <pc:sldMk cId="2221710060" sldId="2134804902"/>
            <ac:spMk id="10" creationId="{46338273-659B-4BE6-8CB2-D880A35AB60D}"/>
          </ac:spMkLst>
        </pc:spChg>
      </pc:sldChg>
      <pc:sldChg chg="add del">
        <pc:chgData name="Saranya Sriram" userId="31246c95-b325-49bd-b9d7-da3f09848d21" providerId="ADAL" clId="{1257B7C5-6374-4E27-BB26-3A140873B03A}" dt="2021-11-02T03:36:21.690" v="965"/>
        <pc:sldMkLst>
          <pc:docMk/>
          <pc:sldMk cId="140721270" sldId="2134804903"/>
        </pc:sldMkLst>
      </pc:sldChg>
      <pc:sldChg chg="addSp delSp modSp add mod">
        <pc:chgData name="Saranya Sriram" userId="31246c95-b325-49bd-b9d7-da3f09848d21" providerId="ADAL" clId="{1257B7C5-6374-4E27-BB26-3A140873B03A}" dt="2021-11-02T03:40:04.070" v="1101" actId="6549"/>
        <pc:sldMkLst>
          <pc:docMk/>
          <pc:sldMk cId="3363245920" sldId="2134804903"/>
        </pc:sldMkLst>
        <pc:spChg chg="del">
          <ac:chgData name="Saranya Sriram" userId="31246c95-b325-49bd-b9d7-da3f09848d21" providerId="ADAL" clId="{1257B7C5-6374-4E27-BB26-3A140873B03A}" dt="2021-11-02T03:36:43.988" v="970" actId="478"/>
          <ac:spMkLst>
            <pc:docMk/>
            <pc:sldMk cId="3363245920" sldId="2134804903"/>
            <ac:spMk id="4" creationId="{4C1F8F18-DA50-40A3-A1D7-4A524E914C83}"/>
          </ac:spMkLst>
        </pc:spChg>
        <pc:spChg chg="mod">
          <ac:chgData name="Saranya Sriram" userId="31246c95-b325-49bd-b9d7-da3f09848d21" providerId="ADAL" clId="{1257B7C5-6374-4E27-BB26-3A140873B03A}" dt="2021-11-02T03:40:04.070" v="1101" actId="6549"/>
          <ac:spMkLst>
            <pc:docMk/>
            <pc:sldMk cId="3363245920" sldId="2134804903"/>
            <ac:spMk id="5" creationId="{3A927330-F324-41D3-8265-056E469AF223}"/>
          </ac:spMkLst>
        </pc:spChg>
        <pc:spChg chg="add mod">
          <ac:chgData name="Saranya Sriram" userId="31246c95-b325-49bd-b9d7-da3f09848d21" providerId="ADAL" clId="{1257B7C5-6374-4E27-BB26-3A140873B03A}" dt="2021-11-02T03:38:18.531" v="1045" actId="1076"/>
          <ac:spMkLst>
            <pc:docMk/>
            <pc:sldMk cId="3363245920" sldId="2134804903"/>
            <ac:spMk id="7" creationId="{D5F2312A-828E-46F5-AF8C-E964AFDD2903}"/>
          </ac:spMkLst>
        </pc:spChg>
        <pc:spChg chg="add mod">
          <ac:chgData name="Saranya Sriram" userId="31246c95-b325-49bd-b9d7-da3f09848d21" providerId="ADAL" clId="{1257B7C5-6374-4E27-BB26-3A140873B03A}" dt="2021-11-02T03:38:32.998" v="1060" actId="1076"/>
          <ac:spMkLst>
            <pc:docMk/>
            <pc:sldMk cId="3363245920" sldId="2134804903"/>
            <ac:spMk id="8" creationId="{F0C728C3-D2F6-4D46-96CB-048565C18048}"/>
          </ac:spMkLst>
        </pc:spChg>
        <pc:spChg chg="add mod">
          <ac:chgData name="Saranya Sriram" userId="31246c95-b325-49bd-b9d7-da3f09848d21" providerId="ADAL" clId="{1257B7C5-6374-4E27-BB26-3A140873B03A}" dt="2021-11-02T03:39:37.270" v="1083" actId="20577"/>
          <ac:spMkLst>
            <pc:docMk/>
            <pc:sldMk cId="3363245920" sldId="2134804903"/>
            <ac:spMk id="13" creationId="{A7C2231E-CAFE-4047-9D4A-07CE452EDF34}"/>
          </ac:spMkLst>
        </pc:spChg>
        <pc:spChg chg="add mod">
          <ac:chgData name="Saranya Sriram" userId="31246c95-b325-49bd-b9d7-da3f09848d21" providerId="ADAL" clId="{1257B7C5-6374-4E27-BB26-3A140873B03A}" dt="2021-11-02T03:39:57.998" v="1100" actId="1076"/>
          <ac:spMkLst>
            <pc:docMk/>
            <pc:sldMk cId="3363245920" sldId="2134804903"/>
            <ac:spMk id="18" creationId="{FEDB4194-8480-4A81-918D-2314D2192A85}"/>
          </ac:spMkLst>
        </pc:spChg>
        <pc:spChg chg="mod">
          <ac:chgData name="Saranya Sriram" userId="31246c95-b325-49bd-b9d7-da3f09848d21" providerId="ADAL" clId="{1257B7C5-6374-4E27-BB26-3A140873B03A}" dt="2021-11-02T03:37:42.412" v="1010" actId="20577"/>
          <ac:spMkLst>
            <pc:docMk/>
            <pc:sldMk cId="3363245920" sldId="2134804903"/>
            <ac:spMk id="19" creationId="{70BB7F89-80F8-4B67-82F4-07A5D73DE97C}"/>
          </ac:spMkLst>
        </pc:spChg>
        <pc:spChg chg="mod">
          <ac:chgData name="Saranya Sriram" userId="31246c95-b325-49bd-b9d7-da3f09848d21" providerId="ADAL" clId="{1257B7C5-6374-4E27-BB26-3A140873B03A}" dt="2021-11-02T03:37:14.637" v="978" actId="1076"/>
          <ac:spMkLst>
            <pc:docMk/>
            <pc:sldMk cId="3363245920" sldId="2134804903"/>
            <ac:spMk id="20" creationId="{6916B767-248F-45F7-8673-2813966AD8E7}"/>
          </ac:spMkLst>
        </pc:spChg>
        <pc:spChg chg="del">
          <ac:chgData name="Saranya Sriram" userId="31246c95-b325-49bd-b9d7-da3f09848d21" providerId="ADAL" clId="{1257B7C5-6374-4E27-BB26-3A140873B03A}" dt="2021-11-02T03:36:43.988" v="970" actId="478"/>
          <ac:spMkLst>
            <pc:docMk/>
            <pc:sldMk cId="3363245920" sldId="2134804903"/>
            <ac:spMk id="57" creationId="{6E7F267A-55CF-45A0-BA45-B1E5DBD62679}"/>
          </ac:spMkLst>
        </pc:spChg>
        <pc:spChg chg="del">
          <ac:chgData name="Saranya Sriram" userId="31246c95-b325-49bd-b9d7-da3f09848d21" providerId="ADAL" clId="{1257B7C5-6374-4E27-BB26-3A140873B03A}" dt="2021-11-02T03:36:43.988" v="970" actId="478"/>
          <ac:spMkLst>
            <pc:docMk/>
            <pc:sldMk cId="3363245920" sldId="2134804903"/>
            <ac:spMk id="59" creationId="{816CFC7C-74CD-4DB8-8191-3A4830C378A2}"/>
          </ac:spMkLst>
        </pc:spChg>
        <pc:spChg chg="del">
          <ac:chgData name="Saranya Sriram" userId="31246c95-b325-49bd-b9d7-da3f09848d21" providerId="ADAL" clId="{1257B7C5-6374-4E27-BB26-3A140873B03A}" dt="2021-11-02T03:36:43.988" v="970" actId="478"/>
          <ac:spMkLst>
            <pc:docMk/>
            <pc:sldMk cId="3363245920" sldId="2134804903"/>
            <ac:spMk id="60" creationId="{13506B66-14B0-4F83-95A1-899444BB638E}"/>
          </ac:spMkLst>
        </pc:spChg>
        <pc:spChg chg="del">
          <ac:chgData name="Saranya Sriram" userId="31246c95-b325-49bd-b9d7-da3f09848d21" providerId="ADAL" clId="{1257B7C5-6374-4E27-BB26-3A140873B03A}" dt="2021-11-02T03:36:43.988" v="970" actId="478"/>
          <ac:spMkLst>
            <pc:docMk/>
            <pc:sldMk cId="3363245920" sldId="2134804903"/>
            <ac:spMk id="61" creationId="{8F5238A5-FA05-4964-A98F-6289A6F01B76}"/>
          </ac:spMkLst>
        </pc:spChg>
        <pc:spChg chg="del">
          <ac:chgData name="Saranya Sriram" userId="31246c95-b325-49bd-b9d7-da3f09848d21" providerId="ADAL" clId="{1257B7C5-6374-4E27-BB26-3A140873B03A}" dt="2021-11-02T03:36:43.988" v="970" actId="478"/>
          <ac:spMkLst>
            <pc:docMk/>
            <pc:sldMk cId="3363245920" sldId="2134804903"/>
            <ac:spMk id="62" creationId="{20DE87FF-E294-4A1C-AD92-89AF4F03DD05}"/>
          </ac:spMkLst>
        </pc:spChg>
        <pc:spChg chg="del">
          <ac:chgData name="Saranya Sriram" userId="31246c95-b325-49bd-b9d7-da3f09848d21" providerId="ADAL" clId="{1257B7C5-6374-4E27-BB26-3A140873B03A}" dt="2021-11-02T03:36:57.151" v="974" actId="478"/>
          <ac:spMkLst>
            <pc:docMk/>
            <pc:sldMk cId="3363245920" sldId="2134804903"/>
            <ac:spMk id="64" creationId="{66D5E57C-4FC2-4413-ADCB-8DE05873153F}"/>
          </ac:spMkLst>
        </pc:spChg>
        <pc:spChg chg="del">
          <ac:chgData name="Saranya Sriram" userId="31246c95-b325-49bd-b9d7-da3f09848d21" providerId="ADAL" clId="{1257B7C5-6374-4E27-BB26-3A140873B03A}" dt="2021-11-02T03:36:57.151" v="974" actId="478"/>
          <ac:spMkLst>
            <pc:docMk/>
            <pc:sldMk cId="3363245920" sldId="2134804903"/>
            <ac:spMk id="65" creationId="{6EAC9069-3F3F-4BB6-BC54-24A00B88A881}"/>
          </ac:spMkLst>
        </pc:spChg>
        <pc:spChg chg="del">
          <ac:chgData name="Saranya Sriram" userId="31246c95-b325-49bd-b9d7-da3f09848d21" providerId="ADAL" clId="{1257B7C5-6374-4E27-BB26-3A140873B03A}" dt="2021-11-02T03:36:57.151" v="974" actId="478"/>
          <ac:spMkLst>
            <pc:docMk/>
            <pc:sldMk cId="3363245920" sldId="2134804903"/>
            <ac:spMk id="66" creationId="{65760010-C8E4-4095-BDBC-910C02AE428F}"/>
          </ac:spMkLst>
        </pc:spChg>
        <pc:spChg chg="del">
          <ac:chgData name="Saranya Sriram" userId="31246c95-b325-49bd-b9d7-da3f09848d21" providerId="ADAL" clId="{1257B7C5-6374-4E27-BB26-3A140873B03A}" dt="2021-11-02T03:36:57.151" v="974" actId="478"/>
          <ac:spMkLst>
            <pc:docMk/>
            <pc:sldMk cId="3363245920" sldId="2134804903"/>
            <ac:spMk id="67" creationId="{03EB9E60-6E4C-421E-B626-5DE217294F1E}"/>
          </ac:spMkLst>
        </pc:spChg>
        <pc:spChg chg="del">
          <ac:chgData name="Saranya Sriram" userId="31246c95-b325-49bd-b9d7-da3f09848d21" providerId="ADAL" clId="{1257B7C5-6374-4E27-BB26-3A140873B03A}" dt="2021-11-02T03:36:57.151" v="974" actId="478"/>
          <ac:spMkLst>
            <pc:docMk/>
            <pc:sldMk cId="3363245920" sldId="2134804903"/>
            <ac:spMk id="68" creationId="{FF1BDBB2-A028-4A50-B8CB-85F498675E61}"/>
          </ac:spMkLst>
        </pc:spChg>
        <pc:spChg chg="del">
          <ac:chgData name="Saranya Sriram" userId="31246c95-b325-49bd-b9d7-da3f09848d21" providerId="ADAL" clId="{1257B7C5-6374-4E27-BB26-3A140873B03A}" dt="2021-11-02T03:36:57.151" v="974" actId="478"/>
          <ac:spMkLst>
            <pc:docMk/>
            <pc:sldMk cId="3363245920" sldId="2134804903"/>
            <ac:spMk id="69" creationId="{3405E475-EBF7-40EE-AA96-564752DCB0E0}"/>
          </ac:spMkLst>
        </pc:spChg>
        <pc:spChg chg="del">
          <ac:chgData name="Saranya Sriram" userId="31246c95-b325-49bd-b9d7-da3f09848d21" providerId="ADAL" clId="{1257B7C5-6374-4E27-BB26-3A140873B03A}" dt="2021-11-02T03:36:43.988" v="970" actId="478"/>
          <ac:spMkLst>
            <pc:docMk/>
            <pc:sldMk cId="3363245920" sldId="2134804903"/>
            <ac:spMk id="77" creationId="{E0196CA7-CC70-4AD3-90B9-5686EF999A31}"/>
          </ac:spMkLst>
        </pc:spChg>
        <pc:spChg chg="del">
          <ac:chgData name="Saranya Sriram" userId="31246c95-b325-49bd-b9d7-da3f09848d21" providerId="ADAL" clId="{1257B7C5-6374-4E27-BB26-3A140873B03A}" dt="2021-11-02T03:36:57.151" v="974" actId="478"/>
          <ac:spMkLst>
            <pc:docMk/>
            <pc:sldMk cId="3363245920" sldId="2134804903"/>
            <ac:spMk id="78" creationId="{11467678-E539-4602-B2A2-44EF95C56A9E}"/>
          </ac:spMkLst>
        </pc:spChg>
        <pc:spChg chg="del">
          <ac:chgData name="Saranya Sriram" userId="31246c95-b325-49bd-b9d7-da3f09848d21" providerId="ADAL" clId="{1257B7C5-6374-4E27-BB26-3A140873B03A}" dt="2021-11-02T03:36:43.988" v="970" actId="478"/>
          <ac:spMkLst>
            <pc:docMk/>
            <pc:sldMk cId="3363245920" sldId="2134804903"/>
            <ac:spMk id="79" creationId="{AAB6F20B-488C-4107-9FBA-30393A549564}"/>
          </ac:spMkLst>
        </pc:spChg>
        <pc:spChg chg="del">
          <ac:chgData name="Saranya Sriram" userId="31246c95-b325-49bd-b9d7-da3f09848d21" providerId="ADAL" clId="{1257B7C5-6374-4E27-BB26-3A140873B03A}" dt="2021-11-02T03:36:57.151" v="974" actId="478"/>
          <ac:spMkLst>
            <pc:docMk/>
            <pc:sldMk cId="3363245920" sldId="2134804903"/>
            <ac:spMk id="80" creationId="{6FD9060C-9294-4C9E-93E4-207439418CAC}"/>
          </ac:spMkLst>
        </pc:spChg>
        <pc:grpChg chg="del">
          <ac:chgData name="Saranya Sriram" userId="31246c95-b325-49bd-b9d7-da3f09848d21" providerId="ADAL" clId="{1257B7C5-6374-4E27-BB26-3A140873B03A}" dt="2021-11-02T03:36:43.988" v="970" actId="478"/>
          <ac:grpSpMkLst>
            <pc:docMk/>
            <pc:sldMk cId="3363245920" sldId="2134804903"/>
            <ac:grpSpMk id="14" creationId="{F9071C0F-A676-4FD7-90E2-7CE769FE0CBD}"/>
          </ac:grpSpMkLst>
        </pc:grpChg>
        <pc:grpChg chg="del">
          <ac:chgData name="Saranya Sriram" userId="31246c95-b325-49bd-b9d7-da3f09848d21" providerId="ADAL" clId="{1257B7C5-6374-4E27-BB26-3A140873B03A}" dt="2021-11-02T03:36:57.151" v="974" actId="478"/>
          <ac:grpSpMkLst>
            <pc:docMk/>
            <pc:sldMk cId="3363245920" sldId="2134804903"/>
            <ac:grpSpMk id="15" creationId="{3D11A8C2-AD34-4416-B30F-A2E467CAF321}"/>
          </ac:grpSpMkLst>
        </pc:grpChg>
        <pc:grpChg chg="del">
          <ac:chgData name="Saranya Sriram" userId="31246c95-b325-49bd-b9d7-da3f09848d21" providerId="ADAL" clId="{1257B7C5-6374-4E27-BB26-3A140873B03A}" dt="2021-11-02T03:36:57.151" v="974" actId="478"/>
          <ac:grpSpMkLst>
            <pc:docMk/>
            <pc:sldMk cId="3363245920" sldId="2134804903"/>
            <ac:grpSpMk id="16" creationId="{479773A4-E819-49ED-95D4-10E9403C575E}"/>
          </ac:grpSpMkLst>
        </pc:grpChg>
      </pc:sldChg>
      <pc:sldChg chg="modSp add mod">
        <pc:chgData name="Saranya Sriram" userId="31246c95-b325-49bd-b9d7-da3f09848d21" providerId="ADAL" clId="{1257B7C5-6374-4E27-BB26-3A140873B03A}" dt="2021-11-02T03:46:48.214" v="1218" actId="6549"/>
        <pc:sldMkLst>
          <pc:docMk/>
          <pc:sldMk cId="2670743819" sldId="2134804904"/>
        </pc:sldMkLst>
        <pc:spChg chg="mod">
          <ac:chgData name="Saranya Sriram" userId="31246c95-b325-49bd-b9d7-da3f09848d21" providerId="ADAL" clId="{1257B7C5-6374-4E27-BB26-3A140873B03A}" dt="2021-11-02T03:46:48.214" v="1218" actId="6549"/>
          <ac:spMkLst>
            <pc:docMk/>
            <pc:sldMk cId="2670743819" sldId="2134804904"/>
            <ac:spMk id="10" creationId="{46338273-659B-4BE6-8CB2-D880A35AB60D}"/>
          </ac:spMkLst>
        </pc:spChg>
      </pc:sldChg>
      <pc:sldChg chg="add del setBg">
        <pc:chgData name="Saranya Sriram" userId="31246c95-b325-49bd-b9d7-da3f09848d21" providerId="ADAL" clId="{1257B7C5-6374-4E27-BB26-3A140873B03A}" dt="2021-11-02T03:44:26.737" v="1106"/>
        <pc:sldMkLst>
          <pc:docMk/>
          <pc:sldMk cId="3911479358" sldId="2134804904"/>
        </pc:sldMkLst>
      </pc:sldChg>
      <pc:sldChg chg="modSp add mod">
        <pc:chgData name="Saranya Sriram" userId="31246c95-b325-49bd-b9d7-da3f09848d21" providerId="ADAL" clId="{1257B7C5-6374-4E27-BB26-3A140873B03A}" dt="2021-11-02T03:46:57.049" v="1224" actId="20577"/>
        <pc:sldMkLst>
          <pc:docMk/>
          <pc:sldMk cId="2098295146" sldId="2134804905"/>
        </pc:sldMkLst>
        <pc:spChg chg="mod">
          <ac:chgData name="Saranya Sriram" userId="31246c95-b325-49bd-b9d7-da3f09848d21" providerId="ADAL" clId="{1257B7C5-6374-4E27-BB26-3A140873B03A}" dt="2021-11-02T03:46:57.049" v="1224" actId="20577"/>
          <ac:spMkLst>
            <pc:docMk/>
            <pc:sldMk cId="2098295146" sldId="2134804905"/>
            <ac:spMk id="10" creationId="{46338273-659B-4BE6-8CB2-D880A35AB60D}"/>
          </ac:spMkLst>
        </pc:spChg>
      </pc:sldChg>
      <pc:sldChg chg="add del setBg">
        <pc:chgData name="Saranya Sriram" userId="31246c95-b325-49bd-b9d7-da3f09848d21" providerId="ADAL" clId="{1257B7C5-6374-4E27-BB26-3A140873B03A}" dt="2021-11-02T03:46:44.215" v="1216"/>
        <pc:sldMkLst>
          <pc:docMk/>
          <pc:sldMk cId="3629098563" sldId="2134804905"/>
        </pc:sldMkLst>
      </pc:sldChg>
      <pc:sldChg chg="add del setBg">
        <pc:chgData name="Saranya Sriram" userId="31246c95-b325-49bd-b9d7-da3f09848d21" providerId="ADAL" clId="{1257B7C5-6374-4E27-BB26-3A140873B03A}" dt="2021-11-02T03:47:47.235" v="1231"/>
        <pc:sldMkLst>
          <pc:docMk/>
          <pc:sldMk cId="2072581433" sldId="2134804906"/>
        </pc:sldMkLst>
      </pc:sldChg>
      <pc:sldChg chg="modSp add mod">
        <pc:chgData name="Saranya Sriram" userId="31246c95-b325-49bd-b9d7-da3f09848d21" providerId="ADAL" clId="{1257B7C5-6374-4E27-BB26-3A140873B03A}" dt="2021-11-02T03:47:51.463" v="1242" actId="20577"/>
        <pc:sldMkLst>
          <pc:docMk/>
          <pc:sldMk cId="3478468574" sldId="2134804906"/>
        </pc:sldMkLst>
        <pc:spChg chg="mod">
          <ac:chgData name="Saranya Sriram" userId="31246c95-b325-49bd-b9d7-da3f09848d21" providerId="ADAL" clId="{1257B7C5-6374-4E27-BB26-3A140873B03A}" dt="2021-11-02T03:47:51.463" v="1242" actId="20577"/>
          <ac:spMkLst>
            <pc:docMk/>
            <pc:sldMk cId="3478468574" sldId="2134804906"/>
            <ac:spMk id="10" creationId="{46338273-659B-4BE6-8CB2-D880A35AB60D}"/>
          </ac:spMkLst>
        </pc:spChg>
      </pc:sldChg>
      <pc:sldChg chg="addSp delSp modSp new mod">
        <pc:chgData name="Saranya Sriram" userId="31246c95-b325-49bd-b9d7-da3f09848d21" providerId="ADAL" clId="{1257B7C5-6374-4E27-BB26-3A140873B03A}" dt="2021-11-02T04:03:01.255" v="2369" actId="20577"/>
        <pc:sldMkLst>
          <pc:docMk/>
          <pc:sldMk cId="1722452994" sldId="2134804907"/>
        </pc:sldMkLst>
        <pc:spChg chg="del">
          <ac:chgData name="Saranya Sriram" userId="31246c95-b325-49bd-b9d7-da3f09848d21" providerId="ADAL" clId="{1257B7C5-6374-4E27-BB26-3A140873B03A}" dt="2021-11-02T03:53:50.390" v="1422" actId="478"/>
          <ac:spMkLst>
            <pc:docMk/>
            <pc:sldMk cId="1722452994" sldId="2134804907"/>
            <ac:spMk id="2" creationId="{ED24EFAD-D37C-42CD-9132-8BEF7139447F}"/>
          </ac:spMkLst>
        </pc:spChg>
        <pc:spChg chg="add mod">
          <ac:chgData name="Saranya Sriram" userId="31246c95-b325-49bd-b9d7-da3f09848d21" providerId="ADAL" clId="{1257B7C5-6374-4E27-BB26-3A140873B03A}" dt="2021-11-02T04:03:01.255" v="2369" actId="20577"/>
          <ac:spMkLst>
            <pc:docMk/>
            <pc:sldMk cId="1722452994" sldId="2134804907"/>
            <ac:spMk id="3" creationId="{F3898FA2-42DB-4FDF-9B22-E0DE094DFC70}"/>
          </ac:spMkLst>
        </pc:spChg>
      </pc:sldChg>
      <pc:sldChg chg="addSp delSp modSp new del mod">
        <pc:chgData name="Saranya Sriram" userId="31246c95-b325-49bd-b9d7-da3f09848d21" providerId="ADAL" clId="{1257B7C5-6374-4E27-BB26-3A140873B03A}" dt="2021-11-02T03:53:43.508" v="1419" actId="47"/>
        <pc:sldMkLst>
          <pc:docMk/>
          <pc:sldMk cId="1836205911" sldId="2134804907"/>
        </pc:sldMkLst>
        <pc:spChg chg="del">
          <ac:chgData name="Saranya Sriram" userId="31246c95-b325-49bd-b9d7-da3f09848d21" providerId="ADAL" clId="{1257B7C5-6374-4E27-BB26-3A140873B03A}" dt="2021-11-02T03:52:57.253" v="1416" actId="478"/>
          <ac:spMkLst>
            <pc:docMk/>
            <pc:sldMk cId="1836205911" sldId="2134804907"/>
            <ac:spMk id="2" creationId="{41BEA239-E652-4501-8427-199E6C51E795}"/>
          </ac:spMkLst>
        </pc:spChg>
        <pc:spChg chg="add mod">
          <ac:chgData name="Saranya Sriram" userId="31246c95-b325-49bd-b9d7-da3f09848d21" providerId="ADAL" clId="{1257B7C5-6374-4E27-BB26-3A140873B03A}" dt="2021-11-02T03:53:11.537" v="1418" actId="1076"/>
          <ac:spMkLst>
            <pc:docMk/>
            <pc:sldMk cId="1836205911" sldId="2134804907"/>
            <ac:spMk id="3" creationId="{33EEF813-A7AD-49D0-8680-896480ECA2CC}"/>
          </ac:spMkLst>
        </pc:spChg>
      </pc:sldChg>
      <pc:sldChg chg="add del setBg">
        <pc:chgData name="Saranya Sriram" userId="31246c95-b325-49bd-b9d7-da3f09848d21" providerId="ADAL" clId="{1257B7C5-6374-4E27-BB26-3A140873B03A}" dt="2021-11-02T03:57:11.190" v="1907"/>
        <pc:sldMkLst>
          <pc:docMk/>
          <pc:sldMk cId="1765590001" sldId="2134804908"/>
        </pc:sldMkLst>
      </pc:sldChg>
      <pc:sldChg chg="modSp add mod">
        <pc:chgData name="Saranya Sriram" userId="31246c95-b325-49bd-b9d7-da3f09848d21" providerId="ADAL" clId="{1257B7C5-6374-4E27-BB26-3A140873B03A}" dt="2021-11-02T03:57:28.450" v="1935" actId="1076"/>
        <pc:sldMkLst>
          <pc:docMk/>
          <pc:sldMk cId="2612623634" sldId="2134804908"/>
        </pc:sldMkLst>
        <pc:spChg chg="mod">
          <ac:chgData name="Saranya Sriram" userId="31246c95-b325-49bd-b9d7-da3f09848d21" providerId="ADAL" clId="{1257B7C5-6374-4E27-BB26-3A140873B03A}" dt="2021-11-02T03:57:28.450" v="1935" actId="1076"/>
          <ac:spMkLst>
            <pc:docMk/>
            <pc:sldMk cId="2612623634" sldId="2134804908"/>
            <ac:spMk id="7" creationId="{9410CB4F-A4AF-4E3D-80D0-4DC253939513}"/>
          </ac:spMkLst>
        </pc:spChg>
      </pc:sldChg>
      <pc:sldChg chg="modSp add mod">
        <pc:chgData name="Saranya Sriram" userId="31246c95-b325-49bd-b9d7-da3f09848d21" providerId="ADAL" clId="{1257B7C5-6374-4E27-BB26-3A140873B03A}" dt="2021-11-02T04:08:57.995" v="2855" actId="6549"/>
        <pc:sldMkLst>
          <pc:docMk/>
          <pc:sldMk cId="3126294590" sldId="2134804909"/>
        </pc:sldMkLst>
        <pc:spChg chg="mod">
          <ac:chgData name="Saranya Sriram" userId="31246c95-b325-49bd-b9d7-da3f09848d21" providerId="ADAL" clId="{1257B7C5-6374-4E27-BB26-3A140873B03A}" dt="2021-11-02T04:03:18.093" v="2411" actId="20577"/>
          <ac:spMkLst>
            <pc:docMk/>
            <pc:sldMk cId="3126294590" sldId="2134804909"/>
            <ac:spMk id="3" creationId="{A3FC531D-0387-4108-AB53-1C8200874C02}"/>
          </ac:spMkLst>
        </pc:spChg>
        <pc:spChg chg="mod">
          <ac:chgData name="Saranya Sriram" userId="31246c95-b325-49bd-b9d7-da3f09848d21" providerId="ADAL" clId="{1257B7C5-6374-4E27-BB26-3A140873B03A}" dt="2021-11-02T04:08:57.995" v="2855" actId="6549"/>
          <ac:spMkLst>
            <pc:docMk/>
            <pc:sldMk cId="3126294590" sldId="2134804909"/>
            <ac:spMk id="4" creationId="{826A531D-5D57-4809-980D-F5B53B2298A2}"/>
          </ac:spMkLst>
        </pc:spChg>
      </pc:sldChg>
      <pc:sldMasterChg chg="delSp mod">
        <pc:chgData name="Saranya Sriram" userId="31246c95-b325-49bd-b9d7-da3f09848d21" providerId="ADAL" clId="{1257B7C5-6374-4E27-BB26-3A140873B03A}" dt="2021-11-02T03:53:45.623" v="1420" actId="33475"/>
        <pc:sldMasterMkLst>
          <pc:docMk/>
          <pc:sldMasterMk cId="1073391005" sldId="2147483660"/>
        </pc:sldMasterMkLst>
        <pc:spChg chg="del">
          <ac:chgData name="Saranya Sriram" userId="31246c95-b325-49bd-b9d7-da3f09848d21" providerId="ADAL" clId="{1257B7C5-6374-4E27-BB26-3A140873B03A}" dt="2021-11-02T03:53:45.623" v="1420" actId="33475"/>
          <ac:spMkLst>
            <pc:docMk/>
            <pc:sldMasterMk cId="1073391005" sldId="2147483660"/>
            <ac:spMk id="5" creationId="{4AD1C281-DF1F-42D3-BACC-8A1232B14303}"/>
          </ac:spMkLst>
        </pc:spChg>
        <pc:spChg chg="del">
          <ac:chgData name="Saranya Sriram" userId="31246c95-b325-49bd-b9d7-da3f09848d21" providerId="ADAL" clId="{1257B7C5-6374-4E27-BB26-3A140873B03A}" dt="2021-11-02T03:53:45.623" v="1420" actId="33475"/>
          <ac:spMkLst>
            <pc:docMk/>
            <pc:sldMasterMk cId="1073391005" sldId="2147483660"/>
            <ac:spMk id="6" creationId="{944209BB-29D8-4393-92E7-D1EA96AB596D}"/>
          </ac:spMkLst>
        </pc:spChg>
      </pc:sldMasterChg>
      <pc:sldMasterChg chg="delSp mod delSldLayout">
        <pc:chgData name="Saranya Sriram" userId="31246c95-b325-49bd-b9d7-da3f09848d21" providerId="ADAL" clId="{1257B7C5-6374-4E27-BB26-3A140873B03A}" dt="2021-11-02T03:53:45.623" v="1420" actId="33475"/>
        <pc:sldMasterMkLst>
          <pc:docMk/>
          <pc:sldMasterMk cId="2545682526" sldId="2147483714"/>
        </pc:sldMasterMkLst>
        <pc:spChg chg="del">
          <ac:chgData name="Saranya Sriram" userId="31246c95-b325-49bd-b9d7-da3f09848d21" providerId="ADAL" clId="{1257B7C5-6374-4E27-BB26-3A140873B03A}" dt="2021-11-02T03:53:45.623" v="1420" actId="33475"/>
          <ac:spMkLst>
            <pc:docMk/>
            <pc:sldMasterMk cId="2545682526" sldId="2147483714"/>
            <ac:spMk id="3" creationId="{338F7E02-165D-43CB-AFA0-E6A5576B740D}"/>
          </ac:spMkLst>
        </pc:spChg>
        <pc:spChg chg="del">
          <ac:chgData name="Saranya Sriram" userId="31246c95-b325-49bd-b9d7-da3f09848d21" providerId="ADAL" clId="{1257B7C5-6374-4E27-BB26-3A140873B03A}" dt="2021-11-02T03:53:45.623" v="1420" actId="33475"/>
          <ac:spMkLst>
            <pc:docMk/>
            <pc:sldMasterMk cId="2545682526" sldId="2147483714"/>
            <ac:spMk id="6" creationId="{783C706B-8FB7-4CDA-A217-500EDCE7A51E}"/>
          </ac:spMkLst>
        </pc:spChg>
        <pc:sldLayoutChg chg="del">
          <pc:chgData name="Saranya Sriram" userId="31246c95-b325-49bd-b9d7-da3f09848d21" providerId="ADAL" clId="{1257B7C5-6374-4E27-BB26-3A140873B03A}" dt="2021-11-02T02:13:39.407" v="101" actId="47"/>
          <pc:sldLayoutMkLst>
            <pc:docMk/>
            <pc:sldMasterMk cId="2545682526" sldId="2147483714"/>
            <pc:sldLayoutMk cId="366232739" sldId="2147483994"/>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829094949" sldId="2147483995"/>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3029631438" sldId="2147483996"/>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2837075585" sldId="2147483997"/>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2654317503" sldId="2147483998"/>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890477439" sldId="2147483999"/>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2592994200" sldId="2147484000"/>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3476739073" sldId="2147484001"/>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2292379751" sldId="2147484002"/>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946016261" sldId="2147484003"/>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1407375286" sldId="2147484004"/>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1136800888" sldId="2147484005"/>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3694431840" sldId="2147484006"/>
          </pc:sldLayoutMkLst>
        </pc:sldLayoutChg>
        <pc:sldLayoutChg chg="del">
          <pc:chgData name="Saranya Sriram" userId="31246c95-b325-49bd-b9d7-da3f09848d21" providerId="ADAL" clId="{1257B7C5-6374-4E27-BB26-3A140873B03A}" dt="2021-11-02T02:13:39.407" v="101" actId="47"/>
          <pc:sldLayoutMkLst>
            <pc:docMk/>
            <pc:sldMasterMk cId="2545682526" sldId="2147483714"/>
            <pc:sldLayoutMk cId="2186472301" sldId="2147484007"/>
          </pc:sldLayoutMkLst>
        </pc:sldLayoutChg>
      </pc:sldMasterChg>
      <pc:sldMasterChg chg="delSp mod">
        <pc:chgData name="Saranya Sriram" userId="31246c95-b325-49bd-b9d7-da3f09848d21" providerId="ADAL" clId="{1257B7C5-6374-4E27-BB26-3A140873B03A}" dt="2021-11-02T03:53:45.623" v="1420" actId="33475"/>
        <pc:sldMasterMkLst>
          <pc:docMk/>
          <pc:sldMasterMk cId="1611049375" sldId="2147483731"/>
        </pc:sldMasterMkLst>
        <pc:spChg chg="del">
          <ac:chgData name="Saranya Sriram" userId="31246c95-b325-49bd-b9d7-da3f09848d21" providerId="ADAL" clId="{1257B7C5-6374-4E27-BB26-3A140873B03A}" dt="2021-11-02T03:53:45.623" v="1420" actId="33475"/>
          <ac:spMkLst>
            <pc:docMk/>
            <pc:sldMasterMk cId="1611049375" sldId="2147483731"/>
            <ac:spMk id="5" creationId="{EC257279-3805-4C3A-8C94-086B8D5E555A}"/>
          </ac:spMkLst>
        </pc:spChg>
        <pc:spChg chg="del">
          <ac:chgData name="Saranya Sriram" userId="31246c95-b325-49bd-b9d7-da3f09848d21" providerId="ADAL" clId="{1257B7C5-6374-4E27-BB26-3A140873B03A}" dt="2021-11-02T03:53:45.623" v="1420" actId="33475"/>
          <ac:spMkLst>
            <pc:docMk/>
            <pc:sldMasterMk cId="1611049375" sldId="2147483731"/>
            <ac:spMk id="6" creationId="{830D129D-2C5A-44E8-B35E-E9FCCD696E97}"/>
          </ac:spMkLst>
        </pc:spChg>
      </pc:sldMasterChg>
      <pc:sldMasterChg chg="delSp mod">
        <pc:chgData name="Saranya Sriram" userId="31246c95-b325-49bd-b9d7-da3f09848d21" providerId="ADAL" clId="{1257B7C5-6374-4E27-BB26-3A140873B03A}" dt="2021-11-02T03:53:45.623" v="1420" actId="33475"/>
        <pc:sldMasterMkLst>
          <pc:docMk/>
          <pc:sldMasterMk cId="1905006952" sldId="2147483774"/>
        </pc:sldMasterMkLst>
        <pc:spChg chg="del">
          <ac:chgData name="Saranya Sriram" userId="31246c95-b325-49bd-b9d7-da3f09848d21" providerId="ADAL" clId="{1257B7C5-6374-4E27-BB26-3A140873B03A}" dt="2021-11-02T03:53:45.623" v="1420" actId="33475"/>
          <ac:spMkLst>
            <pc:docMk/>
            <pc:sldMasterMk cId="1905006952" sldId="2147483774"/>
            <ac:spMk id="3" creationId="{A63C4B16-F324-4F51-9C17-9503A8C439B9}"/>
          </ac:spMkLst>
        </pc:spChg>
        <pc:spChg chg="del">
          <ac:chgData name="Saranya Sriram" userId="31246c95-b325-49bd-b9d7-da3f09848d21" providerId="ADAL" clId="{1257B7C5-6374-4E27-BB26-3A140873B03A}" dt="2021-11-02T03:53:45.623" v="1420" actId="33475"/>
          <ac:spMkLst>
            <pc:docMk/>
            <pc:sldMasterMk cId="1905006952" sldId="2147483774"/>
            <ac:spMk id="5" creationId="{16EBA468-2201-4145-B82B-85AAEC409FA2}"/>
          </ac:spMkLst>
        </pc:spChg>
      </pc:sldMasterChg>
      <pc:sldMasterChg chg="delSp mod">
        <pc:chgData name="Saranya Sriram" userId="31246c95-b325-49bd-b9d7-da3f09848d21" providerId="ADAL" clId="{1257B7C5-6374-4E27-BB26-3A140873B03A}" dt="2021-11-02T03:53:45.623" v="1420" actId="33475"/>
        <pc:sldMasterMkLst>
          <pc:docMk/>
          <pc:sldMasterMk cId="168588104" sldId="2147483828"/>
        </pc:sldMasterMkLst>
        <pc:spChg chg="del">
          <ac:chgData name="Saranya Sriram" userId="31246c95-b325-49bd-b9d7-da3f09848d21" providerId="ADAL" clId="{1257B7C5-6374-4E27-BB26-3A140873B03A}" dt="2021-11-02T03:53:45.623" v="1420" actId="33475"/>
          <ac:spMkLst>
            <pc:docMk/>
            <pc:sldMasterMk cId="168588104" sldId="2147483828"/>
            <ac:spMk id="3" creationId="{9FD6DC19-75BF-4D0A-BCF5-202386E423B7}"/>
          </ac:spMkLst>
        </pc:spChg>
        <pc:spChg chg="del">
          <ac:chgData name="Saranya Sriram" userId="31246c95-b325-49bd-b9d7-da3f09848d21" providerId="ADAL" clId="{1257B7C5-6374-4E27-BB26-3A140873B03A}" dt="2021-11-02T03:53:45.623" v="1420" actId="33475"/>
          <ac:spMkLst>
            <pc:docMk/>
            <pc:sldMasterMk cId="168588104" sldId="2147483828"/>
            <ac:spMk id="5" creationId="{674AAC3C-B0C2-45FA-9EF6-4B9165945C61}"/>
          </ac:spMkLst>
        </pc:spChg>
      </pc:sldMasterChg>
      <pc:sldMasterChg chg="delSp mod">
        <pc:chgData name="Saranya Sriram" userId="31246c95-b325-49bd-b9d7-da3f09848d21" providerId="ADAL" clId="{1257B7C5-6374-4E27-BB26-3A140873B03A}" dt="2021-11-02T03:53:45.623" v="1420" actId="33475"/>
        <pc:sldMasterMkLst>
          <pc:docMk/>
          <pc:sldMasterMk cId="1226823501" sldId="2147483840"/>
        </pc:sldMasterMkLst>
        <pc:spChg chg="del">
          <ac:chgData name="Saranya Sriram" userId="31246c95-b325-49bd-b9d7-da3f09848d21" providerId="ADAL" clId="{1257B7C5-6374-4E27-BB26-3A140873B03A}" dt="2021-11-02T03:53:45.623" v="1420" actId="33475"/>
          <ac:spMkLst>
            <pc:docMk/>
            <pc:sldMasterMk cId="1226823501" sldId="2147483840"/>
            <ac:spMk id="6" creationId="{B0AAC6E3-8B9C-47B8-AFB3-E371F20AD637}"/>
          </ac:spMkLst>
        </pc:spChg>
        <pc:spChg chg="del">
          <ac:chgData name="Saranya Sriram" userId="31246c95-b325-49bd-b9d7-da3f09848d21" providerId="ADAL" clId="{1257B7C5-6374-4E27-BB26-3A140873B03A}" dt="2021-11-02T03:53:45.623" v="1420" actId="33475"/>
          <ac:spMkLst>
            <pc:docMk/>
            <pc:sldMasterMk cId="1226823501" sldId="2147483840"/>
            <ac:spMk id="8" creationId="{F1FAFB01-6D80-4B63-87A6-AC530D78CA74}"/>
          </ac:spMkLst>
        </pc:spChg>
      </pc:sldMasterChg>
      <pc:sldMasterChg chg="delSp mod">
        <pc:chgData name="Saranya Sriram" userId="31246c95-b325-49bd-b9d7-da3f09848d21" providerId="ADAL" clId="{1257B7C5-6374-4E27-BB26-3A140873B03A}" dt="2021-11-02T03:53:45.623" v="1420" actId="33475"/>
        <pc:sldMasterMkLst>
          <pc:docMk/>
          <pc:sldMasterMk cId="1515429150" sldId="2147483891"/>
        </pc:sldMasterMkLst>
        <pc:spChg chg="del">
          <ac:chgData name="Saranya Sriram" userId="31246c95-b325-49bd-b9d7-da3f09848d21" providerId="ADAL" clId="{1257B7C5-6374-4E27-BB26-3A140873B03A}" dt="2021-11-02T03:53:45.623" v="1420" actId="33475"/>
          <ac:spMkLst>
            <pc:docMk/>
            <pc:sldMasterMk cId="1515429150" sldId="2147483891"/>
            <ac:spMk id="5" creationId="{BCEAEB8E-197A-4710-8038-DAF176680A7F}"/>
          </ac:spMkLst>
        </pc:spChg>
        <pc:spChg chg="del">
          <ac:chgData name="Saranya Sriram" userId="31246c95-b325-49bd-b9d7-da3f09848d21" providerId="ADAL" clId="{1257B7C5-6374-4E27-BB26-3A140873B03A}" dt="2021-11-02T03:53:45.623" v="1420" actId="33475"/>
          <ac:spMkLst>
            <pc:docMk/>
            <pc:sldMasterMk cId="1515429150" sldId="2147483891"/>
            <ac:spMk id="6" creationId="{9683A53F-5881-4416-93B0-9CF561F4C125}"/>
          </ac:spMkLst>
        </pc:spChg>
      </pc:sldMasterChg>
      <pc:sldMasterChg chg="delSp mod">
        <pc:chgData name="Saranya Sriram" userId="31246c95-b325-49bd-b9d7-da3f09848d21" providerId="ADAL" clId="{1257B7C5-6374-4E27-BB26-3A140873B03A}" dt="2021-11-02T03:53:45.623" v="1420" actId="33475"/>
        <pc:sldMasterMkLst>
          <pc:docMk/>
          <pc:sldMasterMk cId="4028838311" sldId="2147483923"/>
        </pc:sldMasterMkLst>
        <pc:spChg chg="del">
          <ac:chgData name="Saranya Sriram" userId="31246c95-b325-49bd-b9d7-da3f09848d21" providerId="ADAL" clId="{1257B7C5-6374-4E27-BB26-3A140873B03A}" dt="2021-11-02T03:53:45.623" v="1420" actId="33475"/>
          <ac:spMkLst>
            <pc:docMk/>
            <pc:sldMasterMk cId="4028838311" sldId="2147483923"/>
            <ac:spMk id="5" creationId="{D64DD851-70B5-43B1-9E0B-237742C25DF6}"/>
          </ac:spMkLst>
        </pc:spChg>
        <pc:spChg chg="del">
          <ac:chgData name="Saranya Sriram" userId="31246c95-b325-49bd-b9d7-da3f09848d21" providerId="ADAL" clId="{1257B7C5-6374-4E27-BB26-3A140873B03A}" dt="2021-11-02T03:53:45.623" v="1420" actId="33475"/>
          <ac:spMkLst>
            <pc:docMk/>
            <pc:sldMasterMk cId="4028838311" sldId="2147483923"/>
            <ac:spMk id="6" creationId="{51384F17-7F52-4369-B4F7-737A33202346}"/>
          </ac:spMkLst>
        </pc:spChg>
      </pc:sldMasterChg>
      <pc:sldMasterChg chg="delSp mod">
        <pc:chgData name="Saranya Sriram" userId="31246c95-b325-49bd-b9d7-da3f09848d21" providerId="ADAL" clId="{1257B7C5-6374-4E27-BB26-3A140873B03A}" dt="2021-11-02T03:53:45.623" v="1420" actId="33475"/>
        <pc:sldMasterMkLst>
          <pc:docMk/>
          <pc:sldMasterMk cId="859721774" sldId="2147483950"/>
        </pc:sldMasterMkLst>
        <pc:spChg chg="del">
          <ac:chgData name="Saranya Sriram" userId="31246c95-b325-49bd-b9d7-da3f09848d21" providerId="ADAL" clId="{1257B7C5-6374-4E27-BB26-3A140873B03A}" dt="2021-11-02T03:53:45.623" v="1420" actId="33475"/>
          <ac:spMkLst>
            <pc:docMk/>
            <pc:sldMasterMk cId="859721774" sldId="2147483950"/>
            <ac:spMk id="3" creationId="{0C373B8B-A2A7-4282-AB1B-F11A26A2F68D}"/>
          </ac:spMkLst>
        </pc:spChg>
        <pc:spChg chg="del">
          <ac:chgData name="Saranya Sriram" userId="31246c95-b325-49bd-b9d7-da3f09848d21" providerId="ADAL" clId="{1257B7C5-6374-4E27-BB26-3A140873B03A}" dt="2021-11-02T03:53:45.623" v="1420" actId="33475"/>
          <ac:spMkLst>
            <pc:docMk/>
            <pc:sldMasterMk cId="859721774" sldId="2147483950"/>
            <ac:spMk id="6" creationId="{FD988028-03F7-4BB0-A28F-9ECE713CBD3A}"/>
          </ac:spMkLst>
        </pc:spChg>
      </pc:sldMasterChg>
      <pc:sldMasterChg chg="delSp mod">
        <pc:chgData name="Saranya Sriram" userId="31246c95-b325-49bd-b9d7-da3f09848d21" providerId="ADAL" clId="{1257B7C5-6374-4E27-BB26-3A140873B03A}" dt="2021-11-02T03:53:45.623" v="1420" actId="33475"/>
        <pc:sldMasterMkLst>
          <pc:docMk/>
          <pc:sldMasterMk cId="4223035275" sldId="2147483968"/>
        </pc:sldMasterMkLst>
        <pc:spChg chg="del">
          <ac:chgData name="Saranya Sriram" userId="31246c95-b325-49bd-b9d7-da3f09848d21" providerId="ADAL" clId="{1257B7C5-6374-4E27-BB26-3A140873B03A}" dt="2021-11-02T03:53:45.623" v="1420" actId="33475"/>
          <ac:spMkLst>
            <pc:docMk/>
            <pc:sldMasterMk cId="4223035275" sldId="2147483968"/>
            <ac:spMk id="3" creationId="{B7C646AE-11D0-4BCA-B153-5F1E193FB861}"/>
          </ac:spMkLst>
        </pc:spChg>
        <pc:spChg chg="del">
          <ac:chgData name="Saranya Sriram" userId="31246c95-b325-49bd-b9d7-da3f09848d21" providerId="ADAL" clId="{1257B7C5-6374-4E27-BB26-3A140873B03A}" dt="2021-11-02T03:53:45.623" v="1420" actId="33475"/>
          <ac:spMkLst>
            <pc:docMk/>
            <pc:sldMasterMk cId="4223035275" sldId="2147483968"/>
            <ac:spMk id="5" creationId="{55323049-F39A-4DA7-AA3D-9478B73A43B7}"/>
          </ac:spMkLst>
        </pc:spChg>
      </pc:sldMasterChg>
      <pc:sldMasterChg chg="delSldLayout">
        <pc:chgData name="Saranya Sriram" userId="31246c95-b325-49bd-b9d7-da3f09848d21" providerId="ADAL" clId="{1257B7C5-6374-4E27-BB26-3A140873B03A}" dt="2021-11-02T02:20:13.883" v="279" actId="47"/>
        <pc:sldMasterMkLst>
          <pc:docMk/>
          <pc:sldMasterMk cId="3050897007" sldId="2147483994"/>
        </pc:sldMasterMkLst>
        <pc:sldLayoutChg chg="del">
          <pc:chgData name="Saranya Sriram" userId="31246c95-b325-49bd-b9d7-da3f09848d21" providerId="ADAL" clId="{1257B7C5-6374-4E27-BB26-3A140873B03A}" dt="2021-11-02T02:19:56.939" v="256" actId="47"/>
          <pc:sldLayoutMkLst>
            <pc:docMk/>
            <pc:sldMasterMk cId="3050897007" sldId="2147483994"/>
            <pc:sldLayoutMk cId="1299143924" sldId="2147484004"/>
          </pc:sldLayoutMkLst>
        </pc:sldLayoutChg>
        <pc:sldLayoutChg chg="del">
          <pc:chgData name="Saranya Sriram" userId="31246c95-b325-49bd-b9d7-da3f09848d21" providerId="ADAL" clId="{1257B7C5-6374-4E27-BB26-3A140873B03A}" dt="2021-11-02T02:19:55.205" v="254" actId="47"/>
          <pc:sldLayoutMkLst>
            <pc:docMk/>
            <pc:sldMasterMk cId="3050897007" sldId="2147483994"/>
            <pc:sldLayoutMk cId="895639630" sldId="2147484005"/>
          </pc:sldLayoutMkLst>
        </pc:sldLayoutChg>
        <pc:sldLayoutChg chg="del">
          <pc:chgData name="Saranya Sriram" userId="31246c95-b325-49bd-b9d7-da3f09848d21" providerId="ADAL" clId="{1257B7C5-6374-4E27-BB26-3A140873B03A}" dt="2021-11-02T02:20:12.826" v="278" actId="47"/>
          <pc:sldLayoutMkLst>
            <pc:docMk/>
            <pc:sldMasterMk cId="3050897007" sldId="2147483994"/>
            <pc:sldLayoutMk cId="3237974332" sldId="2147484006"/>
          </pc:sldLayoutMkLst>
        </pc:sldLayoutChg>
        <pc:sldLayoutChg chg="del">
          <pc:chgData name="Saranya Sriram" userId="31246c95-b325-49bd-b9d7-da3f09848d21" providerId="ADAL" clId="{1257B7C5-6374-4E27-BB26-3A140873B03A}" dt="2021-11-02T02:20:10.930" v="276" actId="47"/>
          <pc:sldLayoutMkLst>
            <pc:docMk/>
            <pc:sldMasterMk cId="3050897007" sldId="2147483994"/>
            <pc:sldLayoutMk cId="1739213538" sldId="2147484007"/>
          </pc:sldLayoutMkLst>
        </pc:sldLayoutChg>
        <pc:sldLayoutChg chg="del">
          <pc:chgData name="Saranya Sriram" userId="31246c95-b325-49bd-b9d7-da3f09848d21" providerId="ADAL" clId="{1257B7C5-6374-4E27-BB26-3A140873B03A}" dt="2021-11-02T02:20:13.883" v="279" actId="47"/>
          <pc:sldLayoutMkLst>
            <pc:docMk/>
            <pc:sldMasterMk cId="3050897007" sldId="2147483994"/>
            <pc:sldLayoutMk cId="1511786722" sldId="2147484008"/>
          </pc:sldLayoutMkLst>
        </pc:sldLayoutChg>
      </pc:sldMasterChg>
    </pc:docChg>
  </pc:docChgLst>
  <pc:docChgLst>
    <pc:chgData name="Saranya Sriram" userId="31246c95-b325-49bd-b9d7-da3f09848d21" providerId="ADAL" clId="{D5068DBE-EAAE-4312-BC48-8FE28F21FB1F}"/>
    <pc:docChg chg="undo custSel addSld delSld modSld sldOrd delMainMaster modSection">
      <pc:chgData name="Saranya Sriram" userId="31246c95-b325-49bd-b9d7-da3f09848d21" providerId="ADAL" clId="{D5068DBE-EAAE-4312-BC48-8FE28F21FB1F}" dt="2022-09-21T02:58:49.218" v="1565" actId="1076"/>
      <pc:docMkLst>
        <pc:docMk/>
      </pc:docMkLst>
      <pc:sldChg chg="modSp del mod">
        <pc:chgData name="Saranya Sriram" userId="31246c95-b325-49bd-b9d7-da3f09848d21" providerId="ADAL" clId="{D5068DBE-EAAE-4312-BC48-8FE28F21FB1F}" dt="2022-09-21T00:15:35.759" v="130" actId="47"/>
        <pc:sldMkLst>
          <pc:docMk/>
          <pc:sldMk cId="3854447715" sldId="257"/>
        </pc:sldMkLst>
        <pc:spChg chg="mod">
          <ac:chgData name="Saranya Sriram" userId="31246c95-b325-49bd-b9d7-da3f09848d21" providerId="ADAL" clId="{D5068DBE-EAAE-4312-BC48-8FE28F21FB1F}" dt="2022-09-20T23:34:52.870" v="89" actId="20577"/>
          <ac:spMkLst>
            <pc:docMk/>
            <pc:sldMk cId="3854447715" sldId="257"/>
            <ac:spMk id="7" creationId="{6881F07D-971D-494E-9BD7-4F0F619BBC47}"/>
          </ac:spMkLst>
        </pc:spChg>
        <pc:spChg chg="mod">
          <ac:chgData name="Saranya Sriram" userId="31246c95-b325-49bd-b9d7-da3f09848d21" providerId="ADAL" clId="{D5068DBE-EAAE-4312-BC48-8FE28F21FB1F}" dt="2022-09-20T23:39:31.518" v="113" actId="20577"/>
          <ac:spMkLst>
            <pc:docMk/>
            <pc:sldMk cId="3854447715" sldId="257"/>
            <ac:spMk id="9" creationId="{C24E5013-8F15-4062-93AF-41127B14B78F}"/>
          </ac:spMkLst>
        </pc:spChg>
        <pc:spChg chg="mod">
          <ac:chgData name="Saranya Sriram" userId="31246c95-b325-49bd-b9d7-da3f09848d21" providerId="ADAL" clId="{D5068DBE-EAAE-4312-BC48-8FE28F21FB1F}" dt="2022-09-20T23:34:46.296" v="71" actId="20577"/>
          <ac:spMkLst>
            <pc:docMk/>
            <pc:sldMk cId="3854447715" sldId="257"/>
            <ac:spMk id="15" creationId="{015F3C26-CC2D-4BAE-AC71-517DA6532AA9}"/>
          </ac:spMkLst>
        </pc:spChg>
      </pc:sldChg>
      <pc:sldChg chg="add del">
        <pc:chgData name="Saranya Sriram" userId="31246c95-b325-49bd-b9d7-da3f09848d21" providerId="ADAL" clId="{D5068DBE-EAAE-4312-BC48-8FE28F21FB1F}" dt="2022-09-21T00:52:10.101" v="155"/>
        <pc:sldMkLst>
          <pc:docMk/>
          <pc:sldMk cId="979541905" sldId="261"/>
        </pc:sldMkLst>
      </pc:sldChg>
      <pc:sldChg chg="add">
        <pc:chgData name="Saranya Sriram" userId="31246c95-b325-49bd-b9d7-da3f09848d21" providerId="ADAL" clId="{D5068DBE-EAAE-4312-BC48-8FE28F21FB1F}" dt="2022-09-20T23:40:01.015" v="114"/>
        <pc:sldMkLst>
          <pc:docMk/>
          <pc:sldMk cId="4102841625" sldId="262"/>
        </pc:sldMkLst>
      </pc:sldChg>
      <pc:sldChg chg="add del">
        <pc:chgData name="Saranya Sriram" userId="31246c95-b325-49bd-b9d7-da3f09848d21" providerId="ADAL" clId="{D5068DBE-EAAE-4312-BC48-8FE28F21FB1F}" dt="2022-09-21T00:52:10.101" v="155"/>
        <pc:sldMkLst>
          <pc:docMk/>
          <pc:sldMk cId="1049228586" sldId="263"/>
        </pc:sldMkLst>
      </pc:sldChg>
      <pc:sldChg chg="add del">
        <pc:chgData name="Saranya Sriram" userId="31246c95-b325-49bd-b9d7-da3f09848d21" providerId="ADAL" clId="{D5068DBE-EAAE-4312-BC48-8FE28F21FB1F}" dt="2022-09-21T00:21:03.911" v="149" actId="47"/>
        <pc:sldMkLst>
          <pc:docMk/>
          <pc:sldMk cId="282314174" sldId="264"/>
        </pc:sldMkLst>
      </pc:sldChg>
      <pc:sldChg chg="modSp add del mod setBg">
        <pc:chgData name="Saranya Sriram" userId="31246c95-b325-49bd-b9d7-da3f09848d21" providerId="ADAL" clId="{D5068DBE-EAAE-4312-BC48-8FE28F21FB1F}" dt="2022-09-21T01:31:20.329" v="367"/>
        <pc:sldMkLst>
          <pc:docMk/>
          <pc:sldMk cId="1665215003" sldId="273"/>
        </pc:sldMkLst>
        <pc:spChg chg="mod">
          <ac:chgData name="Saranya Sriram" userId="31246c95-b325-49bd-b9d7-da3f09848d21" providerId="ADAL" clId="{D5068DBE-EAAE-4312-BC48-8FE28F21FB1F}" dt="2022-09-21T01:31:20.273" v="366"/>
          <ac:spMkLst>
            <pc:docMk/>
            <pc:sldMk cId="1665215003" sldId="273"/>
            <ac:spMk id="2" creationId="{9495F590-6B5A-4233-8B18-5B6C45994E18}"/>
          </ac:spMkLst>
        </pc:spChg>
        <pc:spChg chg="mod">
          <ac:chgData name="Saranya Sriram" userId="31246c95-b325-49bd-b9d7-da3f09848d21" providerId="ADAL" clId="{D5068DBE-EAAE-4312-BC48-8FE28F21FB1F}" dt="2022-09-21T01:31:20.273" v="366"/>
          <ac:spMkLst>
            <pc:docMk/>
            <pc:sldMk cId="1665215003" sldId="273"/>
            <ac:spMk id="28" creationId="{1BC4194D-A233-4F32-8445-F344E1804FEF}"/>
          </ac:spMkLst>
        </pc:spChg>
      </pc:sldChg>
      <pc:sldChg chg="add del">
        <pc:chgData name="Saranya Sriram" userId="31246c95-b325-49bd-b9d7-da3f09848d21" providerId="ADAL" clId="{D5068DBE-EAAE-4312-BC48-8FE28F21FB1F}" dt="2022-09-21T02:14:53.043" v="1072" actId="47"/>
        <pc:sldMkLst>
          <pc:docMk/>
          <pc:sldMk cId="2974304764" sldId="275"/>
        </pc:sldMkLst>
      </pc:sldChg>
      <pc:sldChg chg="add del setBg">
        <pc:chgData name="Saranya Sriram" userId="31246c95-b325-49bd-b9d7-da3f09848d21" providerId="ADAL" clId="{D5068DBE-EAAE-4312-BC48-8FE28F21FB1F}" dt="2022-09-21T01:31:20.329" v="367"/>
        <pc:sldMkLst>
          <pc:docMk/>
          <pc:sldMk cId="3955322467" sldId="277"/>
        </pc:sldMkLst>
      </pc:sldChg>
      <pc:sldChg chg="modSp add del mod">
        <pc:chgData name="Saranya Sriram" userId="31246c95-b325-49bd-b9d7-da3f09848d21" providerId="ADAL" clId="{D5068DBE-EAAE-4312-BC48-8FE28F21FB1F}" dt="2022-09-21T01:31:20.329" v="367"/>
        <pc:sldMkLst>
          <pc:docMk/>
          <pc:sldMk cId="2159981094" sldId="278"/>
        </pc:sldMkLst>
        <pc:spChg chg="mod">
          <ac:chgData name="Saranya Sriram" userId="31246c95-b325-49bd-b9d7-da3f09848d21" providerId="ADAL" clId="{D5068DBE-EAAE-4312-BC48-8FE28F21FB1F}" dt="2022-09-21T01:31:20.273" v="366"/>
          <ac:spMkLst>
            <pc:docMk/>
            <pc:sldMk cId="2159981094" sldId="278"/>
            <ac:spMk id="4" creationId="{FB5036B2-7E2C-BE4B-9935-21AA94A1A881}"/>
          </ac:spMkLst>
        </pc:spChg>
      </pc:sldChg>
      <pc:sldChg chg="del">
        <pc:chgData name="Saranya Sriram" userId="31246c95-b325-49bd-b9d7-da3f09848d21" providerId="ADAL" clId="{D5068DBE-EAAE-4312-BC48-8FE28F21FB1F}" dt="2022-09-21T00:16:33.632" v="135" actId="47"/>
        <pc:sldMkLst>
          <pc:docMk/>
          <pc:sldMk cId="3639179457" sldId="279"/>
        </pc:sldMkLst>
      </pc:sldChg>
      <pc:sldChg chg="del">
        <pc:chgData name="Saranya Sriram" userId="31246c95-b325-49bd-b9d7-da3f09848d21" providerId="ADAL" clId="{D5068DBE-EAAE-4312-BC48-8FE28F21FB1F}" dt="2022-09-20T23:35:20.420" v="108" actId="47"/>
        <pc:sldMkLst>
          <pc:docMk/>
          <pc:sldMk cId="1493913159" sldId="284"/>
        </pc:sldMkLst>
      </pc:sldChg>
      <pc:sldChg chg="add">
        <pc:chgData name="Saranya Sriram" userId="31246c95-b325-49bd-b9d7-da3f09848d21" providerId="ADAL" clId="{D5068DBE-EAAE-4312-BC48-8FE28F21FB1F}" dt="2022-09-20T23:41:33.996" v="116"/>
        <pc:sldMkLst>
          <pc:docMk/>
          <pc:sldMk cId="4017063525" sldId="293"/>
        </pc:sldMkLst>
      </pc:sldChg>
      <pc:sldChg chg="modSp add mod modTransition">
        <pc:chgData name="Saranya Sriram" userId="31246c95-b325-49bd-b9d7-da3f09848d21" providerId="ADAL" clId="{D5068DBE-EAAE-4312-BC48-8FE28F21FB1F}" dt="2022-09-20T23:41:54.582" v="121" actId="14100"/>
        <pc:sldMkLst>
          <pc:docMk/>
          <pc:sldMk cId="1910901236" sldId="294"/>
        </pc:sldMkLst>
        <pc:spChg chg="mod">
          <ac:chgData name="Saranya Sriram" userId="31246c95-b325-49bd-b9d7-da3f09848d21" providerId="ADAL" clId="{D5068DBE-EAAE-4312-BC48-8FE28F21FB1F}" dt="2022-09-20T23:41:33.996" v="116"/>
          <ac:spMkLst>
            <pc:docMk/>
            <pc:sldMk cId="1910901236" sldId="294"/>
            <ac:spMk id="3" creationId="{060EA7D2-FA87-4B6B-B11C-A2FBB5E84164}"/>
          </ac:spMkLst>
        </pc:spChg>
        <pc:picChg chg="mod">
          <ac:chgData name="Saranya Sriram" userId="31246c95-b325-49bd-b9d7-da3f09848d21" providerId="ADAL" clId="{D5068DBE-EAAE-4312-BC48-8FE28F21FB1F}" dt="2022-09-20T23:41:54.582" v="121" actId="14100"/>
          <ac:picMkLst>
            <pc:docMk/>
            <pc:sldMk cId="1910901236" sldId="294"/>
            <ac:picMk id="5" creationId="{00000000-0000-0000-0000-000000000000}"/>
          </ac:picMkLst>
        </pc:picChg>
      </pc:sldChg>
      <pc:sldChg chg="add del">
        <pc:chgData name="Saranya Sriram" userId="31246c95-b325-49bd-b9d7-da3f09848d21" providerId="ADAL" clId="{D5068DBE-EAAE-4312-BC48-8FE28F21FB1F}" dt="2022-09-21T01:30:11.642" v="347"/>
        <pc:sldMkLst>
          <pc:docMk/>
          <pc:sldMk cId="1868876891" sldId="324"/>
        </pc:sldMkLst>
      </pc:sldChg>
      <pc:sldChg chg="add del">
        <pc:chgData name="Saranya Sriram" userId="31246c95-b325-49bd-b9d7-da3f09848d21" providerId="ADAL" clId="{D5068DBE-EAAE-4312-BC48-8FE28F21FB1F}" dt="2022-09-21T01:30:11.642" v="347"/>
        <pc:sldMkLst>
          <pc:docMk/>
          <pc:sldMk cId="1990206231" sldId="325"/>
        </pc:sldMkLst>
      </pc:sldChg>
      <pc:sldChg chg="add del">
        <pc:chgData name="Saranya Sriram" userId="31246c95-b325-49bd-b9d7-da3f09848d21" providerId="ADAL" clId="{D5068DBE-EAAE-4312-BC48-8FE28F21FB1F}" dt="2022-09-21T01:30:11.642" v="347"/>
        <pc:sldMkLst>
          <pc:docMk/>
          <pc:sldMk cId="2627785062" sldId="326"/>
        </pc:sldMkLst>
      </pc:sldChg>
      <pc:sldChg chg="add del">
        <pc:chgData name="Saranya Sriram" userId="31246c95-b325-49bd-b9d7-da3f09848d21" providerId="ADAL" clId="{D5068DBE-EAAE-4312-BC48-8FE28F21FB1F}" dt="2022-09-21T01:30:11.642" v="347"/>
        <pc:sldMkLst>
          <pc:docMk/>
          <pc:sldMk cId="1838407168" sldId="327"/>
        </pc:sldMkLst>
      </pc:sldChg>
      <pc:sldChg chg="add del">
        <pc:chgData name="Saranya Sriram" userId="31246c95-b325-49bd-b9d7-da3f09848d21" providerId="ADAL" clId="{D5068DBE-EAAE-4312-BC48-8FE28F21FB1F}" dt="2022-09-21T01:30:11.642" v="347"/>
        <pc:sldMkLst>
          <pc:docMk/>
          <pc:sldMk cId="4023108316" sldId="328"/>
        </pc:sldMkLst>
      </pc:sldChg>
      <pc:sldChg chg="delSp add del mod">
        <pc:chgData name="Saranya Sriram" userId="31246c95-b325-49bd-b9d7-da3f09848d21" providerId="ADAL" clId="{D5068DBE-EAAE-4312-BC48-8FE28F21FB1F}" dt="2022-09-21T02:40:52.356" v="1512" actId="478"/>
        <pc:sldMkLst>
          <pc:docMk/>
          <pc:sldMk cId="846420661" sldId="329"/>
        </pc:sldMkLst>
        <pc:inkChg chg="del">
          <ac:chgData name="Saranya Sriram" userId="31246c95-b325-49bd-b9d7-da3f09848d21" providerId="ADAL" clId="{D5068DBE-EAAE-4312-BC48-8FE28F21FB1F}" dt="2022-09-21T02:40:52.356" v="1512" actId="478"/>
          <ac:inkMkLst>
            <pc:docMk/>
            <pc:sldMk cId="846420661" sldId="329"/>
            <ac:inkMk id="4" creationId="{4F933B51-4FA1-469F-9ABB-35B64A69658C}"/>
          </ac:inkMkLst>
        </pc:inkChg>
      </pc:sldChg>
      <pc:sldChg chg="add del">
        <pc:chgData name="Saranya Sriram" userId="31246c95-b325-49bd-b9d7-da3f09848d21" providerId="ADAL" clId="{D5068DBE-EAAE-4312-BC48-8FE28F21FB1F}" dt="2022-09-21T01:30:11.642" v="347"/>
        <pc:sldMkLst>
          <pc:docMk/>
          <pc:sldMk cId="2921325512" sldId="330"/>
        </pc:sldMkLst>
      </pc:sldChg>
      <pc:sldChg chg="add del">
        <pc:chgData name="Saranya Sriram" userId="31246c95-b325-49bd-b9d7-da3f09848d21" providerId="ADAL" clId="{D5068DBE-EAAE-4312-BC48-8FE28F21FB1F}" dt="2022-09-21T01:30:11.642" v="347"/>
        <pc:sldMkLst>
          <pc:docMk/>
          <pc:sldMk cId="346958051" sldId="331"/>
        </pc:sldMkLst>
      </pc:sldChg>
      <pc:sldChg chg="add del">
        <pc:chgData name="Saranya Sriram" userId="31246c95-b325-49bd-b9d7-da3f09848d21" providerId="ADAL" clId="{D5068DBE-EAAE-4312-BC48-8FE28F21FB1F}" dt="2022-09-21T01:30:11.642" v="347"/>
        <pc:sldMkLst>
          <pc:docMk/>
          <pc:sldMk cId="2324839824" sldId="332"/>
        </pc:sldMkLst>
      </pc:sldChg>
      <pc:sldChg chg="add del">
        <pc:chgData name="Saranya Sriram" userId="31246c95-b325-49bd-b9d7-da3f09848d21" providerId="ADAL" clId="{D5068DBE-EAAE-4312-BC48-8FE28F21FB1F}" dt="2022-09-21T01:30:11.642" v="347"/>
        <pc:sldMkLst>
          <pc:docMk/>
          <pc:sldMk cId="2864514230" sldId="333"/>
        </pc:sldMkLst>
      </pc:sldChg>
      <pc:sldChg chg="modSp add del mod">
        <pc:chgData name="Saranya Sriram" userId="31246c95-b325-49bd-b9d7-da3f09848d21" providerId="ADAL" clId="{D5068DBE-EAAE-4312-BC48-8FE28F21FB1F}" dt="2022-09-21T01:30:11.642" v="347"/>
        <pc:sldMkLst>
          <pc:docMk/>
          <pc:sldMk cId="813220529" sldId="334"/>
        </pc:sldMkLst>
        <pc:spChg chg="mod">
          <ac:chgData name="Saranya Sriram" userId="31246c95-b325-49bd-b9d7-da3f09848d21" providerId="ADAL" clId="{D5068DBE-EAAE-4312-BC48-8FE28F21FB1F}" dt="2022-09-21T01:30:11.562" v="346"/>
          <ac:spMkLst>
            <pc:docMk/>
            <pc:sldMk cId="813220529" sldId="334"/>
            <ac:spMk id="3" creationId="{7B2969DE-27B0-4557-85B9-DFB7B20D88C0}"/>
          </ac:spMkLst>
        </pc:spChg>
      </pc:sldChg>
      <pc:sldChg chg="modSp add del mod">
        <pc:chgData name="Saranya Sriram" userId="31246c95-b325-49bd-b9d7-da3f09848d21" providerId="ADAL" clId="{D5068DBE-EAAE-4312-BC48-8FE28F21FB1F}" dt="2022-09-21T01:34:44.911" v="397" actId="2696"/>
        <pc:sldMkLst>
          <pc:docMk/>
          <pc:sldMk cId="1486506172" sldId="351"/>
        </pc:sldMkLst>
        <pc:spChg chg="mod">
          <ac:chgData name="Saranya Sriram" userId="31246c95-b325-49bd-b9d7-da3f09848d21" providerId="ADAL" clId="{D5068DBE-EAAE-4312-BC48-8FE28F21FB1F}" dt="2022-09-21T01:33:44.112" v="380"/>
          <ac:spMkLst>
            <pc:docMk/>
            <pc:sldMk cId="1486506172" sldId="351"/>
            <ac:spMk id="4" creationId="{1210869C-EAF3-41A5-BB55-3364A889C18A}"/>
          </ac:spMkLst>
        </pc:spChg>
      </pc:sldChg>
      <pc:sldChg chg="add del">
        <pc:chgData name="Saranya Sriram" userId="31246c95-b325-49bd-b9d7-da3f09848d21" providerId="ADAL" clId="{D5068DBE-EAAE-4312-BC48-8FE28F21FB1F}" dt="2022-09-21T01:35:09.489" v="400" actId="47"/>
        <pc:sldMkLst>
          <pc:docMk/>
          <pc:sldMk cId="1817305423" sldId="351"/>
        </pc:sldMkLst>
      </pc:sldChg>
      <pc:sldChg chg="add del">
        <pc:chgData name="Saranya Sriram" userId="31246c95-b325-49bd-b9d7-da3f09848d21" providerId="ADAL" clId="{D5068DBE-EAAE-4312-BC48-8FE28F21FB1F}" dt="2022-09-21T01:35:09.489" v="400" actId="47"/>
        <pc:sldMkLst>
          <pc:docMk/>
          <pc:sldMk cId="383294282" sldId="353"/>
        </pc:sldMkLst>
      </pc:sldChg>
      <pc:sldChg chg="modSp add del mod">
        <pc:chgData name="Saranya Sriram" userId="31246c95-b325-49bd-b9d7-da3f09848d21" providerId="ADAL" clId="{D5068DBE-EAAE-4312-BC48-8FE28F21FB1F}" dt="2022-09-21T01:34:44.911" v="397" actId="2696"/>
        <pc:sldMkLst>
          <pc:docMk/>
          <pc:sldMk cId="3221653762" sldId="353"/>
        </pc:sldMkLst>
        <pc:spChg chg="mod">
          <ac:chgData name="Saranya Sriram" userId="31246c95-b325-49bd-b9d7-da3f09848d21" providerId="ADAL" clId="{D5068DBE-EAAE-4312-BC48-8FE28F21FB1F}" dt="2022-09-21T01:33:44.112" v="380"/>
          <ac:spMkLst>
            <pc:docMk/>
            <pc:sldMk cId="3221653762" sldId="353"/>
            <ac:spMk id="2" creationId="{E36F44B0-691F-4AC3-844D-213EEDFCB55A}"/>
          </ac:spMkLst>
        </pc:spChg>
      </pc:sldChg>
      <pc:sldChg chg="add del">
        <pc:chgData name="Saranya Sriram" userId="31246c95-b325-49bd-b9d7-da3f09848d21" providerId="ADAL" clId="{D5068DBE-EAAE-4312-BC48-8FE28F21FB1F}" dt="2022-09-21T01:35:09.489" v="400" actId="47"/>
        <pc:sldMkLst>
          <pc:docMk/>
          <pc:sldMk cId="3293390656" sldId="354"/>
        </pc:sldMkLst>
      </pc:sldChg>
      <pc:sldChg chg="modSp add del mod">
        <pc:chgData name="Saranya Sriram" userId="31246c95-b325-49bd-b9d7-da3f09848d21" providerId="ADAL" clId="{D5068DBE-EAAE-4312-BC48-8FE28F21FB1F}" dt="2022-09-21T01:34:44.911" v="397" actId="2696"/>
        <pc:sldMkLst>
          <pc:docMk/>
          <pc:sldMk cId="3303259033" sldId="354"/>
        </pc:sldMkLst>
        <pc:spChg chg="mod">
          <ac:chgData name="Saranya Sriram" userId="31246c95-b325-49bd-b9d7-da3f09848d21" providerId="ADAL" clId="{D5068DBE-EAAE-4312-BC48-8FE28F21FB1F}" dt="2022-09-21T01:33:44.112" v="380"/>
          <ac:spMkLst>
            <pc:docMk/>
            <pc:sldMk cId="3303259033" sldId="354"/>
            <ac:spMk id="2" creationId="{E36F44B0-691F-4AC3-844D-213EEDFCB55A}"/>
          </ac:spMkLst>
        </pc:spChg>
      </pc:sldChg>
      <pc:sldChg chg="modSp add del mod">
        <pc:chgData name="Saranya Sriram" userId="31246c95-b325-49bd-b9d7-da3f09848d21" providerId="ADAL" clId="{D5068DBE-EAAE-4312-BC48-8FE28F21FB1F}" dt="2022-09-21T01:34:44.911" v="397" actId="2696"/>
        <pc:sldMkLst>
          <pc:docMk/>
          <pc:sldMk cId="3413977348" sldId="412"/>
        </pc:sldMkLst>
        <pc:spChg chg="mod">
          <ac:chgData name="Saranya Sriram" userId="31246c95-b325-49bd-b9d7-da3f09848d21" providerId="ADAL" clId="{D5068DBE-EAAE-4312-BC48-8FE28F21FB1F}" dt="2022-09-21T01:33:44.112" v="380"/>
          <ac:spMkLst>
            <pc:docMk/>
            <pc:sldMk cId="3413977348" sldId="412"/>
            <ac:spMk id="2" creationId="{C4F5301A-B80E-4450-BA4E-23128C77541E}"/>
          </ac:spMkLst>
        </pc:spChg>
      </pc:sldChg>
      <pc:sldChg chg="add del">
        <pc:chgData name="Saranya Sriram" userId="31246c95-b325-49bd-b9d7-da3f09848d21" providerId="ADAL" clId="{D5068DBE-EAAE-4312-BC48-8FE28F21FB1F}" dt="2022-09-21T01:35:09.489" v="400" actId="47"/>
        <pc:sldMkLst>
          <pc:docMk/>
          <pc:sldMk cId="3595887114" sldId="412"/>
        </pc:sldMkLst>
      </pc:sldChg>
      <pc:sldChg chg="modSp add del mod">
        <pc:chgData name="Saranya Sriram" userId="31246c95-b325-49bd-b9d7-da3f09848d21" providerId="ADAL" clId="{D5068DBE-EAAE-4312-BC48-8FE28F21FB1F}" dt="2022-09-21T01:34:44.911" v="397" actId="2696"/>
        <pc:sldMkLst>
          <pc:docMk/>
          <pc:sldMk cId="342944719" sldId="420"/>
        </pc:sldMkLst>
        <pc:spChg chg="mod">
          <ac:chgData name="Saranya Sriram" userId="31246c95-b325-49bd-b9d7-da3f09848d21" providerId="ADAL" clId="{D5068DBE-EAAE-4312-BC48-8FE28F21FB1F}" dt="2022-09-21T01:33:44.112" v="380"/>
          <ac:spMkLst>
            <pc:docMk/>
            <pc:sldMk cId="342944719" sldId="420"/>
            <ac:spMk id="4" creationId="{1210869C-EAF3-41A5-BB55-3364A889C18A}"/>
          </ac:spMkLst>
        </pc:spChg>
      </pc:sldChg>
      <pc:sldChg chg="add del">
        <pc:chgData name="Saranya Sriram" userId="31246c95-b325-49bd-b9d7-da3f09848d21" providerId="ADAL" clId="{D5068DBE-EAAE-4312-BC48-8FE28F21FB1F}" dt="2022-09-21T01:35:09.489" v="400" actId="47"/>
        <pc:sldMkLst>
          <pc:docMk/>
          <pc:sldMk cId="1210973764" sldId="420"/>
        </pc:sldMkLst>
      </pc:sldChg>
      <pc:sldChg chg="add del setBg">
        <pc:chgData name="Saranya Sriram" userId="31246c95-b325-49bd-b9d7-da3f09848d21" providerId="ADAL" clId="{D5068DBE-EAAE-4312-BC48-8FE28F21FB1F}" dt="2022-09-21T01:04:42.909" v="342"/>
        <pc:sldMkLst>
          <pc:docMk/>
          <pc:sldMk cId="1988134711" sldId="483"/>
        </pc:sldMkLst>
      </pc:sldChg>
      <pc:sldChg chg="modSp add del mod">
        <pc:chgData name="Saranya Sriram" userId="31246c95-b325-49bd-b9d7-da3f09848d21" providerId="ADAL" clId="{D5068DBE-EAAE-4312-BC48-8FE28F21FB1F}" dt="2022-09-21T01:34:44.911" v="397" actId="2696"/>
        <pc:sldMkLst>
          <pc:docMk/>
          <pc:sldMk cId="289421795" sldId="492"/>
        </pc:sldMkLst>
        <pc:spChg chg="mod">
          <ac:chgData name="Saranya Sriram" userId="31246c95-b325-49bd-b9d7-da3f09848d21" providerId="ADAL" clId="{D5068DBE-EAAE-4312-BC48-8FE28F21FB1F}" dt="2022-09-21T01:33:44.112" v="380"/>
          <ac:spMkLst>
            <pc:docMk/>
            <pc:sldMk cId="289421795" sldId="492"/>
            <ac:spMk id="2" creationId="{E36F44B0-691F-4AC3-844D-213EEDFCB55A}"/>
          </ac:spMkLst>
        </pc:spChg>
      </pc:sldChg>
      <pc:sldChg chg="add del">
        <pc:chgData name="Saranya Sriram" userId="31246c95-b325-49bd-b9d7-da3f09848d21" providerId="ADAL" clId="{D5068DBE-EAAE-4312-BC48-8FE28F21FB1F}" dt="2022-09-21T01:35:09.489" v="400" actId="47"/>
        <pc:sldMkLst>
          <pc:docMk/>
          <pc:sldMk cId="3036497927" sldId="492"/>
        </pc:sldMkLst>
      </pc:sldChg>
      <pc:sldChg chg="del">
        <pc:chgData name="Saranya Sriram" userId="31246c95-b325-49bd-b9d7-da3f09848d21" providerId="ADAL" clId="{D5068DBE-EAAE-4312-BC48-8FE28F21FB1F}" dt="2022-09-21T00:16:33.632" v="135" actId="47"/>
        <pc:sldMkLst>
          <pc:docMk/>
          <pc:sldMk cId="3273566663" sldId="523"/>
        </pc:sldMkLst>
      </pc:sldChg>
      <pc:sldChg chg="modSp add del mod">
        <pc:chgData name="Saranya Sriram" userId="31246c95-b325-49bd-b9d7-da3f09848d21" providerId="ADAL" clId="{D5068DBE-EAAE-4312-BC48-8FE28F21FB1F}" dt="2022-09-21T01:34:44.911" v="397" actId="2696"/>
        <pc:sldMkLst>
          <pc:docMk/>
          <pc:sldMk cId="2665265214" sldId="539"/>
        </pc:sldMkLst>
        <pc:spChg chg="mod">
          <ac:chgData name="Saranya Sriram" userId="31246c95-b325-49bd-b9d7-da3f09848d21" providerId="ADAL" clId="{D5068DBE-EAAE-4312-BC48-8FE28F21FB1F}" dt="2022-09-21T01:33:44.112" v="380"/>
          <ac:spMkLst>
            <pc:docMk/>
            <pc:sldMk cId="2665265214" sldId="539"/>
            <ac:spMk id="3" creationId="{C1410678-2C9E-4726-B2AE-49A8E82B0EFA}"/>
          </ac:spMkLst>
        </pc:spChg>
      </pc:sldChg>
      <pc:sldChg chg="add del">
        <pc:chgData name="Saranya Sriram" userId="31246c95-b325-49bd-b9d7-da3f09848d21" providerId="ADAL" clId="{D5068DBE-EAAE-4312-BC48-8FE28F21FB1F}" dt="2022-09-21T01:35:09.489" v="400" actId="47"/>
        <pc:sldMkLst>
          <pc:docMk/>
          <pc:sldMk cId="3339652301" sldId="539"/>
        </pc:sldMkLst>
      </pc:sldChg>
      <pc:sldChg chg="add del">
        <pc:chgData name="Saranya Sriram" userId="31246c95-b325-49bd-b9d7-da3f09848d21" providerId="ADAL" clId="{D5068DBE-EAAE-4312-BC48-8FE28F21FB1F}" dt="2022-09-21T01:35:09.489" v="400" actId="47"/>
        <pc:sldMkLst>
          <pc:docMk/>
          <pc:sldMk cId="3451457110" sldId="540"/>
        </pc:sldMkLst>
      </pc:sldChg>
      <pc:sldChg chg="modSp add del mod">
        <pc:chgData name="Saranya Sriram" userId="31246c95-b325-49bd-b9d7-da3f09848d21" providerId="ADAL" clId="{D5068DBE-EAAE-4312-BC48-8FE28F21FB1F}" dt="2022-09-21T01:34:44.911" v="397" actId="2696"/>
        <pc:sldMkLst>
          <pc:docMk/>
          <pc:sldMk cId="3647087358" sldId="540"/>
        </pc:sldMkLst>
        <pc:spChg chg="mod">
          <ac:chgData name="Saranya Sriram" userId="31246c95-b325-49bd-b9d7-da3f09848d21" providerId="ADAL" clId="{D5068DBE-EAAE-4312-BC48-8FE28F21FB1F}" dt="2022-09-21T01:33:44.112" v="380"/>
          <ac:spMkLst>
            <pc:docMk/>
            <pc:sldMk cId="3647087358" sldId="540"/>
            <ac:spMk id="3" creationId="{C1410678-2C9E-4726-B2AE-49A8E82B0EFA}"/>
          </ac:spMkLst>
        </pc:spChg>
      </pc:sldChg>
      <pc:sldChg chg="modSp add del mod">
        <pc:chgData name="Saranya Sriram" userId="31246c95-b325-49bd-b9d7-da3f09848d21" providerId="ADAL" clId="{D5068DBE-EAAE-4312-BC48-8FE28F21FB1F}" dt="2022-09-21T01:34:44.911" v="397" actId="2696"/>
        <pc:sldMkLst>
          <pc:docMk/>
          <pc:sldMk cId="1296140447" sldId="542"/>
        </pc:sldMkLst>
        <pc:spChg chg="mod">
          <ac:chgData name="Saranya Sriram" userId="31246c95-b325-49bd-b9d7-da3f09848d21" providerId="ADAL" clId="{D5068DBE-EAAE-4312-BC48-8FE28F21FB1F}" dt="2022-09-21T01:33:44.112" v="380"/>
          <ac:spMkLst>
            <pc:docMk/>
            <pc:sldMk cId="1296140447" sldId="542"/>
            <ac:spMk id="2" creationId="{15435567-220B-427E-8D95-D268887C206C}"/>
          </ac:spMkLst>
        </pc:spChg>
        <pc:spChg chg="mod">
          <ac:chgData name="Saranya Sriram" userId="31246c95-b325-49bd-b9d7-da3f09848d21" providerId="ADAL" clId="{D5068DBE-EAAE-4312-BC48-8FE28F21FB1F}" dt="2022-09-21T01:33:44.112" v="380"/>
          <ac:spMkLst>
            <pc:docMk/>
            <pc:sldMk cId="1296140447" sldId="542"/>
            <ac:spMk id="6" creationId="{AC5763B3-5F84-4053-8847-A6DF36E24034}"/>
          </ac:spMkLst>
        </pc:spChg>
      </pc:sldChg>
      <pc:sldChg chg="add del">
        <pc:chgData name="Saranya Sriram" userId="31246c95-b325-49bd-b9d7-da3f09848d21" providerId="ADAL" clId="{D5068DBE-EAAE-4312-BC48-8FE28F21FB1F}" dt="2022-09-21T01:35:09.489" v="400" actId="47"/>
        <pc:sldMkLst>
          <pc:docMk/>
          <pc:sldMk cId="3247211058" sldId="542"/>
        </pc:sldMkLst>
      </pc:sldChg>
      <pc:sldChg chg="del">
        <pc:chgData name="Saranya Sriram" userId="31246c95-b325-49bd-b9d7-da3f09848d21" providerId="ADAL" clId="{D5068DBE-EAAE-4312-BC48-8FE28F21FB1F}" dt="2022-09-21T00:16:33.632" v="135" actId="47"/>
        <pc:sldMkLst>
          <pc:docMk/>
          <pc:sldMk cId="4061290486" sldId="626"/>
        </pc:sldMkLst>
      </pc:sldChg>
      <pc:sldChg chg="del">
        <pc:chgData name="Saranya Sriram" userId="31246c95-b325-49bd-b9d7-da3f09848d21" providerId="ADAL" clId="{D5068DBE-EAAE-4312-BC48-8FE28F21FB1F}" dt="2022-09-21T00:16:33.632" v="135" actId="47"/>
        <pc:sldMkLst>
          <pc:docMk/>
          <pc:sldMk cId="2035231441" sldId="642"/>
        </pc:sldMkLst>
      </pc:sldChg>
      <pc:sldChg chg="del">
        <pc:chgData name="Saranya Sriram" userId="31246c95-b325-49bd-b9d7-da3f09848d21" providerId="ADAL" clId="{D5068DBE-EAAE-4312-BC48-8FE28F21FB1F}" dt="2022-09-21T00:16:33.632" v="135" actId="47"/>
        <pc:sldMkLst>
          <pc:docMk/>
          <pc:sldMk cId="3643931087" sldId="643"/>
        </pc:sldMkLst>
      </pc:sldChg>
      <pc:sldChg chg="del">
        <pc:chgData name="Saranya Sriram" userId="31246c95-b325-49bd-b9d7-da3f09848d21" providerId="ADAL" clId="{D5068DBE-EAAE-4312-BC48-8FE28F21FB1F}" dt="2022-09-21T00:16:33.632" v="135" actId="47"/>
        <pc:sldMkLst>
          <pc:docMk/>
          <pc:sldMk cId="808087419" sldId="645"/>
        </pc:sldMkLst>
      </pc:sldChg>
      <pc:sldChg chg="del">
        <pc:chgData name="Saranya Sriram" userId="31246c95-b325-49bd-b9d7-da3f09848d21" providerId="ADAL" clId="{D5068DBE-EAAE-4312-BC48-8FE28F21FB1F}" dt="2022-09-21T00:16:33.632" v="135" actId="47"/>
        <pc:sldMkLst>
          <pc:docMk/>
          <pc:sldMk cId="1096441933" sldId="646"/>
        </pc:sldMkLst>
      </pc:sldChg>
      <pc:sldChg chg="del">
        <pc:chgData name="Saranya Sriram" userId="31246c95-b325-49bd-b9d7-da3f09848d21" providerId="ADAL" clId="{D5068DBE-EAAE-4312-BC48-8FE28F21FB1F}" dt="2022-09-21T00:16:33.632" v="135" actId="47"/>
        <pc:sldMkLst>
          <pc:docMk/>
          <pc:sldMk cId="2048180312" sldId="653"/>
        </pc:sldMkLst>
      </pc:sldChg>
      <pc:sldChg chg="del">
        <pc:chgData name="Saranya Sriram" userId="31246c95-b325-49bd-b9d7-da3f09848d21" providerId="ADAL" clId="{D5068DBE-EAAE-4312-BC48-8FE28F21FB1F}" dt="2022-09-21T00:16:33.632" v="135" actId="47"/>
        <pc:sldMkLst>
          <pc:docMk/>
          <pc:sldMk cId="3603543490" sldId="655"/>
        </pc:sldMkLst>
      </pc:sldChg>
      <pc:sldChg chg="del">
        <pc:chgData name="Saranya Sriram" userId="31246c95-b325-49bd-b9d7-da3f09848d21" providerId="ADAL" clId="{D5068DBE-EAAE-4312-BC48-8FE28F21FB1F}" dt="2022-09-21T00:16:33.632" v="135" actId="47"/>
        <pc:sldMkLst>
          <pc:docMk/>
          <pc:sldMk cId="174744436" sldId="656"/>
        </pc:sldMkLst>
      </pc:sldChg>
      <pc:sldChg chg="del">
        <pc:chgData name="Saranya Sriram" userId="31246c95-b325-49bd-b9d7-da3f09848d21" providerId="ADAL" clId="{D5068DBE-EAAE-4312-BC48-8FE28F21FB1F}" dt="2022-09-21T00:16:33.632" v="135" actId="47"/>
        <pc:sldMkLst>
          <pc:docMk/>
          <pc:sldMk cId="4102728862" sldId="657"/>
        </pc:sldMkLst>
      </pc:sldChg>
      <pc:sldChg chg="del">
        <pc:chgData name="Saranya Sriram" userId="31246c95-b325-49bd-b9d7-da3f09848d21" providerId="ADAL" clId="{D5068DBE-EAAE-4312-BC48-8FE28F21FB1F}" dt="2022-09-21T00:16:33.632" v="135" actId="47"/>
        <pc:sldMkLst>
          <pc:docMk/>
          <pc:sldMk cId="3614954226" sldId="658"/>
        </pc:sldMkLst>
      </pc:sldChg>
      <pc:sldChg chg="del">
        <pc:chgData name="Saranya Sriram" userId="31246c95-b325-49bd-b9d7-da3f09848d21" providerId="ADAL" clId="{D5068DBE-EAAE-4312-BC48-8FE28F21FB1F}" dt="2022-09-21T00:16:33.632" v="135" actId="47"/>
        <pc:sldMkLst>
          <pc:docMk/>
          <pc:sldMk cId="4234163842" sldId="664"/>
        </pc:sldMkLst>
      </pc:sldChg>
      <pc:sldChg chg="del">
        <pc:chgData name="Saranya Sriram" userId="31246c95-b325-49bd-b9d7-da3f09848d21" providerId="ADAL" clId="{D5068DBE-EAAE-4312-BC48-8FE28F21FB1F}" dt="2022-09-21T00:16:33.632" v="135" actId="47"/>
        <pc:sldMkLst>
          <pc:docMk/>
          <pc:sldMk cId="2672133038" sldId="665"/>
        </pc:sldMkLst>
      </pc:sldChg>
      <pc:sldChg chg="del">
        <pc:chgData name="Saranya Sriram" userId="31246c95-b325-49bd-b9d7-da3f09848d21" providerId="ADAL" clId="{D5068DBE-EAAE-4312-BC48-8FE28F21FB1F}" dt="2022-09-21T00:16:33.632" v="135" actId="47"/>
        <pc:sldMkLst>
          <pc:docMk/>
          <pc:sldMk cId="3905848365" sldId="667"/>
        </pc:sldMkLst>
      </pc:sldChg>
      <pc:sldChg chg="del">
        <pc:chgData name="Saranya Sriram" userId="31246c95-b325-49bd-b9d7-da3f09848d21" providerId="ADAL" clId="{D5068DBE-EAAE-4312-BC48-8FE28F21FB1F}" dt="2022-09-21T00:16:33.632" v="135" actId="47"/>
        <pc:sldMkLst>
          <pc:docMk/>
          <pc:sldMk cId="253836448" sldId="668"/>
        </pc:sldMkLst>
      </pc:sldChg>
      <pc:sldChg chg="del">
        <pc:chgData name="Saranya Sriram" userId="31246c95-b325-49bd-b9d7-da3f09848d21" providerId="ADAL" clId="{D5068DBE-EAAE-4312-BC48-8FE28F21FB1F}" dt="2022-09-21T00:16:33.632" v="135" actId="47"/>
        <pc:sldMkLst>
          <pc:docMk/>
          <pc:sldMk cId="3074672719" sldId="669"/>
        </pc:sldMkLst>
      </pc:sldChg>
      <pc:sldChg chg="del">
        <pc:chgData name="Saranya Sriram" userId="31246c95-b325-49bd-b9d7-da3f09848d21" providerId="ADAL" clId="{D5068DBE-EAAE-4312-BC48-8FE28F21FB1F}" dt="2022-09-21T00:16:33.632" v="135" actId="47"/>
        <pc:sldMkLst>
          <pc:docMk/>
          <pc:sldMk cId="2257879741" sldId="671"/>
        </pc:sldMkLst>
      </pc:sldChg>
      <pc:sldChg chg="del">
        <pc:chgData name="Saranya Sriram" userId="31246c95-b325-49bd-b9d7-da3f09848d21" providerId="ADAL" clId="{D5068DBE-EAAE-4312-BC48-8FE28F21FB1F}" dt="2022-09-21T00:16:33.632" v="135" actId="47"/>
        <pc:sldMkLst>
          <pc:docMk/>
          <pc:sldMk cId="4213798706" sldId="674"/>
        </pc:sldMkLst>
      </pc:sldChg>
      <pc:sldChg chg="del">
        <pc:chgData name="Saranya Sriram" userId="31246c95-b325-49bd-b9d7-da3f09848d21" providerId="ADAL" clId="{D5068DBE-EAAE-4312-BC48-8FE28F21FB1F}" dt="2022-09-21T00:16:33.632" v="135" actId="47"/>
        <pc:sldMkLst>
          <pc:docMk/>
          <pc:sldMk cId="3917951613" sldId="675"/>
        </pc:sldMkLst>
      </pc:sldChg>
      <pc:sldChg chg="del">
        <pc:chgData name="Saranya Sriram" userId="31246c95-b325-49bd-b9d7-da3f09848d21" providerId="ADAL" clId="{D5068DBE-EAAE-4312-BC48-8FE28F21FB1F}" dt="2022-09-21T00:16:33.632" v="135" actId="47"/>
        <pc:sldMkLst>
          <pc:docMk/>
          <pc:sldMk cId="603918319" sldId="676"/>
        </pc:sldMkLst>
      </pc:sldChg>
      <pc:sldChg chg="del">
        <pc:chgData name="Saranya Sriram" userId="31246c95-b325-49bd-b9d7-da3f09848d21" providerId="ADAL" clId="{D5068DBE-EAAE-4312-BC48-8FE28F21FB1F}" dt="2022-09-21T00:16:33.632" v="135" actId="47"/>
        <pc:sldMkLst>
          <pc:docMk/>
          <pc:sldMk cId="3974389144" sldId="677"/>
        </pc:sldMkLst>
      </pc:sldChg>
      <pc:sldChg chg="del">
        <pc:chgData name="Saranya Sriram" userId="31246c95-b325-49bd-b9d7-da3f09848d21" providerId="ADAL" clId="{D5068DBE-EAAE-4312-BC48-8FE28F21FB1F}" dt="2022-09-21T00:16:33.632" v="135" actId="47"/>
        <pc:sldMkLst>
          <pc:docMk/>
          <pc:sldMk cId="3368091708" sldId="678"/>
        </pc:sldMkLst>
      </pc:sldChg>
      <pc:sldChg chg="del">
        <pc:chgData name="Saranya Sriram" userId="31246c95-b325-49bd-b9d7-da3f09848d21" providerId="ADAL" clId="{D5068DBE-EAAE-4312-BC48-8FE28F21FB1F}" dt="2022-09-21T00:16:33.632" v="135" actId="47"/>
        <pc:sldMkLst>
          <pc:docMk/>
          <pc:sldMk cId="1328114205" sldId="679"/>
        </pc:sldMkLst>
      </pc:sldChg>
      <pc:sldChg chg="del">
        <pc:chgData name="Saranya Sriram" userId="31246c95-b325-49bd-b9d7-da3f09848d21" providerId="ADAL" clId="{D5068DBE-EAAE-4312-BC48-8FE28F21FB1F}" dt="2022-09-21T00:16:33.632" v="135" actId="47"/>
        <pc:sldMkLst>
          <pc:docMk/>
          <pc:sldMk cId="3321464401" sldId="680"/>
        </pc:sldMkLst>
      </pc:sldChg>
      <pc:sldChg chg="del">
        <pc:chgData name="Saranya Sriram" userId="31246c95-b325-49bd-b9d7-da3f09848d21" providerId="ADAL" clId="{D5068DBE-EAAE-4312-BC48-8FE28F21FB1F}" dt="2022-09-21T00:16:33.632" v="135" actId="47"/>
        <pc:sldMkLst>
          <pc:docMk/>
          <pc:sldMk cId="2167446969" sldId="681"/>
        </pc:sldMkLst>
      </pc:sldChg>
      <pc:sldChg chg="del">
        <pc:chgData name="Saranya Sriram" userId="31246c95-b325-49bd-b9d7-da3f09848d21" providerId="ADAL" clId="{D5068DBE-EAAE-4312-BC48-8FE28F21FB1F}" dt="2022-09-21T00:16:33.632" v="135" actId="47"/>
        <pc:sldMkLst>
          <pc:docMk/>
          <pc:sldMk cId="894916138" sldId="682"/>
        </pc:sldMkLst>
      </pc:sldChg>
      <pc:sldChg chg="del">
        <pc:chgData name="Saranya Sriram" userId="31246c95-b325-49bd-b9d7-da3f09848d21" providerId="ADAL" clId="{D5068DBE-EAAE-4312-BC48-8FE28F21FB1F}" dt="2022-09-21T00:16:33.632" v="135" actId="47"/>
        <pc:sldMkLst>
          <pc:docMk/>
          <pc:sldMk cId="3337872262" sldId="684"/>
        </pc:sldMkLst>
      </pc:sldChg>
      <pc:sldChg chg="del">
        <pc:chgData name="Saranya Sriram" userId="31246c95-b325-49bd-b9d7-da3f09848d21" providerId="ADAL" clId="{D5068DBE-EAAE-4312-BC48-8FE28F21FB1F}" dt="2022-09-21T00:16:33.632" v="135" actId="47"/>
        <pc:sldMkLst>
          <pc:docMk/>
          <pc:sldMk cId="1420711863" sldId="685"/>
        </pc:sldMkLst>
      </pc:sldChg>
      <pc:sldChg chg="del">
        <pc:chgData name="Saranya Sriram" userId="31246c95-b325-49bd-b9d7-da3f09848d21" providerId="ADAL" clId="{D5068DBE-EAAE-4312-BC48-8FE28F21FB1F}" dt="2022-09-21T00:16:33.632" v="135" actId="47"/>
        <pc:sldMkLst>
          <pc:docMk/>
          <pc:sldMk cId="2364078140" sldId="687"/>
        </pc:sldMkLst>
      </pc:sldChg>
      <pc:sldChg chg="modSp add del mod">
        <pc:chgData name="Saranya Sriram" userId="31246c95-b325-49bd-b9d7-da3f09848d21" providerId="ADAL" clId="{D5068DBE-EAAE-4312-BC48-8FE28F21FB1F}" dt="2022-09-21T00:53:06.577" v="159" actId="1076"/>
        <pc:sldMkLst>
          <pc:docMk/>
          <pc:sldMk cId="3491443779" sldId="4627"/>
        </pc:sldMkLst>
        <pc:spChg chg="mod">
          <ac:chgData name="Saranya Sriram" userId="31246c95-b325-49bd-b9d7-da3f09848d21" providerId="ADAL" clId="{D5068DBE-EAAE-4312-BC48-8FE28F21FB1F}" dt="2022-09-21T00:53:06.577" v="159" actId="1076"/>
          <ac:spMkLst>
            <pc:docMk/>
            <pc:sldMk cId="3491443779" sldId="4627"/>
            <ac:spMk id="11" creationId="{040966CB-C87E-46D1-97E6-3AC2452F0A3A}"/>
          </ac:spMkLst>
        </pc:spChg>
      </pc:sldChg>
      <pc:sldChg chg="add del setBg">
        <pc:chgData name="Saranya Sriram" userId="31246c95-b325-49bd-b9d7-da3f09848d21" providerId="ADAL" clId="{D5068DBE-EAAE-4312-BC48-8FE28F21FB1F}" dt="2022-09-21T01:04:42.909" v="342"/>
        <pc:sldMkLst>
          <pc:docMk/>
          <pc:sldMk cId="3594037179" sldId="4655"/>
        </pc:sldMkLst>
      </pc:sldChg>
      <pc:sldChg chg="del">
        <pc:chgData name="Saranya Sriram" userId="31246c95-b325-49bd-b9d7-da3f09848d21" providerId="ADAL" clId="{D5068DBE-EAAE-4312-BC48-8FE28F21FB1F}" dt="2022-09-21T00:16:33.632" v="135" actId="47"/>
        <pc:sldMkLst>
          <pc:docMk/>
          <pc:sldMk cId="4231542655" sldId="4665"/>
        </pc:sldMkLst>
      </pc:sldChg>
      <pc:sldChg chg="add del">
        <pc:chgData name="Saranya Sriram" userId="31246c95-b325-49bd-b9d7-da3f09848d21" providerId="ADAL" clId="{D5068DBE-EAAE-4312-BC48-8FE28F21FB1F}" dt="2022-09-21T01:04:42.909" v="342"/>
        <pc:sldMkLst>
          <pc:docMk/>
          <pc:sldMk cId="2957099409" sldId="10586"/>
        </pc:sldMkLst>
      </pc:sldChg>
      <pc:sldChg chg="modSp mod">
        <pc:chgData name="Saranya Sriram" userId="31246c95-b325-49bd-b9d7-da3f09848d21" providerId="ADAL" clId="{D5068DBE-EAAE-4312-BC48-8FE28F21FB1F}" dt="2022-09-21T02:27:40.877" v="1366" actId="20577"/>
        <pc:sldMkLst>
          <pc:docMk/>
          <pc:sldMk cId="1061857128" sldId="2076135801"/>
        </pc:sldMkLst>
        <pc:spChg chg="mod">
          <ac:chgData name="Saranya Sriram" userId="31246c95-b325-49bd-b9d7-da3f09848d21" providerId="ADAL" clId="{D5068DBE-EAAE-4312-BC48-8FE28F21FB1F}" dt="2022-09-21T02:27:40.877" v="1366" actId="20577"/>
          <ac:spMkLst>
            <pc:docMk/>
            <pc:sldMk cId="1061857128" sldId="2076135801"/>
            <ac:spMk id="7" creationId="{9410CB4F-A4AF-4E3D-80D0-4DC253939513}"/>
          </ac:spMkLst>
        </pc:spChg>
      </pc:sldChg>
      <pc:sldChg chg="add del">
        <pc:chgData name="Saranya Sriram" userId="31246c95-b325-49bd-b9d7-da3f09848d21" providerId="ADAL" clId="{D5068DBE-EAAE-4312-BC48-8FE28F21FB1F}" dt="2022-09-21T00:52:10.101" v="155"/>
        <pc:sldMkLst>
          <pc:docMk/>
          <pc:sldMk cId="880692555" sldId="2076136051"/>
        </pc:sldMkLst>
      </pc:sldChg>
      <pc:sldChg chg="add del">
        <pc:chgData name="Saranya Sriram" userId="31246c95-b325-49bd-b9d7-da3f09848d21" providerId="ADAL" clId="{D5068DBE-EAAE-4312-BC48-8FE28F21FB1F}" dt="2022-09-21T00:52:10.101" v="155"/>
        <pc:sldMkLst>
          <pc:docMk/>
          <pc:sldMk cId="3249285048" sldId="2076136060"/>
        </pc:sldMkLst>
      </pc:sldChg>
      <pc:sldChg chg="add del">
        <pc:chgData name="Saranya Sriram" userId="31246c95-b325-49bd-b9d7-da3f09848d21" providerId="ADAL" clId="{D5068DBE-EAAE-4312-BC48-8FE28F21FB1F}" dt="2022-09-21T00:52:10.101" v="155"/>
        <pc:sldMkLst>
          <pc:docMk/>
          <pc:sldMk cId="3688777549" sldId="2076136061"/>
        </pc:sldMkLst>
      </pc:sldChg>
      <pc:sldChg chg="addSp delSp modSp mod">
        <pc:chgData name="Saranya Sriram" userId="31246c95-b325-49bd-b9d7-da3f09848d21" providerId="ADAL" clId="{D5068DBE-EAAE-4312-BC48-8FE28F21FB1F}" dt="2022-09-21T02:39:22.120" v="1509" actId="948"/>
        <pc:sldMkLst>
          <pc:docMk/>
          <pc:sldMk cId="118316240" sldId="2076136873"/>
        </pc:sldMkLst>
        <pc:spChg chg="del mod">
          <ac:chgData name="Saranya Sriram" userId="31246c95-b325-49bd-b9d7-da3f09848d21" providerId="ADAL" clId="{D5068DBE-EAAE-4312-BC48-8FE28F21FB1F}" dt="2022-09-21T02:30:05.111" v="1467" actId="478"/>
          <ac:spMkLst>
            <pc:docMk/>
            <pc:sldMk cId="118316240" sldId="2076136873"/>
            <ac:spMk id="3" creationId="{A3FC531D-0387-4108-AB53-1C8200874C02}"/>
          </ac:spMkLst>
        </pc:spChg>
        <pc:spChg chg="mod">
          <ac:chgData name="Saranya Sriram" userId="31246c95-b325-49bd-b9d7-da3f09848d21" providerId="ADAL" clId="{D5068DBE-EAAE-4312-BC48-8FE28F21FB1F}" dt="2022-09-21T02:39:22.120" v="1509" actId="948"/>
          <ac:spMkLst>
            <pc:docMk/>
            <pc:sldMk cId="118316240" sldId="2076136873"/>
            <ac:spMk id="4" creationId="{826A531D-5D57-4809-980D-F5B53B2298A2}"/>
          </ac:spMkLst>
        </pc:spChg>
        <pc:spChg chg="add del mod">
          <ac:chgData name="Saranya Sriram" userId="31246c95-b325-49bd-b9d7-da3f09848d21" providerId="ADAL" clId="{D5068DBE-EAAE-4312-BC48-8FE28F21FB1F}" dt="2022-09-21T02:30:06.857" v="1468" actId="478"/>
          <ac:spMkLst>
            <pc:docMk/>
            <pc:sldMk cId="118316240" sldId="2076136873"/>
            <ac:spMk id="5" creationId="{DEF4D3A5-2782-06A0-ED2B-893C36F4159C}"/>
          </ac:spMkLst>
        </pc:spChg>
      </pc:sldChg>
      <pc:sldChg chg="del">
        <pc:chgData name="Saranya Sriram" userId="31246c95-b325-49bd-b9d7-da3f09848d21" providerId="ADAL" clId="{D5068DBE-EAAE-4312-BC48-8FE28F21FB1F}" dt="2022-09-21T02:40:01.175" v="1511" actId="47"/>
        <pc:sldMkLst>
          <pc:docMk/>
          <pc:sldMk cId="3064312200" sldId="2076137265"/>
        </pc:sldMkLst>
      </pc:sldChg>
      <pc:sldChg chg="addSp delSp modSp add del mod setBg delDesignElem">
        <pc:chgData name="Saranya Sriram" userId="31246c95-b325-49bd-b9d7-da3f09848d21" providerId="ADAL" clId="{D5068DBE-EAAE-4312-BC48-8FE28F21FB1F}" dt="2022-09-21T02:58:49.218" v="1565" actId="1076"/>
        <pc:sldMkLst>
          <pc:docMk/>
          <pc:sldMk cId="563274325" sldId="2076137272"/>
        </pc:sldMkLst>
        <pc:spChg chg="mod">
          <ac:chgData name="Saranya Sriram" userId="31246c95-b325-49bd-b9d7-da3f09848d21" providerId="ADAL" clId="{D5068DBE-EAAE-4312-BC48-8FE28F21FB1F}" dt="2022-09-21T02:58:39.040" v="1563" actId="27636"/>
          <ac:spMkLst>
            <pc:docMk/>
            <pc:sldMk cId="563274325" sldId="2076137272"/>
            <ac:spMk id="2" creationId="{4CAC3DB0-6687-4FE1-803F-11956A29767A}"/>
          </ac:spMkLst>
        </pc:spChg>
        <pc:spChg chg="mod">
          <ac:chgData name="Saranya Sriram" userId="31246c95-b325-49bd-b9d7-da3f09848d21" providerId="ADAL" clId="{D5068DBE-EAAE-4312-BC48-8FE28F21FB1F}" dt="2022-09-21T02:58:46.271" v="1564" actId="1076"/>
          <ac:spMkLst>
            <pc:docMk/>
            <pc:sldMk cId="563274325" sldId="2076137272"/>
            <ac:spMk id="4" creationId="{DD585F70-3EF2-5644-9C3E-5416BDE59E8E}"/>
          </ac:spMkLst>
        </pc:spChg>
        <pc:spChg chg="add del mod">
          <ac:chgData name="Saranya Sriram" userId="31246c95-b325-49bd-b9d7-da3f09848d21" providerId="ADAL" clId="{D5068DBE-EAAE-4312-BC48-8FE28F21FB1F}" dt="2022-09-21T02:44:30.688" v="1559" actId="478"/>
          <ac:spMkLst>
            <pc:docMk/>
            <pc:sldMk cId="563274325" sldId="2076137272"/>
            <ac:spMk id="8" creationId="{A5B06C3B-1FC1-945F-FF3A-DB382FC8208A}"/>
          </ac:spMkLst>
        </pc:spChg>
        <pc:spChg chg="add del">
          <ac:chgData name="Saranya Sriram" userId="31246c95-b325-49bd-b9d7-da3f09848d21" providerId="ADAL" clId="{D5068DBE-EAAE-4312-BC48-8FE28F21FB1F}" dt="2022-09-21T00:15:20.953" v="127"/>
          <ac:spMkLst>
            <pc:docMk/>
            <pc:sldMk cId="563274325" sldId="2076137272"/>
            <ac:spMk id="46" creationId="{05A1AA86-B7E6-4C02-AA34-F1A25CD4CCBD}"/>
          </ac:spMkLst>
        </pc:spChg>
        <pc:spChg chg="add del">
          <ac:chgData name="Saranya Sriram" userId="31246c95-b325-49bd-b9d7-da3f09848d21" providerId="ADAL" clId="{D5068DBE-EAAE-4312-BC48-8FE28F21FB1F}" dt="2022-09-21T00:15:20.953" v="127"/>
          <ac:spMkLst>
            <pc:docMk/>
            <pc:sldMk cId="563274325" sldId="2076137272"/>
            <ac:spMk id="47" creationId="{1DF91F20-B96F-4F77-AC3E-2CDD3BAA10C2}"/>
          </ac:spMkLst>
        </pc:spChg>
        <pc:spChg chg="add del">
          <ac:chgData name="Saranya Sriram" userId="31246c95-b325-49bd-b9d7-da3f09848d21" providerId="ADAL" clId="{D5068DBE-EAAE-4312-BC48-8FE28F21FB1F}" dt="2022-09-21T00:15:20.953" v="127"/>
          <ac:spMkLst>
            <pc:docMk/>
            <pc:sldMk cId="563274325" sldId="2076137272"/>
            <ac:spMk id="48" creationId="{C3D487F7-9050-4871-B351-34A72ADB296C}"/>
          </ac:spMkLst>
        </pc:spChg>
        <pc:spChg chg="add del">
          <ac:chgData name="Saranya Sriram" userId="31246c95-b325-49bd-b9d7-da3f09848d21" providerId="ADAL" clId="{D5068DBE-EAAE-4312-BC48-8FE28F21FB1F}" dt="2022-09-21T00:15:20.953" v="127"/>
          <ac:spMkLst>
            <pc:docMk/>
            <pc:sldMk cId="563274325" sldId="2076137272"/>
            <ac:spMk id="49" creationId="{F43C27DD-EF6A-4C48-9669-C2970E71A814}"/>
          </ac:spMkLst>
        </pc:spChg>
        <pc:spChg chg="add del">
          <ac:chgData name="Saranya Sriram" userId="31246c95-b325-49bd-b9d7-da3f09848d21" providerId="ADAL" clId="{D5068DBE-EAAE-4312-BC48-8FE28F21FB1F}" dt="2022-09-21T00:15:20.953" v="127"/>
          <ac:spMkLst>
            <pc:docMk/>
            <pc:sldMk cId="563274325" sldId="2076137272"/>
            <ac:spMk id="50" creationId="{C84384FE-1C88-4CAA-8FB8-2313A3AE734D}"/>
          </ac:spMkLst>
        </pc:spChg>
        <pc:spChg chg="add del">
          <ac:chgData name="Saranya Sriram" userId="31246c95-b325-49bd-b9d7-da3f09848d21" providerId="ADAL" clId="{D5068DBE-EAAE-4312-BC48-8FE28F21FB1F}" dt="2022-09-21T00:15:20.953" v="127"/>
          <ac:spMkLst>
            <pc:docMk/>
            <pc:sldMk cId="563274325" sldId="2076137272"/>
            <ac:spMk id="51" creationId="{87B6A113-58CD-406C-BCE4-6E1F1F2BE696}"/>
          </ac:spMkLst>
        </pc:spChg>
        <pc:picChg chg="add mod">
          <ac:chgData name="Saranya Sriram" userId="31246c95-b325-49bd-b9d7-da3f09848d21" providerId="ADAL" clId="{D5068DBE-EAAE-4312-BC48-8FE28F21FB1F}" dt="2022-09-21T02:58:49.218" v="1565" actId="1076"/>
          <ac:picMkLst>
            <pc:docMk/>
            <pc:sldMk cId="563274325" sldId="2076137272"/>
            <ac:picMk id="7" creationId="{50A78D9E-D0C6-B74D-0EA4-6A2728B540E2}"/>
          </ac:picMkLst>
        </pc:picChg>
      </pc:sldChg>
      <pc:sldChg chg="del">
        <pc:chgData name="Saranya Sriram" userId="31246c95-b325-49bd-b9d7-da3f09848d21" providerId="ADAL" clId="{D5068DBE-EAAE-4312-BC48-8FE28F21FB1F}" dt="2022-09-21T00:16:33.632" v="135" actId="47"/>
        <pc:sldMkLst>
          <pc:docMk/>
          <pc:sldMk cId="279288700" sldId="2134804850"/>
        </pc:sldMkLst>
      </pc:sldChg>
      <pc:sldChg chg="del">
        <pc:chgData name="Saranya Sriram" userId="31246c95-b325-49bd-b9d7-da3f09848d21" providerId="ADAL" clId="{D5068DBE-EAAE-4312-BC48-8FE28F21FB1F}" dt="2022-09-21T00:16:33.632" v="135" actId="47"/>
        <pc:sldMkLst>
          <pc:docMk/>
          <pc:sldMk cId="738090357" sldId="2134804865"/>
        </pc:sldMkLst>
      </pc:sldChg>
      <pc:sldChg chg="del">
        <pc:chgData name="Saranya Sriram" userId="31246c95-b325-49bd-b9d7-da3f09848d21" providerId="ADAL" clId="{D5068DBE-EAAE-4312-BC48-8FE28F21FB1F}" dt="2022-09-21T00:16:33.632" v="135" actId="47"/>
        <pc:sldMkLst>
          <pc:docMk/>
          <pc:sldMk cId="4217801541" sldId="2134804878"/>
        </pc:sldMkLst>
      </pc:sldChg>
      <pc:sldChg chg="del">
        <pc:chgData name="Saranya Sriram" userId="31246c95-b325-49bd-b9d7-da3f09848d21" providerId="ADAL" clId="{D5068DBE-EAAE-4312-BC48-8FE28F21FB1F}" dt="2022-09-21T00:16:33.632" v="135" actId="47"/>
        <pc:sldMkLst>
          <pc:docMk/>
          <pc:sldMk cId="3839566656" sldId="2134804879"/>
        </pc:sldMkLst>
      </pc:sldChg>
      <pc:sldChg chg="del">
        <pc:chgData name="Saranya Sriram" userId="31246c95-b325-49bd-b9d7-da3f09848d21" providerId="ADAL" clId="{D5068DBE-EAAE-4312-BC48-8FE28F21FB1F}" dt="2022-09-21T00:16:33.632" v="135" actId="47"/>
        <pc:sldMkLst>
          <pc:docMk/>
          <pc:sldMk cId="330262182" sldId="2134804890"/>
        </pc:sldMkLst>
      </pc:sldChg>
      <pc:sldChg chg="del">
        <pc:chgData name="Saranya Sriram" userId="31246c95-b325-49bd-b9d7-da3f09848d21" providerId="ADAL" clId="{D5068DBE-EAAE-4312-BC48-8FE28F21FB1F}" dt="2022-09-21T00:16:33.632" v="135" actId="47"/>
        <pc:sldMkLst>
          <pc:docMk/>
          <pc:sldMk cId="1823925467" sldId="2134804893"/>
        </pc:sldMkLst>
      </pc:sldChg>
      <pc:sldChg chg="del">
        <pc:chgData name="Saranya Sriram" userId="31246c95-b325-49bd-b9d7-da3f09848d21" providerId="ADAL" clId="{D5068DBE-EAAE-4312-BC48-8FE28F21FB1F}" dt="2022-09-21T00:16:33.632" v="135" actId="47"/>
        <pc:sldMkLst>
          <pc:docMk/>
          <pc:sldMk cId="2030430440" sldId="2134804897"/>
        </pc:sldMkLst>
      </pc:sldChg>
      <pc:sldChg chg="del">
        <pc:chgData name="Saranya Sriram" userId="31246c95-b325-49bd-b9d7-da3f09848d21" providerId="ADAL" clId="{D5068DBE-EAAE-4312-BC48-8FE28F21FB1F}" dt="2022-09-21T00:16:33.632" v="135" actId="47"/>
        <pc:sldMkLst>
          <pc:docMk/>
          <pc:sldMk cId="2530871134" sldId="2134804898"/>
        </pc:sldMkLst>
      </pc:sldChg>
      <pc:sldChg chg="modSp mod">
        <pc:chgData name="Saranya Sriram" userId="31246c95-b325-49bd-b9d7-da3f09848d21" providerId="ADAL" clId="{D5068DBE-EAAE-4312-BC48-8FE28F21FB1F}" dt="2022-09-21T02:27:53.082" v="1380" actId="20577"/>
        <pc:sldMkLst>
          <pc:docMk/>
          <pc:sldMk cId="2181310569" sldId="2134804900"/>
        </pc:sldMkLst>
        <pc:spChg chg="mod">
          <ac:chgData name="Saranya Sriram" userId="31246c95-b325-49bd-b9d7-da3f09848d21" providerId="ADAL" clId="{D5068DBE-EAAE-4312-BC48-8FE28F21FB1F}" dt="2022-09-20T23:35:27.937" v="110" actId="6549"/>
          <ac:spMkLst>
            <pc:docMk/>
            <pc:sldMk cId="2181310569" sldId="2134804900"/>
            <ac:spMk id="8" creationId="{695A9BC2-703B-45D8-A969-07DD344BC6D9}"/>
          </ac:spMkLst>
        </pc:spChg>
        <pc:spChg chg="mod">
          <ac:chgData name="Saranya Sriram" userId="31246c95-b325-49bd-b9d7-da3f09848d21" providerId="ADAL" clId="{D5068DBE-EAAE-4312-BC48-8FE28F21FB1F}" dt="2022-09-21T00:55:35.040" v="194" actId="20577"/>
          <ac:spMkLst>
            <pc:docMk/>
            <pc:sldMk cId="2181310569" sldId="2134804900"/>
            <ac:spMk id="10" creationId="{0A6CDB6C-1CF5-4AC4-87D3-17C601EB19C9}"/>
          </ac:spMkLst>
        </pc:spChg>
        <pc:spChg chg="mod">
          <ac:chgData name="Saranya Sriram" userId="31246c95-b325-49bd-b9d7-da3f09848d21" providerId="ADAL" clId="{D5068DBE-EAAE-4312-BC48-8FE28F21FB1F}" dt="2022-09-21T00:56:18.319" v="248" actId="1076"/>
          <ac:spMkLst>
            <pc:docMk/>
            <pc:sldMk cId="2181310569" sldId="2134804900"/>
            <ac:spMk id="14" creationId="{9F78472E-FDFF-49B4-8925-26588A7DA86F}"/>
          </ac:spMkLst>
        </pc:spChg>
        <pc:spChg chg="mod">
          <ac:chgData name="Saranya Sriram" userId="31246c95-b325-49bd-b9d7-da3f09848d21" providerId="ADAL" clId="{D5068DBE-EAAE-4312-BC48-8FE28F21FB1F}" dt="2022-09-21T00:57:15.590" v="339" actId="1076"/>
          <ac:spMkLst>
            <pc:docMk/>
            <pc:sldMk cId="2181310569" sldId="2134804900"/>
            <ac:spMk id="16" creationId="{D8D7A6FA-221F-4C65-AFDE-596DF28C26F1}"/>
          </ac:spMkLst>
        </pc:spChg>
        <pc:spChg chg="mod">
          <ac:chgData name="Saranya Sriram" userId="31246c95-b325-49bd-b9d7-da3f09848d21" providerId="ADAL" clId="{D5068DBE-EAAE-4312-BC48-8FE28F21FB1F}" dt="2022-09-21T01:30:30.313" v="360" actId="6549"/>
          <ac:spMkLst>
            <pc:docMk/>
            <pc:sldMk cId="2181310569" sldId="2134804900"/>
            <ac:spMk id="20" creationId="{B7EF1D2B-99A3-43AD-BEC4-42F9EEFE4BAD}"/>
          </ac:spMkLst>
        </pc:spChg>
        <pc:spChg chg="mod">
          <ac:chgData name="Saranya Sriram" userId="31246c95-b325-49bd-b9d7-da3f09848d21" providerId="ADAL" clId="{D5068DBE-EAAE-4312-BC48-8FE28F21FB1F}" dt="2022-09-21T02:12:38.934" v="899" actId="20577"/>
          <ac:spMkLst>
            <pc:docMk/>
            <pc:sldMk cId="2181310569" sldId="2134804900"/>
            <ac:spMk id="22" creationId="{4A537A12-F3AA-4466-92E5-7FA5AAC1C36E}"/>
          </ac:spMkLst>
        </pc:spChg>
        <pc:spChg chg="mod">
          <ac:chgData name="Saranya Sriram" userId="31246c95-b325-49bd-b9d7-da3f09848d21" providerId="ADAL" clId="{D5068DBE-EAAE-4312-BC48-8FE28F21FB1F}" dt="2022-09-21T02:27:53.082" v="1380" actId="20577"/>
          <ac:spMkLst>
            <pc:docMk/>
            <pc:sldMk cId="2181310569" sldId="2134804900"/>
            <ac:spMk id="28" creationId="{BE76ED0E-4E1A-4712-891D-FA1E8F2E39BA}"/>
          </ac:spMkLst>
        </pc:spChg>
        <pc:spChg chg="mod">
          <ac:chgData name="Saranya Sriram" userId="31246c95-b325-49bd-b9d7-da3f09848d21" providerId="ADAL" clId="{D5068DBE-EAAE-4312-BC48-8FE28F21FB1F}" dt="2022-09-21T02:13:27.634" v="956" actId="1076"/>
          <ac:spMkLst>
            <pc:docMk/>
            <pc:sldMk cId="2181310569" sldId="2134804900"/>
            <ac:spMk id="30" creationId="{B4AA9229-1BD4-40D2-A1C1-A82B62D04B24}"/>
          </ac:spMkLst>
        </pc:spChg>
      </pc:sldChg>
      <pc:sldChg chg="modSp mod">
        <pc:chgData name="Saranya Sriram" userId="31246c95-b325-49bd-b9d7-da3f09848d21" providerId="ADAL" clId="{D5068DBE-EAAE-4312-BC48-8FE28F21FB1F}" dt="2022-09-20T23:35:17.084" v="107" actId="20577"/>
        <pc:sldMkLst>
          <pc:docMk/>
          <pc:sldMk cId="3056045645" sldId="2134804901"/>
        </pc:sldMkLst>
        <pc:spChg chg="mod">
          <ac:chgData name="Saranya Sriram" userId="31246c95-b325-49bd-b9d7-da3f09848d21" providerId="ADAL" clId="{D5068DBE-EAAE-4312-BC48-8FE28F21FB1F}" dt="2022-09-20T23:35:17.084" v="107" actId="20577"/>
          <ac:spMkLst>
            <pc:docMk/>
            <pc:sldMk cId="3056045645" sldId="2134804901"/>
            <ac:spMk id="10" creationId="{46338273-659B-4BE6-8CB2-D880A35AB60D}"/>
          </ac:spMkLst>
        </pc:spChg>
      </pc:sldChg>
      <pc:sldChg chg="modSp mod">
        <pc:chgData name="Saranya Sriram" userId="31246c95-b325-49bd-b9d7-da3f09848d21" providerId="ADAL" clId="{D5068DBE-EAAE-4312-BC48-8FE28F21FB1F}" dt="2022-09-21T02:13:49.371" v="988" actId="20577"/>
        <pc:sldMkLst>
          <pc:docMk/>
          <pc:sldMk cId="2221710060" sldId="2134804902"/>
        </pc:sldMkLst>
        <pc:spChg chg="mod">
          <ac:chgData name="Saranya Sriram" userId="31246c95-b325-49bd-b9d7-da3f09848d21" providerId="ADAL" clId="{D5068DBE-EAAE-4312-BC48-8FE28F21FB1F}" dt="2022-09-21T02:13:49.371" v="988" actId="20577"/>
          <ac:spMkLst>
            <pc:docMk/>
            <pc:sldMk cId="2221710060" sldId="2134804902"/>
            <ac:spMk id="10" creationId="{46338273-659B-4BE6-8CB2-D880A35AB60D}"/>
          </ac:spMkLst>
        </pc:spChg>
      </pc:sldChg>
      <pc:sldChg chg="del">
        <pc:chgData name="Saranya Sriram" userId="31246c95-b325-49bd-b9d7-da3f09848d21" providerId="ADAL" clId="{D5068DBE-EAAE-4312-BC48-8FE28F21FB1F}" dt="2022-09-20T23:35:20.985" v="109" actId="47"/>
        <pc:sldMkLst>
          <pc:docMk/>
          <pc:sldMk cId="3363245920" sldId="2134804903"/>
        </pc:sldMkLst>
      </pc:sldChg>
      <pc:sldChg chg="modSp mod">
        <pc:chgData name="Saranya Sriram" userId="31246c95-b325-49bd-b9d7-da3f09848d21" providerId="ADAL" clId="{D5068DBE-EAAE-4312-BC48-8FE28F21FB1F}" dt="2022-09-21T01:30:19.540" v="359" actId="20577"/>
        <pc:sldMkLst>
          <pc:docMk/>
          <pc:sldMk cId="2670743819" sldId="2134804904"/>
        </pc:sldMkLst>
        <pc:spChg chg="mod">
          <ac:chgData name="Saranya Sriram" userId="31246c95-b325-49bd-b9d7-da3f09848d21" providerId="ADAL" clId="{D5068DBE-EAAE-4312-BC48-8FE28F21FB1F}" dt="2022-09-21T01:30:19.540" v="359" actId="20577"/>
          <ac:spMkLst>
            <pc:docMk/>
            <pc:sldMk cId="2670743819" sldId="2134804904"/>
            <ac:spMk id="10" creationId="{46338273-659B-4BE6-8CB2-D880A35AB60D}"/>
          </ac:spMkLst>
        </pc:spChg>
      </pc:sldChg>
      <pc:sldChg chg="del">
        <pc:chgData name="Saranya Sriram" userId="31246c95-b325-49bd-b9d7-da3f09848d21" providerId="ADAL" clId="{D5068DBE-EAAE-4312-BC48-8FE28F21FB1F}" dt="2022-09-21T00:16:33.632" v="135" actId="47"/>
        <pc:sldMkLst>
          <pc:docMk/>
          <pc:sldMk cId="2098295146" sldId="2134804905"/>
        </pc:sldMkLst>
      </pc:sldChg>
      <pc:sldChg chg="del">
        <pc:chgData name="Saranya Sriram" userId="31246c95-b325-49bd-b9d7-da3f09848d21" providerId="ADAL" clId="{D5068DBE-EAAE-4312-BC48-8FE28F21FB1F}" dt="2022-09-21T00:16:33.632" v="135" actId="47"/>
        <pc:sldMkLst>
          <pc:docMk/>
          <pc:sldMk cId="3478468574" sldId="2134804906"/>
        </pc:sldMkLst>
      </pc:sldChg>
      <pc:sldChg chg="delSp modSp del mod">
        <pc:chgData name="Saranya Sriram" userId="31246c95-b325-49bd-b9d7-da3f09848d21" providerId="ADAL" clId="{D5068DBE-EAAE-4312-BC48-8FE28F21FB1F}" dt="2022-09-21T02:39:31.180" v="1510" actId="47"/>
        <pc:sldMkLst>
          <pc:docMk/>
          <pc:sldMk cId="1722452994" sldId="2134804907"/>
        </pc:sldMkLst>
        <pc:spChg chg="del mod">
          <ac:chgData name="Saranya Sriram" userId="31246c95-b325-49bd-b9d7-da3f09848d21" providerId="ADAL" clId="{D5068DBE-EAAE-4312-BC48-8FE28F21FB1F}" dt="2022-09-21T02:28:36.874" v="1397"/>
          <ac:spMkLst>
            <pc:docMk/>
            <pc:sldMk cId="1722452994" sldId="2134804907"/>
            <ac:spMk id="3" creationId="{F3898FA2-42DB-4FDF-9B22-E0DE094DFC70}"/>
          </ac:spMkLst>
        </pc:spChg>
      </pc:sldChg>
      <pc:sldChg chg="del">
        <pc:chgData name="Saranya Sriram" userId="31246c95-b325-49bd-b9d7-da3f09848d21" providerId="ADAL" clId="{D5068DBE-EAAE-4312-BC48-8FE28F21FB1F}" dt="2022-09-21T00:15:52.650" v="134" actId="47"/>
        <pc:sldMkLst>
          <pc:docMk/>
          <pc:sldMk cId="2612623634" sldId="2134804908"/>
        </pc:sldMkLst>
      </pc:sldChg>
      <pc:sldChg chg="del">
        <pc:chgData name="Saranya Sriram" userId="31246c95-b325-49bd-b9d7-da3f09848d21" providerId="ADAL" clId="{D5068DBE-EAAE-4312-BC48-8FE28F21FB1F}" dt="2022-09-21T02:27:20.673" v="1340" actId="47"/>
        <pc:sldMkLst>
          <pc:docMk/>
          <pc:sldMk cId="3126294590" sldId="2134804909"/>
        </pc:sldMkLst>
      </pc:sldChg>
      <pc:sldChg chg="delSp add setBg delDesignElem">
        <pc:chgData name="Saranya Sriram" userId="31246c95-b325-49bd-b9d7-da3f09848d21" providerId="ADAL" clId="{D5068DBE-EAAE-4312-BC48-8FE28F21FB1F}" dt="2022-09-21T00:15:50.596" v="133"/>
        <pc:sldMkLst>
          <pc:docMk/>
          <pc:sldMk cId="2143349201" sldId="2134804910"/>
        </pc:sldMkLst>
        <pc:spChg chg="del">
          <ac:chgData name="Saranya Sriram" userId="31246c95-b325-49bd-b9d7-da3f09848d21" providerId="ADAL" clId="{D5068DBE-EAAE-4312-BC48-8FE28F21FB1F}" dt="2022-09-21T00:15:50.596" v="133"/>
          <ac:spMkLst>
            <pc:docMk/>
            <pc:sldMk cId="2143349201" sldId="2134804910"/>
            <ac:spMk id="46" creationId="{05A1AA86-B7E6-4C02-AA34-F1A25CD4CCBD}"/>
          </ac:spMkLst>
        </pc:spChg>
        <pc:spChg chg="del">
          <ac:chgData name="Saranya Sriram" userId="31246c95-b325-49bd-b9d7-da3f09848d21" providerId="ADAL" clId="{D5068DBE-EAAE-4312-BC48-8FE28F21FB1F}" dt="2022-09-21T00:15:50.596" v="133"/>
          <ac:spMkLst>
            <pc:docMk/>
            <pc:sldMk cId="2143349201" sldId="2134804910"/>
            <ac:spMk id="47" creationId="{1DF91F20-B96F-4F77-AC3E-2CDD3BAA10C2}"/>
          </ac:spMkLst>
        </pc:spChg>
        <pc:spChg chg="del">
          <ac:chgData name="Saranya Sriram" userId="31246c95-b325-49bd-b9d7-da3f09848d21" providerId="ADAL" clId="{D5068DBE-EAAE-4312-BC48-8FE28F21FB1F}" dt="2022-09-21T00:15:50.596" v="133"/>
          <ac:spMkLst>
            <pc:docMk/>
            <pc:sldMk cId="2143349201" sldId="2134804910"/>
            <ac:spMk id="48" creationId="{C3D487F7-9050-4871-B351-34A72ADB296C}"/>
          </ac:spMkLst>
        </pc:spChg>
        <pc:spChg chg="del">
          <ac:chgData name="Saranya Sriram" userId="31246c95-b325-49bd-b9d7-da3f09848d21" providerId="ADAL" clId="{D5068DBE-EAAE-4312-BC48-8FE28F21FB1F}" dt="2022-09-21T00:15:50.596" v="133"/>
          <ac:spMkLst>
            <pc:docMk/>
            <pc:sldMk cId="2143349201" sldId="2134804910"/>
            <ac:spMk id="49" creationId="{F43C27DD-EF6A-4C48-9669-C2970E71A814}"/>
          </ac:spMkLst>
        </pc:spChg>
        <pc:spChg chg="del">
          <ac:chgData name="Saranya Sriram" userId="31246c95-b325-49bd-b9d7-da3f09848d21" providerId="ADAL" clId="{D5068DBE-EAAE-4312-BC48-8FE28F21FB1F}" dt="2022-09-21T00:15:50.596" v="133"/>
          <ac:spMkLst>
            <pc:docMk/>
            <pc:sldMk cId="2143349201" sldId="2134804910"/>
            <ac:spMk id="50" creationId="{C84384FE-1C88-4CAA-8FB8-2313A3AE734D}"/>
          </ac:spMkLst>
        </pc:spChg>
        <pc:spChg chg="del">
          <ac:chgData name="Saranya Sriram" userId="31246c95-b325-49bd-b9d7-da3f09848d21" providerId="ADAL" clId="{D5068DBE-EAAE-4312-BC48-8FE28F21FB1F}" dt="2022-09-21T00:15:50.596" v="133"/>
          <ac:spMkLst>
            <pc:docMk/>
            <pc:sldMk cId="2143349201" sldId="2134804910"/>
            <ac:spMk id="51" creationId="{87B6A113-58CD-406C-BCE4-6E1F1F2BE696}"/>
          </ac:spMkLst>
        </pc:spChg>
      </pc:sldChg>
      <pc:sldChg chg="add del">
        <pc:chgData name="Saranya Sriram" userId="31246c95-b325-49bd-b9d7-da3f09848d21" providerId="ADAL" clId="{D5068DBE-EAAE-4312-BC48-8FE28F21FB1F}" dt="2022-09-21T00:15:44.326" v="131" actId="2696"/>
        <pc:sldMkLst>
          <pc:docMk/>
          <pc:sldMk cId="3639133462" sldId="2134804910"/>
        </pc:sldMkLst>
      </pc:sldChg>
      <pc:sldChg chg="addSp delSp modSp add del mod setBg delDesignElem">
        <pc:chgData name="Saranya Sriram" userId="31246c95-b325-49bd-b9d7-da3f09848d21" providerId="ADAL" clId="{D5068DBE-EAAE-4312-BC48-8FE28F21FB1F}" dt="2022-09-21T00:15:20.953" v="127"/>
        <pc:sldMkLst>
          <pc:docMk/>
          <pc:sldMk cId="3651521516" sldId="2134804910"/>
        </pc:sldMkLst>
        <pc:spChg chg="mod">
          <ac:chgData name="Saranya Sriram" userId="31246c95-b325-49bd-b9d7-da3f09848d21" providerId="ADAL" clId="{D5068DBE-EAAE-4312-BC48-8FE28F21FB1F}" dt="2022-09-21T00:15:20.953" v="127"/>
          <ac:spMkLst>
            <pc:docMk/>
            <pc:sldMk cId="3651521516" sldId="2134804910"/>
            <ac:spMk id="2" creationId="{4CAC3DB0-6687-4FE1-803F-11956A29767A}"/>
          </ac:spMkLst>
        </pc:spChg>
        <pc:spChg chg="add del">
          <ac:chgData name="Saranya Sriram" userId="31246c95-b325-49bd-b9d7-da3f09848d21" providerId="ADAL" clId="{D5068DBE-EAAE-4312-BC48-8FE28F21FB1F}" dt="2022-09-21T00:15:20.953" v="127"/>
          <ac:spMkLst>
            <pc:docMk/>
            <pc:sldMk cId="3651521516" sldId="2134804910"/>
            <ac:spMk id="46" creationId="{05A1AA86-B7E6-4C02-AA34-F1A25CD4CCBD}"/>
          </ac:spMkLst>
        </pc:spChg>
        <pc:spChg chg="add del">
          <ac:chgData name="Saranya Sriram" userId="31246c95-b325-49bd-b9d7-da3f09848d21" providerId="ADAL" clId="{D5068DBE-EAAE-4312-BC48-8FE28F21FB1F}" dt="2022-09-21T00:15:20.953" v="127"/>
          <ac:spMkLst>
            <pc:docMk/>
            <pc:sldMk cId="3651521516" sldId="2134804910"/>
            <ac:spMk id="47" creationId="{1DF91F20-B96F-4F77-AC3E-2CDD3BAA10C2}"/>
          </ac:spMkLst>
        </pc:spChg>
        <pc:spChg chg="add del">
          <ac:chgData name="Saranya Sriram" userId="31246c95-b325-49bd-b9d7-da3f09848d21" providerId="ADAL" clId="{D5068DBE-EAAE-4312-BC48-8FE28F21FB1F}" dt="2022-09-21T00:15:20.953" v="127"/>
          <ac:spMkLst>
            <pc:docMk/>
            <pc:sldMk cId="3651521516" sldId="2134804910"/>
            <ac:spMk id="48" creationId="{C3D487F7-9050-4871-B351-34A72ADB296C}"/>
          </ac:spMkLst>
        </pc:spChg>
        <pc:spChg chg="add del">
          <ac:chgData name="Saranya Sriram" userId="31246c95-b325-49bd-b9d7-da3f09848d21" providerId="ADAL" clId="{D5068DBE-EAAE-4312-BC48-8FE28F21FB1F}" dt="2022-09-21T00:15:20.953" v="127"/>
          <ac:spMkLst>
            <pc:docMk/>
            <pc:sldMk cId="3651521516" sldId="2134804910"/>
            <ac:spMk id="49" creationId="{F43C27DD-EF6A-4C48-9669-C2970E71A814}"/>
          </ac:spMkLst>
        </pc:spChg>
        <pc:spChg chg="add del">
          <ac:chgData name="Saranya Sriram" userId="31246c95-b325-49bd-b9d7-da3f09848d21" providerId="ADAL" clId="{D5068DBE-EAAE-4312-BC48-8FE28F21FB1F}" dt="2022-09-21T00:15:20.953" v="127"/>
          <ac:spMkLst>
            <pc:docMk/>
            <pc:sldMk cId="3651521516" sldId="2134804910"/>
            <ac:spMk id="50" creationId="{C84384FE-1C88-4CAA-8FB8-2313A3AE734D}"/>
          </ac:spMkLst>
        </pc:spChg>
        <pc:spChg chg="add del">
          <ac:chgData name="Saranya Sriram" userId="31246c95-b325-49bd-b9d7-da3f09848d21" providerId="ADAL" clId="{D5068DBE-EAAE-4312-BC48-8FE28F21FB1F}" dt="2022-09-21T00:15:20.953" v="127"/>
          <ac:spMkLst>
            <pc:docMk/>
            <pc:sldMk cId="3651521516" sldId="2134804910"/>
            <ac:spMk id="51" creationId="{87B6A113-58CD-406C-BCE4-6E1F1F2BE696}"/>
          </ac:spMkLst>
        </pc:spChg>
      </pc:sldChg>
      <pc:sldChg chg="addSp new del">
        <pc:chgData name="Saranya Sriram" userId="31246c95-b325-49bd-b9d7-da3f09848d21" providerId="ADAL" clId="{D5068DBE-EAAE-4312-BC48-8FE28F21FB1F}" dt="2022-09-21T00:19:29.939" v="138" actId="47"/>
        <pc:sldMkLst>
          <pc:docMk/>
          <pc:sldMk cId="2505082723" sldId="2134804911"/>
        </pc:sldMkLst>
        <pc:picChg chg="add">
          <ac:chgData name="Saranya Sriram" userId="31246c95-b325-49bd-b9d7-da3f09848d21" providerId="ADAL" clId="{D5068DBE-EAAE-4312-BC48-8FE28F21FB1F}" dt="2022-09-21T00:19:12.345" v="137"/>
          <ac:picMkLst>
            <pc:docMk/>
            <pc:sldMk cId="2505082723" sldId="2134804911"/>
            <ac:picMk id="1026" creationId="{B1012E59-E112-BE17-FEB2-331D2908F5E1}"/>
          </ac:picMkLst>
        </pc:picChg>
        <pc:picChg chg="add">
          <ac:chgData name="Saranya Sriram" userId="31246c95-b325-49bd-b9d7-da3f09848d21" providerId="ADAL" clId="{D5068DBE-EAAE-4312-BC48-8FE28F21FB1F}" dt="2022-09-21T00:19:12.345" v="137"/>
          <ac:picMkLst>
            <pc:docMk/>
            <pc:sldMk cId="2505082723" sldId="2134804911"/>
            <ac:picMk id="1027" creationId="{1F75CE6E-DB8C-146D-43F9-DA8F58DC3D4E}"/>
          </ac:picMkLst>
        </pc:picChg>
        <pc:picChg chg="add">
          <ac:chgData name="Saranya Sriram" userId="31246c95-b325-49bd-b9d7-da3f09848d21" providerId="ADAL" clId="{D5068DBE-EAAE-4312-BC48-8FE28F21FB1F}" dt="2022-09-21T00:19:12.345" v="137"/>
          <ac:picMkLst>
            <pc:docMk/>
            <pc:sldMk cId="2505082723" sldId="2134804911"/>
            <ac:picMk id="1028" creationId="{00137CF2-1341-A1E2-87C5-E11A37FC5DEB}"/>
          </ac:picMkLst>
        </pc:picChg>
        <pc:picChg chg="add">
          <ac:chgData name="Saranya Sriram" userId="31246c95-b325-49bd-b9d7-da3f09848d21" providerId="ADAL" clId="{D5068DBE-EAAE-4312-BC48-8FE28F21FB1F}" dt="2022-09-21T00:19:12.345" v="137"/>
          <ac:picMkLst>
            <pc:docMk/>
            <pc:sldMk cId="2505082723" sldId="2134804911"/>
            <ac:picMk id="1029" creationId="{C5C96AC7-56AC-011B-476B-F0AD51E05502}"/>
          </ac:picMkLst>
        </pc:picChg>
        <pc:picChg chg="add">
          <ac:chgData name="Saranya Sriram" userId="31246c95-b325-49bd-b9d7-da3f09848d21" providerId="ADAL" clId="{D5068DBE-EAAE-4312-BC48-8FE28F21FB1F}" dt="2022-09-21T00:19:12.345" v="137"/>
          <ac:picMkLst>
            <pc:docMk/>
            <pc:sldMk cId="2505082723" sldId="2134804911"/>
            <ac:picMk id="1030" creationId="{4FE16924-B34E-8FE6-F366-1AD7F8278246}"/>
          </ac:picMkLst>
        </pc:picChg>
        <pc:picChg chg="add">
          <ac:chgData name="Saranya Sriram" userId="31246c95-b325-49bd-b9d7-da3f09848d21" providerId="ADAL" clId="{D5068DBE-EAAE-4312-BC48-8FE28F21FB1F}" dt="2022-09-21T00:19:12.345" v="137"/>
          <ac:picMkLst>
            <pc:docMk/>
            <pc:sldMk cId="2505082723" sldId="2134804911"/>
            <ac:picMk id="1031" creationId="{D11615BB-CCB6-86D9-09DA-EF8ECA83F1B5}"/>
          </ac:picMkLst>
        </pc:picChg>
        <pc:picChg chg="add">
          <ac:chgData name="Saranya Sriram" userId="31246c95-b325-49bd-b9d7-da3f09848d21" providerId="ADAL" clId="{D5068DBE-EAAE-4312-BC48-8FE28F21FB1F}" dt="2022-09-21T00:19:12.345" v="137"/>
          <ac:picMkLst>
            <pc:docMk/>
            <pc:sldMk cId="2505082723" sldId="2134804911"/>
            <ac:picMk id="1032" creationId="{9E465C4C-DAF4-B9BA-0C90-184D8F27EA5B}"/>
          </ac:picMkLst>
        </pc:picChg>
        <pc:picChg chg="add">
          <ac:chgData name="Saranya Sriram" userId="31246c95-b325-49bd-b9d7-da3f09848d21" providerId="ADAL" clId="{D5068DBE-EAAE-4312-BC48-8FE28F21FB1F}" dt="2022-09-21T00:19:12.345" v="137"/>
          <ac:picMkLst>
            <pc:docMk/>
            <pc:sldMk cId="2505082723" sldId="2134804911"/>
            <ac:picMk id="1033" creationId="{4804EBA8-028A-35EA-F208-5A8D6D7B074E}"/>
          </ac:picMkLst>
        </pc:picChg>
        <pc:picChg chg="add">
          <ac:chgData name="Saranya Sriram" userId="31246c95-b325-49bd-b9d7-da3f09848d21" providerId="ADAL" clId="{D5068DBE-EAAE-4312-BC48-8FE28F21FB1F}" dt="2022-09-21T00:19:12.345" v="137"/>
          <ac:picMkLst>
            <pc:docMk/>
            <pc:sldMk cId="2505082723" sldId="2134804911"/>
            <ac:picMk id="1034" creationId="{0CCBF846-8B85-D4AB-D414-A3BCFF3C0FCB}"/>
          </ac:picMkLst>
        </pc:picChg>
        <pc:picChg chg="add">
          <ac:chgData name="Saranya Sriram" userId="31246c95-b325-49bd-b9d7-da3f09848d21" providerId="ADAL" clId="{D5068DBE-EAAE-4312-BC48-8FE28F21FB1F}" dt="2022-09-21T00:19:12.345" v="137"/>
          <ac:picMkLst>
            <pc:docMk/>
            <pc:sldMk cId="2505082723" sldId="2134804911"/>
            <ac:picMk id="1035" creationId="{9C968C93-DA99-4839-B622-04F40C839D79}"/>
          </ac:picMkLst>
        </pc:picChg>
        <pc:picChg chg="add">
          <ac:chgData name="Saranya Sriram" userId="31246c95-b325-49bd-b9d7-da3f09848d21" providerId="ADAL" clId="{D5068DBE-EAAE-4312-BC48-8FE28F21FB1F}" dt="2022-09-21T00:19:12.345" v="137"/>
          <ac:picMkLst>
            <pc:docMk/>
            <pc:sldMk cId="2505082723" sldId="2134804911"/>
            <ac:picMk id="1036" creationId="{3345F07B-B216-0CCA-2839-3B0660DF38F0}"/>
          </ac:picMkLst>
        </pc:picChg>
        <pc:picChg chg="add">
          <ac:chgData name="Saranya Sriram" userId="31246c95-b325-49bd-b9d7-da3f09848d21" providerId="ADAL" clId="{D5068DBE-EAAE-4312-BC48-8FE28F21FB1F}" dt="2022-09-21T00:19:12.345" v="137"/>
          <ac:picMkLst>
            <pc:docMk/>
            <pc:sldMk cId="2505082723" sldId="2134804911"/>
            <ac:picMk id="1037" creationId="{5032B1E1-F812-4C08-6FDF-BD94FC17E4CA}"/>
          </ac:picMkLst>
        </pc:picChg>
        <pc:picChg chg="add">
          <ac:chgData name="Saranya Sriram" userId="31246c95-b325-49bd-b9d7-da3f09848d21" providerId="ADAL" clId="{D5068DBE-EAAE-4312-BC48-8FE28F21FB1F}" dt="2022-09-21T00:19:12.345" v="137"/>
          <ac:picMkLst>
            <pc:docMk/>
            <pc:sldMk cId="2505082723" sldId="2134804911"/>
            <ac:picMk id="1038" creationId="{55D016E5-5869-0EB2-7B98-0639F8A1ED2E}"/>
          </ac:picMkLst>
        </pc:picChg>
        <pc:picChg chg="add">
          <ac:chgData name="Saranya Sriram" userId="31246c95-b325-49bd-b9d7-da3f09848d21" providerId="ADAL" clId="{D5068DBE-EAAE-4312-BC48-8FE28F21FB1F}" dt="2022-09-21T00:19:12.345" v="137"/>
          <ac:picMkLst>
            <pc:docMk/>
            <pc:sldMk cId="2505082723" sldId="2134804911"/>
            <ac:picMk id="1039" creationId="{A8DAE296-2C1B-3455-6141-661891C9614F}"/>
          </ac:picMkLst>
        </pc:picChg>
        <pc:picChg chg="add">
          <ac:chgData name="Saranya Sriram" userId="31246c95-b325-49bd-b9d7-da3f09848d21" providerId="ADAL" clId="{D5068DBE-EAAE-4312-BC48-8FE28F21FB1F}" dt="2022-09-21T00:19:12.345" v="137"/>
          <ac:picMkLst>
            <pc:docMk/>
            <pc:sldMk cId="2505082723" sldId="2134804911"/>
            <ac:picMk id="1040" creationId="{4BCF0FAE-455C-93DB-79FD-A4E773569047}"/>
          </ac:picMkLst>
        </pc:picChg>
        <pc:picChg chg="add">
          <ac:chgData name="Saranya Sriram" userId="31246c95-b325-49bd-b9d7-da3f09848d21" providerId="ADAL" clId="{D5068DBE-EAAE-4312-BC48-8FE28F21FB1F}" dt="2022-09-21T00:19:12.345" v="137"/>
          <ac:picMkLst>
            <pc:docMk/>
            <pc:sldMk cId="2505082723" sldId="2134804911"/>
            <ac:picMk id="1041" creationId="{61C042E3-FD42-D48B-A4E9-B4447EEAF960}"/>
          </ac:picMkLst>
        </pc:picChg>
        <pc:picChg chg="add">
          <ac:chgData name="Saranya Sriram" userId="31246c95-b325-49bd-b9d7-da3f09848d21" providerId="ADAL" clId="{D5068DBE-EAAE-4312-BC48-8FE28F21FB1F}" dt="2022-09-21T00:19:12.345" v="137"/>
          <ac:picMkLst>
            <pc:docMk/>
            <pc:sldMk cId="2505082723" sldId="2134804911"/>
            <ac:picMk id="1042" creationId="{A5CB364A-0DDA-6896-F278-BA24D85FAD89}"/>
          </ac:picMkLst>
        </pc:picChg>
        <pc:picChg chg="add">
          <ac:chgData name="Saranya Sriram" userId="31246c95-b325-49bd-b9d7-da3f09848d21" providerId="ADAL" clId="{D5068DBE-EAAE-4312-BC48-8FE28F21FB1F}" dt="2022-09-21T00:19:12.345" v="137"/>
          <ac:picMkLst>
            <pc:docMk/>
            <pc:sldMk cId="2505082723" sldId="2134804911"/>
            <ac:picMk id="1043" creationId="{FD7663D2-C7D8-1547-714D-B14D51E547BA}"/>
          </ac:picMkLst>
        </pc:picChg>
        <pc:picChg chg="add">
          <ac:chgData name="Saranya Sriram" userId="31246c95-b325-49bd-b9d7-da3f09848d21" providerId="ADAL" clId="{D5068DBE-EAAE-4312-BC48-8FE28F21FB1F}" dt="2022-09-21T00:19:12.345" v="137"/>
          <ac:picMkLst>
            <pc:docMk/>
            <pc:sldMk cId="2505082723" sldId="2134804911"/>
            <ac:picMk id="1044" creationId="{822A74A3-5BD4-1953-A1D3-98961D59D15E}"/>
          </ac:picMkLst>
        </pc:picChg>
        <pc:picChg chg="add">
          <ac:chgData name="Saranya Sriram" userId="31246c95-b325-49bd-b9d7-da3f09848d21" providerId="ADAL" clId="{D5068DBE-EAAE-4312-BC48-8FE28F21FB1F}" dt="2022-09-21T00:19:12.345" v="137"/>
          <ac:picMkLst>
            <pc:docMk/>
            <pc:sldMk cId="2505082723" sldId="2134804911"/>
            <ac:picMk id="1045" creationId="{38CD7063-D1F3-6B9D-7B97-73F8A8CC8148}"/>
          </ac:picMkLst>
        </pc:picChg>
        <pc:picChg chg="add">
          <ac:chgData name="Saranya Sriram" userId="31246c95-b325-49bd-b9d7-da3f09848d21" providerId="ADAL" clId="{D5068DBE-EAAE-4312-BC48-8FE28F21FB1F}" dt="2022-09-21T00:19:12.345" v="137"/>
          <ac:picMkLst>
            <pc:docMk/>
            <pc:sldMk cId="2505082723" sldId="2134804911"/>
            <ac:picMk id="1046" creationId="{8C2125F3-D165-7D03-5BAD-7E8730E3B0CD}"/>
          </ac:picMkLst>
        </pc:picChg>
        <pc:picChg chg="add">
          <ac:chgData name="Saranya Sriram" userId="31246c95-b325-49bd-b9d7-da3f09848d21" providerId="ADAL" clId="{D5068DBE-EAAE-4312-BC48-8FE28F21FB1F}" dt="2022-09-21T00:19:12.345" v="137"/>
          <ac:picMkLst>
            <pc:docMk/>
            <pc:sldMk cId="2505082723" sldId="2134804911"/>
            <ac:picMk id="1047" creationId="{72F78A24-5EE1-B54B-7413-568E8B15E768}"/>
          </ac:picMkLst>
        </pc:picChg>
        <pc:picChg chg="add">
          <ac:chgData name="Saranya Sriram" userId="31246c95-b325-49bd-b9d7-da3f09848d21" providerId="ADAL" clId="{D5068DBE-EAAE-4312-BC48-8FE28F21FB1F}" dt="2022-09-21T00:19:12.345" v="137"/>
          <ac:picMkLst>
            <pc:docMk/>
            <pc:sldMk cId="2505082723" sldId="2134804911"/>
            <ac:picMk id="1048" creationId="{2F30E589-FD96-EEC4-051F-E70206124561}"/>
          </ac:picMkLst>
        </pc:picChg>
        <pc:picChg chg="add">
          <ac:chgData name="Saranya Sriram" userId="31246c95-b325-49bd-b9d7-da3f09848d21" providerId="ADAL" clId="{D5068DBE-EAAE-4312-BC48-8FE28F21FB1F}" dt="2022-09-21T00:19:12.345" v="137"/>
          <ac:picMkLst>
            <pc:docMk/>
            <pc:sldMk cId="2505082723" sldId="2134804911"/>
            <ac:picMk id="1049" creationId="{5164563B-9243-B80E-5CC6-09FE00FBB711}"/>
          </ac:picMkLst>
        </pc:picChg>
        <pc:picChg chg="add">
          <ac:chgData name="Saranya Sriram" userId="31246c95-b325-49bd-b9d7-da3f09848d21" providerId="ADAL" clId="{D5068DBE-EAAE-4312-BC48-8FE28F21FB1F}" dt="2022-09-21T00:19:12.345" v="137"/>
          <ac:picMkLst>
            <pc:docMk/>
            <pc:sldMk cId="2505082723" sldId="2134804911"/>
            <ac:picMk id="1050" creationId="{667CB98F-22DC-9DA0-54FF-AF01135C4CC6}"/>
          </ac:picMkLst>
        </pc:picChg>
        <pc:picChg chg="add">
          <ac:chgData name="Saranya Sriram" userId="31246c95-b325-49bd-b9d7-da3f09848d21" providerId="ADAL" clId="{D5068DBE-EAAE-4312-BC48-8FE28F21FB1F}" dt="2022-09-21T00:19:12.345" v="137"/>
          <ac:picMkLst>
            <pc:docMk/>
            <pc:sldMk cId="2505082723" sldId="2134804911"/>
            <ac:picMk id="1051" creationId="{050A03E3-8477-77D0-913D-E93A5A82F27A}"/>
          </ac:picMkLst>
        </pc:picChg>
        <pc:picChg chg="add">
          <ac:chgData name="Saranya Sriram" userId="31246c95-b325-49bd-b9d7-da3f09848d21" providerId="ADAL" clId="{D5068DBE-EAAE-4312-BC48-8FE28F21FB1F}" dt="2022-09-21T00:19:12.345" v="137"/>
          <ac:picMkLst>
            <pc:docMk/>
            <pc:sldMk cId="2505082723" sldId="2134804911"/>
            <ac:picMk id="1052" creationId="{E5A0D885-9019-4B91-1CBD-9E367C51B843}"/>
          </ac:picMkLst>
        </pc:picChg>
        <pc:picChg chg="add">
          <ac:chgData name="Saranya Sriram" userId="31246c95-b325-49bd-b9d7-da3f09848d21" providerId="ADAL" clId="{D5068DBE-EAAE-4312-BC48-8FE28F21FB1F}" dt="2022-09-21T00:19:12.345" v="137"/>
          <ac:picMkLst>
            <pc:docMk/>
            <pc:sldMk cId="2505082723" sldId="2134804911"/>
            <ac:picMk id="1053" creationId="{2121CA23-0184-3534-76AF-DBD12AE93185}"/>
          </ac:picMkLst>
        </pc:picChg>
        <pc:picChg chg="add">
          <ac:chgData name="Saranya Sriram" userId="31246c95-b325-49bd-b9d7-da3f09848d21" providerId="ADAL" clId="{D5068DBE-EAAE-4312-BC48-8FE28F21FB1F}" dt="2022-09-21T00:19:12.345" v="137"/>
          <ac:picMkLst>
            <pc:docMk/>
            <pc:sldMk cId="2505082723" sldId="2134804911"/>
            <ac:picMk id="1054" creationId="{F0B1F51F-CA32-2776-725F-2EC94A5FCF23}"/>
          </ac:picMkLst>
        </pc:picChg>
        <pc:picChg chg="add">
          <ac:chgData name="Saranya Sriram" userId="31246c95-b325-49bd-b9d7-da3f09848d21" providerId="ADAL" clId="{D5068DBE-EAAE-4312-BC48-8FE28F21FB1F}" dt="2022-09-21T00:19:12.345" v="137"/>
          <ac:picMkLst>
            <pc:docMk/>
            <pc:sldMk cId="2505082723" sldId="2134804911"/>
            <ac:picMk id="1055" creationId="{E8CD8586-72FD-0443-7E59-D1B060284DA2}"/>
          </ac:picMkLst>
        </pc:picChg>
        <pc:picChg chg="add">
          <ac:chgData name="Saranya Sriram" userId="31246c95-b325-49bd-b9d7-da3f09848d21" providerId="ADAL" clId="{D5068DBE-EAAE-4312-BC48-8FE28F21FB1F}" dt="2022-09-21T00:19:12.345" v="137"/>
          <ac:picMkLst>
            <pc:docMk/>
            <pc:sldMk cId="2505082723" sldId="2134804911"/>
            <ac:picMk id="1056" creationId="{072535FD-2798-5529-2C3E-B75FC2311743}"/>
          </ac:picMkLst>
        </pc:picChg>
        <pc:picChg chg="add">
          <ac:chgData name="Saranya Sriram" userId="31246c95-b325-49bd-b9d7-da3f09848d21" providerId="ADAL" clId="{D5068DBE-EAAE-4312-BC48-8FE28F21FB1F}" dt="2022-09-21T00:19:12.345" v="137"/>
          <ac:picMkLst>
            <pc:docMk/>
            <pc:sldMk cId="2505082723" sldId="2134804911"/>
            <ac:picMk id="1057" creationId="{9EF9B868-8EA4-D134-2678-8DC53E0144C0}"/>
          </ac:picMkLst>
        </pc:picChg>
        <pc:picChg chg="add">
          <ac:chgData name="Saranya Sriram" userId="31246c95-b325-49bd-b9d7-da3f09848d21" providerId="ADAL" clId="{D5068DBE-EAAE-4312-BC48-8FE28F21FB1F}" dt="2022-09-21T00:19:12.345" v="137"/>
          <ac:picMkLst>
            <pc:docMk/>
            <pc:sldMk cId="2505082723" sldId="2134804911"/>
            <ac:picMk id="1058" creationId="{184ED2EB-710F-8EEE-A7D6-1AC38E9F43CA}"/>
          </ac:picMkLst>
        </pc:picChg>
        <pc:picChg chg="add">
          <ac:chgData name="Saranya Sriram" userId="31246c95-b325-49bd-b9d7-da3f09848d21" providerId="ADAL" clId="{D5068DBE-EAAE-4312-BC48-8FE28F21FB1F}" dt="2022-09-21T00:19:12.345" v="137"/>
          <ac:picMkLst>
            <pc:docMk/>
            <pc:sldMk cId="2505082723" sldId="2134804911"/>
            <ac:picMk id="1059" creationId="{EC9FE4B9-5487-4A5C-4415-D7AFB20464AB}"/>
          </ac:picMkLst>
        </pc:picChg>
        <pc:picChg chg="add">
          <ac:chgData name="Saranya Sriram" userId="31246c95-b325-49bd-b9d7-da3f09848d21" providerId="ADAL" clId="{D5068DBE-EAAE-4312-BC48-8FE28F21FB1F}" dt="2022-09-21T00:19:12.345" v="137"/>
          <ac:picMkLst>
            <pc:docMk/>
            <pc:sldMk cId="2505082723" sldId="2134804911"/>
            <ac:picMk id="1060" creationId="{117EB65E-DBE7-2FE7-FAE6-94369FC4341D}"/>
          </ac:picMkLst>
        </pc:picChg>
        <pc:picChg chg="add">
          <ac:chgData name="Saranya Sriram" userId="31246c95-b325-49bd-b9d7-da3f09848d21" providerId="ADAL" clId="{D5068DBE-EAAE-4312-BC48-8FE28F21FB1F}" dt="2022-09-21T00:19:12.345" v="137"/>
          <ac:picMkLst>
            <pc:docMk/>
            <pc:sldMk cId="2505082723" sldId="2134804911"/>
            <ac:picMk id="1061" creationId="{991D94A4-B69B-CEEB-A847-C84AD0C9BA5B}"/>
          </ac:picMkLst>
        </pc:picChg>
        <pc:picChg chg="add">
          <ac:chgData name="Saranya Sriram" userId="31246c95-b325-49bd-b9d7-da3f09848d21" providerId="ADAL" clId="{D5068DBE-EAAE-4312-BC48-8FE28F21FB1F}" dt="2022-09-21T00:19:12.345" v="137"/>
          <ac:picMkLst>
            <pc:docMk/>
            <pc:sldMk cId="2505082723" sldId="2134804911"/>
            <ac:picMk id="1062" creationId="{BECE9AB6-BB4F-129F-C167-DFF8DA010A3A}"/>
          </ac:picMkLst>
        </pc:picChg>
        <pc:picChg chg="add">
          <ac:chgData name="Saranya Sriram" userId="31246c95-b325-49bd-b9d7-da3f09848d21" providerId="ADAL" clId="{D5068DBE-EAAE-4312-BC48-8FE28F21FB1F}" dt="2022-09-21T00:19:12.345" v="137"/>
          <ac:picMkLst>
            <pc:docMk/>
            <pc:sldMk cId="2505082723" sldId="2134804911"/>
            <ac:picMk id="1063" creationId="{A674AA78-FC88-853F-ED81-D89A59E0C15B}"/>
          </ac:picMkLst>
        </pc:picChg>
        <pc:picChg chg="add">
          <ac:chgData name="Saranya Sriram" userId="31246c95-b325-49bd-b9d7-da3f09848d21" providerId="ADAL" clId="{D5068DBE-EAAE-4312-BC48-8FE28F21FB1F}" dt="2022-09-21T00:19:12.345" v="137"/>
          <ac:picMkLst>
            <pc:docMk/>
            <pc:sldMk cId="2505082723" sldId="2134804911"/>
            <ac:picMk id="1064" creationId="{1CC3E00E-9306-8C77-BD50-8504FAF627D0}"/>
          </ac:picMkLst>
        </pc:picChg>
        <pc:picChg chg="add">
          <ac:chgData name="Saranya Sriram" userId="31246c95-b325-49bd-b9d7-da3f09848d21" providerId="ADAL" clId="{D5068DBE-EAAE-4312-BC48-8FE28F21FB1F}" dt="2022-09-21T00:19:12.345" v="137"/>
          <ac:picMkLst>
            <pc:docMk/>
            <pc:sldMk cId="2505082723" sldId="2134804911"/>
            <ac:picMk id="1065" creationId="{B28455FA-D4A6-79A1-0206-81A8A3C36578}"/>
          </ac:picMkLst>
        </pc:picChg>
        <pc:picChg chg="add">
          <ac:chgData name="Saranya Sriram" userId="31246c95-b325-49bd-b9d7-da3f09848d21" providerId="ADAL" clId="{D5068DBE-EAAE-4312-BC48-8FE28F21FB1F}" dt="2022-09-21T00:19:12.345" v="137"/>
          <ac:picMkLst>
            <pc:docMk/>
            <pc:sldMk cId="2505082723" sldId="2134804911"/>
            <ac:picMk id="1066" creationId="{F74634BE-3A69-981A-FBE1-8E02EEDEAF2E}"/>
          </ac:picMkLst>
        </pc:picChg>
        <pc:picChg chg="add">
          <ac:chgData name="Saranya Sriram" userId="31246c95-b325-49bd-b9d7-da3f09848d21" providerId="ADAL" clId="{D5068DBE-EAAE-4312-BC48-8FE28F21FB1F}" dt="2022-09-21T00:19:12.345" v="137"/>
          <ac:picMkLst>
            <pc:docMk/>
            <pc:sldMk cId="2505082723" sldId="2134804911"/>
            <ac:picMk id="1067" creationId="{CEFC1088-4659-2D03-19A9-E076D37A4A26}"/>
          </ac:picMkLst>
        </pc:picChg>
      </pc:sldChg>
      <pc:sldChg chg="addSp delSp modSp new mod ord modClrScheme chgLayout">
        <pc:chgData name="Saranya Sriram" userId="31246c95-b325-49bd-b9d7-da3f09848d21" providerId="ADAL" clId="{D5068DBE-EAAE-4312-BC48-8FE28F21FB1F}" dt="2022-09-21T00:55:20.791" v="161"/>
        <pc:sldMkLst>
          <pc:docMk/>
          <pc:sldMk cId="2997377315" sldId="2134804911"/>
        </pc:sldMkLst>
        <pc:spChg chg="add del">
          <ac:chgData name="Saranya Sriram" userId="31246c95-b325-49bd-b9d7-da3f09848d21" providerId="ADAL" clId="{D5068DBE-EAAE-4312-BC48-8FE28F21FB1F}" dt="2022-09-21T00:20:18.837" v="143" actId="26606"/>
          <ac:spMkLst>
            <pc:docMk/>
            <pc:sldMk cId="2997377315" sldId="2134804911"/>
            <ac:spMk id="2" creationId="{7C69ED68-4DE3-56D8-5B5C-D6E3AD39647B}"/>
          </ac:spMkLst>
        </pc:spChg>
        <pc:spChg chg="add del">
          <ac:chgData name="Saranya Sriram" userId="31246c95-b325-49bd-b9d7-da3f09848d21" providerId="ADAL" clId="{D5068DBE-EAAE-4312-BC48-8FE28F21FB1F}" dt="2022-09-21T00:20:18.837" v="143" actId="26606"/>
          <ac:spMkLst>
            <pc:docMk/>
            <pc:sldMk cId="2997377315" sldId="2134804911"/>
            <ac:spMk id="3" creationId="{F6BA9DE9-3EBA-004D-DB40-28BB229C2B31}"/>
          </ac:spMkLst>
        </pc:spChg>
        <pc:spChg chg="add del mod">
          <ac:chgData name="Saranya Sriram" userId="31246c95-b325-49bd-b9d7-da3f09848d21" providerId="ADAL" clId="{D5068DBE-EAAE-4312-BC48-8FE28F21FB1F}" dt="2022-09-21T00:20:18.834" v="142" actId="26606"/>
          <ac:spMkLst>
            <pc:docMk/>
            <pc:sldMk cId="2997377315" sldId="2134804911"/>
            <ac:spMk id="10" creationId="{ABE8DED2-39DB-C0A6-934F-1CDA70778B0F}"/>
          </ac:spMkLst>
        </pc:spChg>
        <pc:spChg chg="add mod">
          <ac:chgData name="Saranya Sriram" userId="31246c95-b325-49bd-b9d7-da3f09848d21" providerId="ADAL" clId="{D5068DBE-EAAE-4312-BC48-8FE28F21FB1F}" dt="2022-09-21T00:20:38.775" v="147" actId="20577"/>
          <ac:spMkLst>
            <pc:docMk/>
            <pc:sldMk cId="2997377315" sldId="2134804911"/>
            <ac:spMk id="12" creationId="{57E1ADB3-0087-F912-B649-3CF342189AEF}"/>
          </ac:spMkLst>
        </pc:spChg>
        <pc:picChg chg="add mod">
          <ac:chgData name="Saranya Sriram" userId="31246c95-b325-49bd-b9d7-da3f09848d21" providerId="ADAL" clId="{D5068DBE-EAAE-4312-BC48-8FE28F21FB1F}" dt="2022-09-21T00:20:45.337" v="148" actId="14100"/>
          <ac:picMkLst>
            <pc:docMk/>
            <pc:sldMk cId="2997377315" sldId="2134804911"/>
            <ac:picMk id="5" creationId="{F45FE224-5C09-188B-6812-A9DE8FF9A478}"/>
          </ac:picMkLst>
        </pc:picChg>
      </pc:sldChg>
      <pc:sldChg chg="add del">
        <pc:chgData name="Saranya Sriram" userId="31246c95-b325-49bd-b9d7-da3f09848d21" providerId="ADAL" clId="{D5068DBE-EAAE-4312-BC48-8FE28F21FB1F}" dt="2022-09-21T02:24:14.086" v="1126" actId="47"/>
        <pc:sldMkLst>
          <pc:docMk/>
          <pc:sldMk cId="2050168453" sldId="2145705812"/>
        </pc:sldMkLst>
      </pc:sldChg>
      <pc:sldChg chg="add del">
        <pc:chgData name="Saranya Sriram" userId="31246c95-b325-49bd-b9d7-da3f09848d21" providerId="ADAL" clId="{D5068DBE-EAAE-4312-BC48-8FE28F21FB1F}" dt="2022-09-21T02:24:16.291" v="1127" actId="47"/>
        <pc:sldMkLst>
          <pc:docMk/>
          <pc:sldMk cId="1216594514" sldId="2145705813"/>
        </pc:sldMkLst>
      </pc:sldChg>
      <pc:sldChg chg="add del">
        <pc:chgData name="Saranya Sriram" userId="31246c95-b325-49bd-b9d7-da3f09848d21" providerId="ADAL" clId="{D5068DBE-EAAE-4312-BC48-8FE28F21FB1F}" dt="2022-09-21T02:23:52.673" v="1123" actId="47"/>
        <pc:sldMkLst>
          <pc:docMk/>
          <pc:sldMk cId="3742767649" sldId="2147468060"/>
        </pc:sldMkLst>
      </pc:sldChg>
      <pc:sldChg chg="add del">
        <pc:chgData name="Saranya Sriram" userId="31246c95-b325-49bd-b9d7-da3f09848d21" providerId="ADAL" clId="{D5068DBE-EAAE-4312-BC48-8FE28F21FB1F}" dt="2022-09-21T02:11:29.517" v="835" actId="47"/>
        <pc:sldMkLst>
          <pc:docMk/>
          <pc:sldMk cId="3793260807" sldId="2147468229"/>
        </pc:sldMkLst>
      </pc:sldChg>
      <pc:sldChg chg="add del setBg">
        <pc:chgData name="Saranya Sriram" userId="31246c95-b325-49bd-b9d7-da3f09848d21" providerId="ADAL" clId="{D5068DBE-EAAE-4312-BC48-8FE28F21FB1F}" dt="2022-09-21T00:22:04.895" v="152" actId="47"/>
        <pc:sldMkLst>
          <pc:docMk/>
          <pc:sldMk cId="1313187813" sldId="2147471606"/>
        </pc:sldMkLst>
      </pc:sldChg>
      <pc:sldChg chg="add ord">
        <pc:chgData name="Saranya Sriram" userId="31246c95-b325-49bd-b9d7-da3f09848d21" providerId="ADAL" clId="{D5068DBE-EAAE-4312-BC48-8FE28F21FB1F}" dt="2022-09-21T02:42:45.692" v="1534"/>
        <pc:sldMkLst>
          <pc:docMk/>
          <pc:sldMk cId="2841862376" sldId="2147471607"/>
        </pc:sldMkLst>
      </pc:sldChg>
      <pc:sldChg chg="add del setBg">
        <pc:chgData name="Saranya Sriram" userId="31246c95-b325-49bd-b9d7-da3f09848d21" providerId="ADAL" clId="{D5068DBE-EAAE-4312-BC48-8FE28F21FB1F}" dt="2022-09-21T01:34:15.915" v="383"/>
        <pc:sldMkLst>
          <pc:docMk/>
          <pc:sldMk cId="127550747" sldId="2147471608"/>
        </pc:sldMkLst>
      </pc:sldChg>
      <pc:sldChg chg="modSp add mod">
        <pc:chgData name="Saranya Sriram" userId="31246c95-b325-49bd-b9d7-da3f09848d21" providerId="ADAL" clId="{D5068DBE-EAAE-4312-BC48-8FE28F21FB1F}" dt="2022-09-21T01:37:05.827" v="441" actId="20577"/>
        <pc:sldMkLst>
          <pc:docMk/>
          <pc:sldMk cId="902710992" sldId="2147471608"/>
        </pc:sldMkLst>
        <pc:spChg chg="mod">
          <ac:chgData name="Saranya Sriram" userId="31246c95-b325-49bd-b9d7-da3f09848d21" providerId="ADAL" clId="{D5068DBE-EAAE-4312-BC48-8FE28F21FB1F}" dt="2022-09-21T01:37:05.827" v="441" actId="20577"/>
          <ac:spMkLst>
            <pc:docMk/>
            <pc:sldMk cId="902710992" sldId="2147471608"/>
            <ac:spMk id="10" creationId="{46338273-659B-4BE6-8CB2-D880A35AB60D}"/>
          </ac:spMkLst>
        </pc:spChg>
      </pc:sldChg>
      <pc:sldChg chg="add del setBg">
        <pc:chgData name="Saranya Sriram" userId="31246c95-b325-49bd-b9d7-da3f09848d21" providerId="ADAL" clId="{D5068DBE-EAAE-4312-BC48-8FE28F21FB1F}" dt="2022-09-21T01:36:50.721" v="415"/>
        <pc:sldMkLst>
          <pc:docMk/>
          <pc:sldMk cId="2510359808" sldId="2147471608"/>
        </pc:sldMkLst>
      </pc:sldChg>
      <pc:sldChg chg="modSp add del mod">
        <pc:chgData name="Saranya Sriram" userId="31246c95-b325-49bd-b9d7-da3f09848d21" providerId="ADAL" clId="{D5068DBE-EAAE-4312-BC48-8FE28F21FB1F}" dt="2022-09-21T01:36:41.794" v="402" actId="2696"/>
        <pc:sldMkLst>
          <pc:docMk/>
          <pc:sldMk cId="3179124977" sldId="2147471608"/>
        </pc:sldMkLst>
        <pc:spChg chg="mod">
          <ac:chgData name="Saranya Sriram" userId="31246c95-b325-49bd-b9d7-da3f09848d21" providerId="ADAL" clId="{D5068DBE-EAAE-4312-BC48-8FE28F21FB1F}" dt="2022-09-21T01:34:21.389" v="396" actId="20577"/>
          <ac:spMkLst>
            <pc:docMk/>
            <pc:sldMk cId="3179124977" sldId="2147471608"/>
            <ac:spMk id="10" creationId="{46338273-659B-4BE6-8CB2-D880A35AB60D}"/>
          </ac:spMkLst>
        </pc:spChg>
      </pc:sldChg>
      <pc:sldChg chg="add del">
        <pc:chgData name="Saranya Sriram" userId="31246c95-b325-49bd-b9d7-da3f09848d21" providerId="ADAL" clId="{D5068DBE-EAAE-4312-BC48-8FE28F21FB1F}" dt="2022-09-21T01:36:41.794" v="402" actId="2696"/>
        <pc:sldMkLst>
          <pc:docMk/>
          <pc:sldMk cId="3061126106" sldId="2147471609"/>
        </pc:sldMkLst>
      </pc:sldChg>
      <pc:sldChg chg="modSp add del mod">
        <pc:chgData name="Saranya Sriram" userId="31246c95-b325-49bd-b9d7-da3f09848d21" providerId="ADAL" clId="{D5068DBE-EAAE-4312-BC48-8FE28F21FB1F}" dt="2022-09-21T01:36:50.721" v="415"/>
        <pc:sldMkLst>
          <pc:docMk/>
          <pc:sldMk cId="3307477772" sldId="2147471609"/>
        </pc:sldMkLst>
        <pc:spChg chg="mod">
          <ac:chgData name="Saranya Sriram" userId="31246c95-b325-49bd-b9d7-da3f09848d21" providerId="ADAL" clId="{D5068DBE-EAAE-4312-BC48-8FE28F21FB1F}" dt="2022-09-21T01:36:50.721" v="415"/>
          <ac:spMkLst>
            <pc:docMk/>
            <pc:sldMk cId="3307477772" sldId="2147471609"/>
            <ac:spMk id="3" creationId="{C1410678-2C9E-4726-B2AE-49A8E82B0EFA}"/>
          </ac:spMkLst>
        </pc:spChg>
      </pc:sldChg>
      <pc:sldChg chg="add">
        <pc:chgData name="Saranya Sriram" userId="31246c95-b325-49bd-b9d7-da3f09848d21" providerId="ADAL" clId="{D5068DBE-EAAE-4312-BC48-8FE28F21FB1F}" dt="2022-09-21T01:36:50.816" v="416"/>
        <pc:sldMkLst>
          <pc:docMk/>
          <pc:sldMk cId="3852738146" sldId="2147471609"/>
        </pc:sldMkLst>
      </pc:sldChg>
      <pc:sldChg chg="add">
        <pc:chgData name="Saranya Sriram" userId="31246c95-b325-49bd-b9d7-da3f09848d21" providerId="ADAL" clId="{D5068DBE-EAAE-4312-BC48-8FE28F21FB1F}" dt="2022-09-21T01:36:50.816" v="416"/>
        <pc:sldMkLst>
          <pc:docMk/>
          <pc:sldMk cId="1569317953" sldId="2147471610"/>
        </pc:sldMkLst>
      </pc:sldChg>
      <pc:sldChg chg="modSp add del mod">
        <pc:chgData name="Saranya Sriram" userId="31246c95-b325-49bd-b9d7-da3f09848d21" providerId="ADAL" clId="{D5068DBE-EAAE-4312-BC48-8FE28F21FB1F}" dt="2022-09-21T01:36:50.721" v="415"/>
        <pc:sldMkLst>
          <pc:docMk/>
          <pc:sldMk cId="2874617737" sldId="2147471610"/>
        </pc:sldMkLst>
        <pc:spChg chg="mod">
          <ac:chgData name="Saranya Sriram" userId="31246c95-b325-49bd-b9d7-da3f09848d21" providerId="ADAL" clId="{D5068DBE-EAAE-4312-BC48-8FE28F21FB1F}" dt="2022-09-21T01:36:50.721" v="415"/>
          <ac:spMkLst>
            <pc:docMk/>
            <pc:sldMk cId="2874617737" sldId="2147471610"/>
            <ac:spMk id="3" creationId="{C1410678-2C9E-4726-B2AE-49A8E82B0EFA}"/>
          </ac:spMkLst>
        </pc:spChg>
      </pc:sldChg>
      <pc:sldChg chg="add del">
        <pc:chgData name="Saranya Sriram" userId="31246c95-b325-49bd-b9d7-da3f09848d21" providerId="ADAL" clId="{D5068DBE-EAAE-4312-BC48-8FE28F21FB1F}" dt="2022-09-21T01:36:41.794" v="402" actId="2696"/>
        <pc:sldMkLst>
          <pc:docMk/>
          <pc:sldMk cId="3122355032" sldId="2147471610"/>
        </pc:sldMkLst>
      </pc:sldChg>
      <pc:sldChg chg="add del">
        <pc:chgData name="Saranya Sriram" userId="31246c95-b325-49bd-b9d7-da3f09848d21" providerId="ADAL" clId="{D5068DBE-EAAE-4312-BC48-8FE28F21FB1F}" dt="2022-09-21T01:36:41.794" v="402" actId="2696"/>
        <pc:sldMkLst>
          <pc:docMk/>
          <pc:sldMk cId="207483893" sldId="2147471611"/>
        </pc:sldMkLst>
      </pc:sldChg>
      <pc:sldChg chg="add">
        <pc:chgData name="Saranya Sriram" userId="31246c95-b325-49bd-b9d7-da3f09848d21" providerId="ADAL" clId="{D5068DBE-EAAE-4312-BC48-8FE28F21FB1F}" dt="2022-09-21T01:36:50.816" v="416"/>
        <pc:sldMkLst>
          <pc:docMk/>
          <pc:sldMk cId="2899566001" sldId="2147471611"/>
        </pc:sldMkLst>
      </pc:sldChg>
      <pc:sldChg chg="modSp add del mod">
        <pc:chgData name="Saranya Sriram" userId="31246c95-b325-49bd-b9d7-da3f09848d21" providerId="ADAL" clId="{D5068DBE-EAAE-4312-BC48-8FE28F21FB1F}" dt="2022-09-21T01:36:50.721" v="415"/>
        <pc:sldMkLst>
          <pc:docMk/>
          <pc:sldMk cId="3286695354" sldId="2147471611"/>
        </pc:sldMkLst>
        <pc:spChg chg="mod">
          <ac:chgData name="Saranya Sriram" userId="31246c95-b325-49bd-b9d7-da3f09848d21" providerId="ADAL" clId="{D5068DBE-EAAE-4312-BC48-8FE28F21FB1F}" dt="2022-09-21T01:36:50.721" v="415"/>
          <ac:spMkLst>
            <pc:docMk/>
            <pc:sldMk cId="3286695354" sldId="2147471611"/>
            <ac:spMk id="2" creationId="{C4F5301A-B80E-4450-BA4E-23128C77541E}"/>
          </ac:spMkLst>
        </pc:spChg>
      </pc:sldChg>
      <pc:sldChg chg="modSp add del mod">
        <pc:chgData name="Saranya Sriram" userId="31246c95-b325-49bd-b9d7-da3f09848d21" providerId="ADAL" clId="{D5068DBE-EAAE-4312-BC48-8FE28F21FB1F}" dt="2022-09-21T01:36:50.721" v="415"/>
        <pc:sldMkLst>
          <pc:docMk/>
          <pc:sldMk cId="854077087" sldId="2147471612"/>
        </pc:sldMkLst>
        <pc:spChg chg="mod">
          <ac:chgData name="Saranya Sriram" userId="31246c95-b325-49bd-b9d7-da3f09848d21" providerId="ADAL" clId="{D5068DBE-EAAE-4312-BC48-8FE28F21FB1F}" dt="2022-09-21T01:36:50.721" v="415"/>
          <ac:spMkLst>
            <pc:docMk/>
            <pc:sldMk cId="854077087" sldId="2147471612"/>
            <ac:spMk id="4" creationId="{1210869C-EAF3-41A5-BB55-3364A889C18A}"/>
          </ac:spMkLst>
        </pc:spChg>
      </pc:sldChg>
      <pc:sldChg chg="modSp add del mod">
        <pc:chgData name="Saranya Sriram" userId="31246c95-b325-49bd-b9d7-da3f09848d21" providerId="ADAL" clId="{D5068DBE-EAAE-4312-BC48-8FE28F21FB1F}" dt="2022-09-21T01:36:41.794" v="402" actId="2696"/>
        <pc:sldMkLst>
          <pc:docMk/>
          <pc:sldMk cId="4181392799" sldId="2147471612"/>
        </pc:sldMkLst>
        <pc:spChg chg="mod">
          <ac:chgData name="Saranya Sriram" userId="31246c95-b325-49bd-b9d7-da3f09848d21" providerId="ADAL" clId="{D5068DBE-EAAE-4312-BC48-8FE28F21FB1F}" dt="2022-09-21T01:35:28.609" v="401" actId="1076"/>
          <ac:spMkLst>
            <pc:docMk/>
            <pc:sldMk cId="4181392799" sldId="2147471612"/>
            <ac:spMk id="5" creationId="{475BB747-8DD2-4842-81BB-D867188267A9}"/>
          </ac:spMkLst>
        </pc:spChg>
      </pc:sldChg>
      <pc:sldChg chg="add">
        <pc:chgData name="Saranya Sriram" userId="31246c95-b325-49bd-b9d7-da3f09848d21" providerId="ADAL" clId="{D5068DBE-EAAE-4312-BC48-8FE28F21FB1F}" dt="2022-09-21T01:36:50.816" v="416"/>
        <pc:sldMkLst>
          <pc:docMk/>
          <pc:sldMk cId="4272462110" sldId="2147471612"/>
        </pc:sldMkLst>
      </pc:sldChg>
      <pc:sldChg chg="modSp add del mod">
        <pc:chgData name="Saranya Sriram" userId="31246c95-b325-49bd-b9d7-da3f09848d21" providerId="ADAL" clId="{D5068DBE-EAAE-4312-BC48-8FE28F21FB1F}" dt="2022-09-21T01:36:50.721" v="415"/>
        <pc:sldMkLst>
          <pc:docMk/>
          <pc:sldMk cId="2332557700" sldId="2147471613"/>
        </pc:sldMkLst>
        <pc:spChg chg="mod">
          <ac:chgData name="Saranya Sriram" userId="31246c95-b325-49bd-b9d7-da3f09848d21" providerId="ADAL" clId="{D5068DBE-EAAE-4312-BC48-8FE28F21FB1F}" dt="2022-09-21T01:36:50.721" v="415"/>
          <ac:spMkLst>
            <pc:docMk/>
            <pc:sldMk cId="2332557700" sldId="2147471613"/>
            <ac:spMk id="4" creationId="{1210869C-EAF3-41A5-BB55-3364A889C18A}"/>
          </ac:spMkLst>
        </pc:spChg>
      </pc:sldChg>
      <pc:sldChg chg="add">
        <pc:chgData name="Saranya Sriram" userId="31246c95-b325-49bd-b9d7-da3f09848d21" providerId="ADAL" clId="{D5068DBE-EAAE-4312-BC48-8FE28F21FB1F}" dt="2022-09-21T01:36:50.816" v="416"/>
        <pc:sldMkLst>
          <pc:docMk/>
          <pc:sldMk cId="2540964754" sldId="2147471613"/>
        </pc:sldMkLst>
      </pc:sldChg>
      <pc:sldChg chg="add del">
        <pc:chgData name="Saranya Sriram" userId="31246c95-b325-49bd-b9d7-da3f09848d21" providerId="ADAL" clId="{D5068DBE-EAAE-4312-BC48-8FE28F21FB1F}" dt="2022-09-21T01:36:41.794" v="402" actId="2696"/>
        <pc:sldMkLst>
          <pc:docMk/>
          <pc:sldMk cId="3504579050" sldId="2147471613"/>
        </pc:sldMkLst>
      </pc:sldChg>
      <pc:sldChg chg="modSp add del mod">
        <pc:chgData name="Saranya Sriram" userId="31246c95-b325-49bd-b9d7-da3f09848d21" providerId="ADAL" clId="{D5068DBE-EAAE-4312-BC48-8FE28F21FB1F}" dt="2022-09-21T01:36:50.721" v="415"/>
        <pc:sldMkLst>
          <pc:docMk/>
          <pc:sldMk cId="900522301" sldId="2147471614"/>
        </pc:sldMkLst>
        <pc:spChg chg="mod">
          <ac:chgData name="Saranya Sriram" userId="31246c95-b325-49bd-b9d7-da3f09848d21" providerId="ADAL" clId="{D5068DBE-EAAE-4312-BC48-8FE28F21FB1F}" dt="2022-09-21T01:36:50.721" v="415"/>
          <ac:spMkLst>
            <pc:docMk/>
            <pc:sldMk cId="900522301" sldId="2147471614"/>
            <ac:spMk id="2" creationId="{E36F44B0-691F-4AC3-844D-213EEDFCB55A}"/>
          </ac:spMkLst>
        </pc:spChg>
      </pc:sldChg>
      <pc:sldChg chg="add">
        <pc:chgData name="Saranya Sriram" userId="31246c95-b325-49bd-b9d7-da3f09848d21" providerId="ADAL" clId="{D5068DBE-EAAE-4312-BC48-8FE28F21FB1F}" dt="2022-09-21T01:36:50.816" v="416"/>
        <pc:sldMkLst>
          <pc:docMk/>
          <pc:sldMk cId="1791381318" sldId="2147471614"/>
        </pc:sldMkLst>
      </pc:sldChg>
      <pc:sldChg chg="add del">
        <pc:chgData name="Saranya Sriram" userId="31246c95-b325-49bd-b9d7-da3f09848d21" providerId="ADAL" clId="{D5068DBE-EAAE-4312-BC48-8FE28F21FB1F}" dt="2022-09-21T01:36:41.794" v="402" actId="2696"/>
        <pc:sldMkLst>
          <pc:docMk/>
          <pc:sldMk cId="2846617050" sldId="2147471614"/>
        </pc:sldMkLst>
      </pc:sldChg>
      <pc:sldChg chg="modSp add del mod">
        <pc:chgData name="Saranya Sriram" userId="31246c95-b325-49bd-b9d7-da3f09848d21" providerId="ADAL" clId="{D5068DBE-EAAE-4312-BC48-8FE28F21FB1F}" dt="2022-09-21T01:36:50.721" v="415"/>
        <pc:sldMkLst>
          <pc:docMk/>
          <pc:sldMk cId="543318379" sldId="2147471615"/>
        </pc:sldMkLst>
        <pc:spChg chg="mod">
          <ac:chgData name="Saranya Sriram" userId="31246c95-b325-49bd-b9d7-da3f09848d21" providerId="ADAL" clId="{D5068DBE-EAAE-4312-BC48-8FE28F21FB1F}" dt="2022-09-21T01:36:50.721" v="415"/>
          <ac:spMkLst>
            <pc:docMk/>
            <pc:sldMk cId="543318379" sldId="2147471615"/>
            <ac:spMk id="2" creationId="{E36F44B0-691F-4AC3-844D-213EEDFCB55A}"/>
          </ac:spMkLst>
        </pc:spChg>
      </pc:sldChg>
      <pc:sldChg chg="add">
        <pc:chgData name="Saranya Sriram" userId="31246c95-b325-49bd-b9d7-da3f09848d21" providerId="ADAL" clId="{D5068DBE-EAAE-4312-BC48-8FE28F21FB1F}" dt="2022-09-21T01:36:50.816" v="416"/>
        <pc:sldMkLst>
          <pc:docMk/>
          <pc:sldMk cId="2112426804" sldId="2147471615"/>
        </pc:sldMkLst>
      </pc:sldChg>
      <pc:sldChg chg="add del">
        <pc:chgData name="Saranya Sriram" userId="31246c95-b325-49bd-b9d7-da3f09848d21" providerId="ADAL" clId="{D5068DBE-EAAE-4312-BC48-8FE28F21FB1F}" dt="2022-09-21T01:36:41.794" v="402" actId="2696"/>
        <pc:sldMkLst>
          <pc:docMk/>
          <pc:sldMk cId="2438981485" sldId="2147471615"/>
        </pc:sldMkLst>
      </pc:sldChg>
      <pc:sldChg chg="add">
        <pc:chgData name="Saranya Sriram" userId="31246c95-b325-49bd-b9d7-da3f09848d21" providerId="ADAL" clId="{D5068DBE-EAAE-4312-BC48-8FE28F21FB1F}" dt="2022-09-21T01:36:50.816" v="416"/>
        <pc:sldMkLst>
          <pc:docMk/>
          <pc:sldMk cId="183061475" sldId="2147471616"/>
        </pc:sldMkLst>
      </pc:sldChg>
      <pc:sldChg chg="add del">
        <pc:chgData name="Saranya Sriram" userId="31246c95-b325-49bd-b9d7-da3f09848d21" providerId="ADAL" clId="{D5068DBE-EAAE-4312-BC48-8FE28F21FB1F}" dt="2022-09-21T01:36:41.794" v="402" actId="2696"/>
        <pc:sldMkLst>
          <pc:docMk/>
          <pc:sldMk cId="2689027194" sldId="2147471616"/>
        </pc:sldMkLst>
      </pc:sldChg>
      <pc:sldChg chg="modSp add del mod">
        <pc:chgData name="Saranya Sriram" userId="31246c95-b325-49bd-b9d7-da3f09848d21" providerId="ADAL" clId="{D5068DBE-EAAE-4312-BC48-8FE28F21FB1F}" dt="2022-09-21T01:36:50.721" v="415"/>
        <pc:sldMkLst>
          <pc:docMk/>
          <pc:sldMk cId="4057207026" sldId="2147471616"/>
        </pc:sldMkLst>
        <pc:spChg chg="mod">
          <ac:chgData name="Saranya Sriram" userId="31246c95-b325-49bd-b9d7-da3f09848d21" providerId="ADAL" clId="{D5068DBE-EAAE-4312-BC48-8FE28F21FB1F}" dt="2022-09-21T01:36:50.721" v="415"/>
          <ac:spMkLst>
            <pc:docMk/>
            <pc:sldMk cId="4057207026" sldId="2147471616"/>
            <ac:spMk id="2" creationId="{E36F44B0-691F-4AC3-844D-213EEDFCB55A}"/>
          </ac:spMkLst>
        </pc:spChg>
      </pc:sldChg>
      <pc:sldChg chg="modSp add del mod">
        <pc:chgData name="Saranya Sriram" userId="31246c95-b325-49bd-b9d7-da3f09848d21" providerId="ADAL" clId="{D5068DBE-EAAE-4312-BC48-8FE28F21FB1F}" dt="2022-09-21T01:36:50.721" v="415"/>
        <pc:sldMkLst>
          <pc:docMk/>
          <pc:sldMk cId="971004297" sldId="2147471617"/>
        </pc:sldMkLst>
        <pc:spChg chg="mod">
          <ac:chgData name="Saranya Sriram" userId="31246c95-b325-49bd-b9d7-da3f09848d21" providerId="ADAL" clId="{D5068DBE-EAAE-4312-BC48-8FE28F21FB1F}" dt="2022-09-21T01:36:50.721" v="415"/>
          <ac:spMkLst>
            <pc:docMk/>
            <pc:sldMk cId="971004297" sldId="2147471617"/>
            <ac:spMk id="2" creationId="{15435567-220B-427E-8D95-D268887C206C}"/>
          </ac:spMkLst>
        </pc:spChg>
        <pc:spChg chg="mod">
          <ac:chgData name="Saranya Sriram" userId="31246c95-b325-49bd-b9d7-da3f09848d21" providerId="ADAL" clId="{D5068DBE-EAAE-4312-BC48-8FE28F21FB1F}" dt="2022-09-21T01:36:50.721" v="415"/>
          <ac:spMkLst>
            <pc:docMk/>
            <pc:sldMk cId="971004297" sldId="2147471617"/>
            <ac:spMk id="6" creationId="{AC5763B3-5F84-4053-8847-A6DF36E24034}"/>
          </ac:spMkLst>
        </pc:spChg>
      </pc:sldChg>
      <pc:sldChg chg="add">
        <pc:chgData name="Saranya Sriram" userId="31246c95-b325-49bd-b9d7-da3f09848d21" providerId="ADAL" clId="{D5068DBE-EAAE-4312-BC48-8FE28F21FB1F}" dt="2022-09-21T01:36:50.816" v="416"/>
        <pc:sldMkLst>
          <pc:docMk/>
          <pc:sldMk cId="1857398706" sldId="2147471617"/>
        </pc:sldMkLst>
      </pc:sldChg>
      <pc:sldChg chg="add del">
        <pc:chgData name="Saranya Sriram" userId="31246c95-b325-49bd-b9d7-da3f09848d21" providerId="ADAL" clId="{D5068DBE-EAAE-4312-BC48-8FE28F21FB1F}" dt="2022-09-21T01:36:41.794" v="402" actId="2696"/>
        <pc:sldMkLst>
          <pc:docMk/>
          <pc:sldMk cId="2443567909" sldId="2147471617"/>
        </pc:sldMkLst>
      </pc:sldChg>
      <pc:sldChg chg="new del">
        <pc:chgData name="Saranya Sriram" userId="31246c95-b325-49bd-b9d7-da3f09848d21" providerId="ADAL" clId="{D5068DBE-EAAE-4312-BC48-8FE28F21FB1F}" dt="2022-09-21T01:48:21.265" v="443" actId="47"/>
        <pc:sldMkLst>
          <pc:docMk/>
          <pc:sldMk cId="1500484185" sldId="2147471618"/>
        </pc:sldMkLst>
      </pc:sldChg>
      <pc:sldChg chg="delSp modSp new mod ord">
        <pc:chgData name="Saranya Sriram" userId="31246c95-b325-49bd-b9d7-da3f09848d21" providerId="ADAL" clId="{D5068DBE-EAAE-4312-BC48-8FE28F21FB1F}" dt="2022-09-21T01:51:54.148" v="695" actId="403"/>
        <pc:sldMkLst>
          <pc:docMk/>
          <pc:sldMk cId="3886200383" sldId="2147471618"/>
        </pc:sldMkLst>
        <pc:spChg chg="mod">
          <ac:chgData name="Saranya Sriram" userId="31246c95-b325-49bd-b9d7-da3f09848d21" providerId="ADAL" clId="{D5068DBE-EAAE-4312-BC48-8FE28F21FB1F}" dt="2022-09-21T01:50:01.859" v="601" actId="20577"/>
          <ac:spMkLst>
            <pc:docMk/>
            <pc:sldMk cId="3886200383" sldId="2147471618"/>
            <ac:spMk id="2" creationId="{E9166506-B205-6A4D-163F-0AF1847794F1}"/>
          </ac:spMkLst>
        </pc:spChg>
        <pc:spChg chg="mod">
          <ac:chgData name="Saranya Sriram" userId="31246c95-b325-49bd-b9d7-da3f09848d21" providerId="ADAL" clId="{D5068DBE-EAAE-4312-BC48-8FE28F21FB1F}" dt="2022-09-21T01:51:54.148" v="695" actId="403"/>
          <ac:spMkLst>
            <pc:docMk/>
            <pc:sldMk cId="3886200383" sldId="2147471618"/>
            <ac:spMk id="3" creationId="{3EB86E02-C9F1-4BAE-2868-0410CA3C7208}"/>
          </ac:spMkLst>
        </pc:spChg>
        <pc:spChg chg="del">
          <ac:chgData name="Saranya Sriram" userId="31246c95-b325-49bd-b9d7-da3f09848d21" providerId="ADAL" clId="{D5068DBE-EAAE-4312-BC48-8FE28F21FB1F}" dt="2022-09-21T01:48:29.623" v="447" actId="478"/>
          <ac:spMkLst>
            <pc:docMk/>
            <pc:sldMk cId="3886200383" sldId="2147471618"/>
            <ac:spMk id="4" creationId="{183859DE-FA6A-57A8-1955-61C231985BE3}"/>
          </ac:spMkLst>
        </pc:spChg>
      </pc:sldChg>
      <pc:sldChg chg="addSp delSp modSp new mod">
        <pc:chgData name="Saranya Sriram" userId="31246c95-b325-49bd-b9d7-da3f09848d21" providerId="ADAL" clId="{D5068DBE-EAAE-4312-BC48-8FE28F21FB1F}" dt="2022-09-21T01:54:44.878" v="714" actId="14100"/>
        <pc:sldMkLst>
          <pc:docMk/>
          <pc:sldMk cId="1481362113" sldId="2147471619"/>
        </pc:sldMkLst>
        <pc:spChg chg="mod">
          <ac:chgData name="Saranya Sriram" userId="31246c95-b325-49bd-b9d7-da3f09848d21" providerId="ADAL" clId="{D5068DBE-EAAE-4312-BC48-8FE28F21FB1F}" dt="2022-09-21T01:54:34.663" v="711" actId="1076"/>
          <ac:spMkLst>
            <pc:docMk/>
            <pc:sldMk cId="1481362113" sldId="2147471619"/>
            <ac:spMk id="2" creationId="{82B89614-816A-2B94-7F0B-81F6502AF838}"/>
          </ac:spMkLst>
        </pc:spChg>
        <pc:spChg chg="del">
          <ac:chgData name="Saranya Sriram" userId="31246c95-b325-49bd-b9d7-da3f09848d21" providerId="ADAL" clId="{D5068DBE-EAAE-4312-BC48-8FE28F21FB1F}" dt="2022-09-21T01:52:23.370" v="698" actId="478"/>
          <ac:spMkLst>
            <pc:docMk/>
            <pc:sldMk cId="1481362113" sldId="2147471619"/>
            <ac:spMk id="3" creationId="{959EE940-B656-EADB-A9E5-24BCC404FAA2}"/>
          </ac:spMkLst>
        </pc:spChg>
        <pc:spChg chg="del">
          <ac:chgData name="Saranya Sriram" userId="31246c95-b325-49bd-b9d7-da3f09848d21" providerId="ADAL" clId="{D5068DBE-EAAE-4312-BC48-8FE28F21FB1F}" dt="2022-09-21T01:52:28.471" v="700" actId="478"/>
          <ac:spMkLst>
            <pc:docMk/>
            <pc:sldMk cId="1481362113" sldId="2147471619"/>
            <ac:spMk id="4" creationId="{6380D4E5-9649-198B-A5CD-3380B6CFAEA1}"/>
          </ac:spMkLst>
        </pc:spChg>
        <pc:spChg chg="add mod">
          <ac:chgData name="Saranya Sriram" userId="31246c95-b325-49bd-b9d7-da3f09848d21" providerId="ADAL" clId="{D5068DBE-EAAE-4312-BC48-8FE28F21FB1F}" dt="2022-09-21T01:54:37.348" v="712" actId="1076"/>
          <ac:spMkLst>
            <pc:docMk/>
            <pc:sldMk cId="1481362113" sldId="2147471619"/>
            <ac:spMk id="6" creationId="{76E84A24-D18A-DF77-BCBE-3BB54D4BF3A5}"/>
          </ac:spMkLst>
        </pc:spChg>
        <pc:picChg chg="add mod">
          <ac:chgData name="Saranya Sriram" userId="31246c95-b325-49bd-b9d7-da3f09848d21" providerId="ADAL" clId="{D5068DBE-EAAE-4312-BC48-8FE28F21FB1F}" dt="2022-09-21T01:54:44.878" v="714" actId="14100"/>
          <ac:picMkLst>
            <pc:docMk/>
            <pc:sldMk cId="1481362113" sldId="2147471619"/>
            <ac:picMk id="7" creationId="{B00BC913-0E57-EFCB-4418-F027A2A54466}"/>
          </ac:picMkLst>
        </pc:picChg>
      </pc:sldChg>
      <pc:sldChg chg="addSp modSp add mod">
        <pc:chgData name="Saranya Sriram" userId="31246c95-b325-49bd-b9d7-da3f09848d21" providerId="ADAL" clId="{D5068DBE-EAAE-4312-BC48-8FE28F21FB1F}" dt="2022-09-21T02:07:37.486" v="832" actId="1076"/>
        <pc:sldMkLst>
          <pc:docMk/>
          <pc:sldMk cId="3364357032" sldId="2147471620"/>
        </pc:sldMkLst>
        <pc:spChg chg="mod">
          <ac:chgData name="Saranya Sriram" userId="31246c95-b325-49bd-b9d7-da3f09848d21" providerId="ADAL" clId="{D5068DBE-EAAE-4312-BC48-8FE28F21FB1F}" dt="2022-09-21T01:55:05.419" v="725" actId="20577"/>
          <ac:spMkLst>
            <pc:docMk/>
            <pc:sldMk cId="3364357032" sldId="2147471620"/>
            <ac:spMk id="2" creationId="{E9166506-B205-6A4D-163F-0AF1847794F1}"/>
          </ac:spMkLst>
        </pc:spChg>
        <pc:spChg chg="mod">
          <ac:chgData name="Saranya Sriram" userId="31246c95-b325-49bd-b9d7-da3f09848d21" providerId="ADAL" clId="{D5068DBE-EAAE-4312-BC48-8FE28F21FB1F}" dt="2022-09-21T02:06:47.348" v="752" actId="14100"/>
          <ac:spMkLst>
            <pc:docMk/>
            <pc:sldMk cId="3364357032" sldId="2147471620"/>
            <ac:spMk id="3" creationId="{3EB86E02-C9F1-4BAE-2868-0410CA3C7208}"/>
          </ac:spMkLst>
        </pc:spChg>
        <pc:spChg chg="add mod">
          <ac:chgData name="Saranya Sriram" userId="31246c95-b325-49bd-b9d7-da3f09848d21" providerId="ADAL" clId="{D5068DBE-EAAE-4312-BC48-8FE28F21FB1F}" dt="2022-09-21T02:07:37.486" v="832" actId="1076"/>
          <ac:spMkLst>
            <pc:docMk/>
            <pc:sldMk cId="3364357032" sldId="2147471620"/>
            <ac:spMk id="4" creationId="{3E7E4729-8379-40D2-D5E4-342F7B8A79D0}"/>
          </ac:spMkLst>
        </pc:spChg>
        <pc:picChg chg="add mod">
          <ac:chgData name="Saranya Sriram" userId="31246c95-b325-49bd-b9d7-da3f09848d21" providerId="ADAL" clId="{D5068DBE-EAAE-4312-BC48-8FE28F21FB1F}" dt="2022-09-21T02:05:14.781" v="739" actId="1076"/>
          <ac:picMkLst>
            <pc:docMk/>
            <pc:sldMk cId="3364357032" sldId="2147471620"/>
            <ac:picMk id="2050" creationId="{FCC46068-02CB-333A-F39D-10761050AB8B}"/>
          </ac:picMkLst>
        </pc:picChg>
      </pc:sldChg>
      <pc:sldChg chg="modSp add mod">
        <pc:chgData name="Saranya Sriram" userId="31246c95-b325-49bd-b9d7-da3f09848d21" providerId="ADAL" clId="{D5068DBE-EAAE-4312-BC48-8FE28F21FB1F}" dt="2022-09-21T02:11:56.635" v="861" actId="20577"/>
        <pc:sldMkLst>
          <pc:docMk/>
          <pc:sldMk cId="2481228483" sldId="2147471621"/>
        </pc:sldMkLst>
        <pc:spChg chg="mod">
          <ac:chgData name="Saranya Sriram" userId="31246c95-b325-49bd-b9d7-da3f09848d21" providerId="ADAL" clId="{D5068DBE-EAAE-4312-BC48-8FE28F21FB1F}" dt="2022-09-21T02:11:56.635" v="861" actId="20577"/>
          <ac:spMkLst>
            <pc:docMk/>
            <pc:sldMk cId="2481228483" sldId="2147471621"/>
            <ac:spMk id="2" creationId="{F2548E30-09F7-4138-9AC8-1DC9720C87D2}"/>
          </ac:spMkLst>
        </pc:spChg>
        <pc:spChg chg="mod">
          <ac:chgData name="Saranya Sriram" userId="31246c95-b325-49bd-b9d7-da3f09848d21" providerId="ADAL" clId="{D5068DBE-EAAE-4312-BC48-8FE28F21FB1F}" dt="2022-09-21T02:11:37.340" v="836" actId="6549"/>
          <ac:spMkLst>
            <pc:docMk/>
            <pc:sldMk cId="2481228483" sldId="2147471621"/>
            <ac:spMk id="5" creationId="{EC1E2B5F-E556-487E-BC60-413711BC767C}"/>
          </ac:spMkLst>
        </pc:spChg>
      </pc:sldChg>
      <pc:sldChg chg="modSp add mod">
        <pc:chgData name="Saranya Sriram" userId="31246c95-b325-49bd-b9d7-da3f09848d21" providerId="ADAL" clId="{D5068DBE-EAAE-4312-BC48-8FE28F21FB1F}" dt="2022-09-21T02:14:19.232" v="1024" actId="20577"/>
        <pc:sldMkLst>
          <pc:docMk/>
          <pc:sldMk cId="759507732" sldId="2147471622"/>
        </pc:sldMkLst>
        <pc:spChg chg="mod">
          <ac:chgData name="Saranya Sriram" userId="31246c95-b325-49bd-b9d7-da3f09848d21" providerId="ADAL" clId="{D5068DBE-EAAE-4312-BC48-8FE28F21FB1F}" dt="2022-09-21T02:14:19.232" v="1024" actId="20577"/>
          <ac:spMkLst>
            <pc:docMk/>
            <pc:sldMk cId="759507732" sldId="2147471622"/>
            <ac:spMk id="10" creationId="{46338273-659B-4BE6-8CB2-D880A35AB60D}"/>
          </ac:spMkLst>
        </pc:spChg>
      </pc:sldChg>
      <pc:sldChg chg="add del setBg">
        <pc:chgData name="Saranya Sriram" userId="31246c95-b325-49bd-b9d7-da3f09848d21" providerId="ADAL" clId="{D5068DBE-EAAE-4312-BC48-8FE28F21FB1F}" dt="2022-09-21T02:14:10.611" v="990"/>
        <pc:sldMkLst>
          <pc:docMk/>
          <pc:sldMk cId="1216231715" sldId="2147471622"/>
        </pc:sldMkLst>
      </pc:sldChg>
      <pc:sldChg chg="add del setBg">
        <pc:chgData name="Saranya Sriram" userId="31246c95-b325-49bd-b9d7-da3f09848d21" providerId="ADAL" clId="{D5068DBE-EAAE-4312-BC48-8FE28F21FB1F}" dt="2022-09-21T02:14:36.997" v="1026"/>
        <pc:sldMkLst>
          <pc:docMk/>
          <pc:sldMk cId="720787227" sldId="2147471623"/>
        </pc:sldMkLst>
      </pc:sldChg>
      <pc:sldChg chg="modSp add mod">
        <pc:chgData name="Saranya Sriram" userId="31246c95-b325-49bd-b9d7-da3f09848d21" providerId="ADAL" clId="{D5068DBE-EAAE-4312-BC48-8FE28F21FB1F}" dt="2022-09-21T02:14:49.421" v="1071" actId="20577"/>
        <pc:sldMkLst>
          <pc:docMk/>
          <pc:sldMk cId="1245984481" sldId="2147471623"/>
        </pc:sldMkLst>
        <pc:spChg chg="mod">
          <ac:chgData name="Saranya Sriram" userId="31246c95-b325-49bd-b9d7-da3f09848d21" providerId="ADAL" clId="{D5068DBE-EAAE-4312-BC48-8FE28F21FB1F}" dt="2022-09-21T02:14:49.421" v="1071" actId="20577"/>
          <ac:spMkLst>
            <pc:docMk/>
            <pc:sldMk cId="1245984481" sldId="2147471623"/>
            <ac:spMk id="10" creationId="{46338273-659B-4BE6-8CB2-D880A35AB60D}"/>
          </ac:spMkLst>
        </pc:spChg>
      </pc:sldChg>
      <pc:sldChg chg="modSp add del mod setBg">
        <pc:chgData name="Saranya Sriram" userId="31246c95-b325-49bd-b9d7-da3f09848d21" providerId="ADAL" clId="{D5068DBE-EAAE-4312-BC48-8FE28F21FB1F}" dt="2022-09-21T02:15:25.483" v="1076"/>
        <pc:sldMkLst>
          <pc:docMk/>
          <pc:sldMk cId="2996309631" sldId="2147471624"/>
        </pc:sldMkLst>
        <pc:spChg chg="mod">
          <ac:chgData name="Saranya Sriram" userId="31246c95-b325-49bd-b9d7-da3f09848d21" providerId="ADAL" clId="{D5068DBE-EAAE-4312-BC48-8FE28F21FB1F}" dt="2022-09-21T02:15:25.483" v="1076"/>
          <ac:spMkLst>
            <pc:docMk/>
            <pc:sldMk cId="2996309631" sldId="2147471624"/>
            <ac:spMk id="10" creationId="{46338273-659B-4BE6-8CB2-D880A35AB60D}"/>
          </ac:spMkLst>
        </pc:spChg>
      </pc:sldChg>
      <pc:sldChg chg="modSp add mod">
        <pc:chgData name="Saranya Sriram" userId="31246c95-b325-49bd-b9d7-da3f09848d21" providerId="ADAL" clId="{D5068DBE-EAAE-4312-BC48-8FE28F21FB1F}" dt="2022-09-21T02:15:57.521" v="1086" actId="6549"/>
        <pc:sldMkLst>
          <pc:docMk/>
          <pc:sldMk cId="3932390780" sldId="2147471624"/>
        </pc:sldMkLst>
        <pc:spChg chg="mod">
          <ac:chgData name="Saranya Sriram" userId="31246c95-b325-49bd-b9d7-da3f09848d21" providerId="ADAL" clId="{D5068DBE-EAAE-4312-BC48-8FE28F21FB1F}" dt="2022-09-21T02:15:57.521" v="1086" actId="6549"/>
          <ac:spMkLst>
            <pc:docMk/>
            <pc:sldMk cId="3932390780" sldId="2147471624"/>
            <ac:spMk id="10" creationId="{46338273-659B-4BE6-8CB2-D880A35AB60D}"/>
          </ac:spMkLst>
        </pc:spChg>
      </pc:sldChg>
      <pc:sldChg chg="addSp modSp add mod ord">
        <pc:chgData name="Saranya Sriram" userId="31246c95-b325-49bd-b9d7-da3f09848d21" providerId="ADAL" clId="{D5068DBE-EAAE-4312-BC48-8FE28F21FB1F}" dt="2022-09-21T02:42:08.959" v="1532" actId="313"/>
        <pc:sldMkLst>
          <pc:docMk/>
          <pc:sldMk cId="2407292317" sldId="2147471625"/>
        </pc:sldMkLst>
        <pc:spChg chg="mod">
          <ac:chgData name="Saranya Sriram" userId="31246c95-b325-49bd-b9d7-da3f09848d21" providerId="ADAL" clId="{D5068DBE-EAAE-4312-BC48-8FE28F21FB1F}" dt="2022-09-21T02:23:40.640" v="1122" actId="1076"/>
          <ac:spMkLst>
            <pc:docMk/>
            <pc:sldMk cId="2407292317" sldId="2147471625"/>
            <ac:spMk id="3" creationId="{C1190C89-5CE3-455D-87EC-34E33F7EC1D1}"/>
          </ac:spMkLst>
        </pc:spChg>
        <pc:spChg chg="mod">
          <ac:chgData name="Saranya Sriram" userId="31246c95-b325-49bd-b9d7-da3f09848d21" providerId="ADAL" clId="{D5068DBE-EAAE-4312-BC48-8FE28F21FB1F}" dt="2022-09-21T02:42:08.959" v="1532" actId="313"/>
          <ac:spMkLst>
            <pc:docMk/>
            <pc:sldMk cId="2407292317" sldId="2147471625"/>
            <ac:spMk id="11" creationId="{388E6904-3223-49FD-B4DE-BE00A9B48921}"/>
          </ac:spMkLst>
        </pc:spChg>
        <pc:spChg chg="add mod">
          <ac:chgData name="Saranya Sriram" userId="31246c95-b325-49bd-b9d7-da3f09848d21" providerId="ADAL" clId="{D5068DBE-EAAE-4312-BC48-8FE28F21FB1F}" dt="2022-09-21T02:26:35.094" v="1323" actId="113"/>
          <ac:spMkLst>
            <pc:docMk/>
            <pc:sldMk cId="2407292317" sldId="2147471625"/>
            <ac:spMk id="12" creationId="{C3B3238F-2933-4DE9-7009-4D14CAFA2388}"/>
          </ac:spMkLst>
        </pc:spChg>
        <pc:spChg chg="mod">
          <ac:chgData name="Saranya Sriram" userId="31246c95-b325-49bd-b9d7-da3f09848d21" providerId="ADAL" clId="{D5068DBE-EAAE-4312-BC48-8FE28F21FB1F}" dt="2022-09-21T02:25:22.877" v="1264" actId="20577"/>
          <ac:spMkLst>
            <pc:docMk/>
            <pc:sldMk cId="2407292317" sldId="2147471625"/>
            <ac:spMk id="51" creationId="{A8C89E66-4080-48CB-812E-EE99B7FF5671}"/>
          </ac:spMkLst>
        </pc:spChg>
        <pc:spChg chg="mod">
          <ac:chgData name="Saranya Sriram" userId="31246c95-b325-49bd-b9d7-da3f09848d21" providerId="ADAL" clId="{D5068DBE-EAAE-4312-BC48-8FE28F21FB1F}" dt="2022-09-21T02:26:16.050" v="1302" actId="20577"/>
          <ac:spMkLst>
            <pc:docMk/>
            <pc:sldMk cId="2407292317" sldId="2147471625"/>
            <ac:spMk id="56" creationId="{706FB2F6-2CC1-4D37-9895-04AF1808598E}"/>
          </ac:spMkLst>
        </pc:spChg>
      </pc:sldChg>
      <pc:sldMasterChg chg="delSldLayout">
        <pc:chgData name="Saranya Sriram" userId="31246c95-b325-49bd-b9d7-da3f09848d21" providerId="ADAL" clId="{D5068DBE-EAAE-4312-BC48-8FE28F21FB1F}" dt="2022-09-21T01:35:09.489" v="400" actId="47"/>
        <pc:sldMasterMkLst>
          <pc:docMk/>
          <pc:sldMasterMk cId="2545682526" sldId="2147483714"/>
        </pc:sldMasterMkLst>
        <pc:sldLayoutChg chg="del">
          <pc:chgData name="Saranya Sriram" userId="31246c95-b325-49bd-b9d7-da3f09848d21" providerId="ADAL" clId="{D5068DBE-EAAE-4312-BC48-8FE28F21FB1F}" dt="2022-09-21T01:35:09.489" v="400" actId="47"/>
          <pc:sldLayoutMkLst>
            <pc:docMk/>
            <pc:sldMasterMk cId="2545682526" sldId="2147483714"/>
            <pc:sldLayoutMk cId="2725536293" sldId="2147484631"/>
          </pc:sldLayoutMkLst>
        </pc:sldLayoutChg>
        <pc:sldLayoutChg chg="del">
          <pc:chgData name="Saranya Sriram" userId="31246c95-b325-49bd-b9d7-da3f09848d21" providerId="ADAL" clId="{D5068DBE-EAAE-4312-BC48-8FE28F21FB1F}" dt="2022-09-21T01:35:09.489" v="400" actId="47"/>
          <pc:sldLayoutMkLst>
            <pc:docMk/>
            <pc:sldMasterMk cId="2545682526" sldId="2147483714"/>
            <pc:sldLayoutMk cId="4042042284" sldId="2147484632"/>
          </pc:sldLayoutMkLst>
        </pc:sldLayoutChg>
        <pc:sldLayoutChg chg="del">
          <pc:chgData name="Saranya Sriram" userId="31246c95-b325-49bd-b9d7-da3f09848d21" providerId="ADAL" clId="{D5068DBE-EAAE-4312-BC48-8FE28F21FB1F}" dt="2022-09-21T01:35:09.489" v="400" actId="47"/>
          <pc:sldLayoutMkLst>
            <pc:docMk/>
            <pc:sldMasterMk cId="2545682526" sldId="2147483714"/>
            <pc:sldLayoutMk cId="1617266215" sldId="2147484633"/>
          </pc:sldLayoutMkLst>
        </pc:sldLayoutChg>
        <pc:sldLayoutChg chg="del">
          <pc:chgData name="Saranya Sriram" userId="31246c95-b325-49bd-b9d7-da3f09848d21" providerId="ADAL" clId="{D5068DBE-EAAE-4312-BC48-8FE28F21FB1F}" dt="2022-09-21T01:35:09.489" v="400" actId="47"/>
          <pc:sldLayoutMkLst>
            <pc:docMk/>
            <pc:sldMasterMk cId="2545682526" sldId="2147483714"/>
            <pc:sldLayoutMk cId="3974949573" sldId="2147484634"/>
          </pc:sldLayoutMkLst>
        </pc:sldLayoutChg>
        <pc:sldLayoutChg chg="del">
          <pc:chgData name="Saranya Sriram" userId="31246c95-b325-49bd-b9d7-da3f09848d21" providerId="ADAL" clId="{D5068DBE-EAAE-4312-BC48-8FE28F21FB1F}" dt="2022-09-21T01:35:09.489" v="400" actId="47"/>
          <pc:sldLayoutMkLst>
            <pc:docMk/>
            <pc:sldMasterMk cId="2545682526" sldId="2147483714"/>
            <pc:sldLayoutMk cId="3397987598" sldId="2147484635"/>
          </pc:sldLayoutMkLst>
        </pc:sldLayoutChg>
      </pc:sldMasterChg>
      <pc:sldMasterChg chg="del delSldLayout">
        <pc:chgData name="Saranya Sriram" userId="31246c95-b325-49bd-b9d7-da3f09848d21" providerId="ADAL" clId="{D5068DBE-EAAE-4312-BC48-8FE28F21FB1F}" dt="2022-09-21T00:16:33.632" v="135" actId="47"/>
        <pc:sldMasterMkLst>
          <pc:docMk/>
          <pc:sldMasterMk cId="2140282926" sldId="2147484064"/>
        </pc:sldMasterMkLst>
        <pc:sldLayoutChg chg="del">
          <pc:chgData name="Saranya Sriram" userId="31246c95-b325-49bd-b9d7-da3f09848d21" providerId="ADAL" clId="{D5068DBE-EAAE-4312-BC48-8FE28F21FB1F}" dt="2022-09-21T00:16:33.632" v="135" actId="47"/>
          <pc:sldLayoutMkLst>
            <pc:docMk/>
            <pc:sldMasterMk cId="2140282926" sldId="2147484064"/>
            <pc:sldLayoutMk cId="1681236733" sldId="2147484065"/>
          </pc:sldLayoutMkLst>
        </pc:sldLayoutChg>
        <pc:sldLayoutChg chg="del">
          <pc:chgData name="Saranya Sriram" userId="31246c95-b325-49bd-b9d7-da3f09848d21" providerId="ADAL" clId="{D5068DBE-EAAE-4312-BC48-8FE28F21FB1F}" dt="2022-09-21T00:16:33.632" v="135" actId="47"/>
          <pc:sldLayoutMkLst>
            <pc:docMk/>
            <pc:sldMasterMk cId="2140282926" sldId="2147484064"/>
            <pc:sldLayoutMk cId="39638793" sldId="2147484066"/>
          </pc:sldLayoutMkLst>
        </pc:sldLayoutChg>
        <pc:sldLayoutChg chg="del">
          <pc:chgData name="Saranya Sriram" userId="31246c95-b325-49bd-b9d7-da3f09848d21" providerId="ADAL" clId="{D5068DBE-EAAE-4312-BC48-8FE28F21FB1F}" dt="2022-09-21T00:16:33.632" v="135" actId="47"/>
          <pc:sldLayoutMkLst>
            <pc:docMk/>
            <pc:sldMasterMk cId="2140282926" sldId="2147484064"/>
            <pc:sldLayoutMk cId="2571225457" sldId="2147484067"/>
          </pc:sldLayoutMkLst>
        </pc:sldLayoutChg>
        <pc:sldLayoutChg chg="del">
          <pc:chgData name="Saranya Sriram" userId="31246c95-b325-49bd-b9d7-da3f09848d21" providerId="ADAL" clId="{D5068DBE-EAAE-4312-BC48-8FE28F21FB1F}" dt="2022-09-21T00:16:33.632" v="135" actId="47"/>
          <pc:sldLayoutMkLst>
            <pc:docMk/>
            <pc:sldMasterMk cId="2140282926" sldId="2147484064"/>
            <pc:sldLayoutMk cId="2687701895" sldId="2147484068"/>
          </pc:sldLayoutMkLst>
        </pc:sldLayoutChg>
        <pc:sldLayoutChg chg="del">
          <pc:chgData name="Saranya Sriram" userId="31246c95-b325-49bd-b9d7-da3f09848d21" providerId="ADAL" clId="{D5068DBE-EAAE-4312-BC48-8FE28F21FB1F}" dt="2022-09-21T00:16:33.632" v="135" actId="47"/>
          <pc:sldLayoutMkLst>
            <pc:docMk/>
            <pc:sldMasterMk cId="2140282926" sldId="2147484064"/>
            <pc:sldLayoutMk cId="1770937949" sldId="2147484069"/>
          </pc:sldLayoutMkLst>
        </pc:sldLayoutChg>
        <pc:sldLayoutChg chg="del">
          <pc:chgData name="Saranya Sriram" userId="31246c95-b325-49bd-b9d7-da3f09848d21" providerId="ADAL" clId="{D5068DBE-EAAE-4312-BC48-8FE28F21FB1F}" dt="2022-09-21T00:16:33.632" v="135" actId="47"/>
          <pc:sldLayoutMkLst>
            <pc:docMk/>
            <pc:sldMasterMk cId="2140282926" sldId="2147484064"/>
            <pc:sldLayoutMk cId="966776837" sldId="2147484070"/>
          </pc:sldLayoutMkLst>
        </pc:sldLayoutChg>
        <pc:sldLayoutChg chg="del">
          <pc:chgData name="Saranya Sriram" userId="31246c95-b325-49bd-b9d7-da3f09848d21" providerId="ADAL" clId="{D5068DBE-EAAE-4312-BC48-8FE28F21FB1F}" dt="2022-09-21T00:16:33.632" v="135" actId="47"/>
          <pc:sldLayoutMkLst>
            <pc:docMk/>
            <pc:sldMasterMk cId="2140282926" sldId="2147484064"/>
            <pc:sldLayoutMk cId="2704325829" sldId="2147484071"/>
          </pc:sldLayoutMkLst>
        </pc:sldLayoutChg>
        <pc:sldLayoutChg chg="del">
          <pc:chgData name="Saranya Sriram" userId="31246c95-b325-49bd-b9d7-da3f09848d21" providerId="ADAL" clId="{D5068DBE-EAAE-4312-BC48-8FE28F21FB1F}" dt="2022-09-21T00:16:33.632" v="135" actId="47"/>
          <pc:sldLayoutMkLst>
            <pc:docMk/>
            <pc:sldMasterMk cId="2140282926" sldId="2147484064"/>
            <pc:sldLayoutMk cId="466140933" sldId="2147484072"/>
          </pc:sldLayoutMkLst>
        </pc:sldLayoutChg>
        <pc:sldLayoutChg chg="del">
          <pc:chgData name="Saranya Sriram" userId="31246c95-b325-49bd-b9d7-da3f09848d21" providerId="ADAL" clId="{D5068DBE-EAAE-4312-BC48-8FE28F21FB1F}" dt="2022-09-21T00:16:33.632" v="135" actId="47"/>
          <pc:sldLayoutMkLst>
            <pc:docMk/>
            <pc:sldMasterMk cId="2140282926" sldId="2147484064"/>
            <pc:sldLayoutMk cId="2566133335" sldId="2147484073"/>
          </pc:sldLayoutMkLst>
        </pc:sldLayoutChg>
        <pc:sldLayoutChg chg="del">
          <pc:chgData name="Saranya Sriram" userId="31246c95-b325-49bd-b9d7-da3f09848d21" providerId="ADAL" clId="{D5068DBE-EAAE-4312-BC48-8FE28F21FB1F}" dt="2022-09-21T00:16:33.632" v="135" actId="47"/>
          <pc:sldLayoutMkLst>
            <pc:docMk/>
            <pc:sldMasterMk cId="2140282926" sldId="2147484064"/>
            <pc:sldLayoutMk cId="3998675930" sldId="2147484074"/>
          </pc:sldLayoutMkLst>
        </pc:sldLayoutChg>
        <pc:sldLayoutChg chg="del">
          <pc:chgData name="Saranya Sriram" userId="31246c95-b325-49bd-b9d7-da3f09848d21" providerId="ADAL" clId="{D5068DBE-EAAE-4312-BC48-8FE28F21FB1F}" dt="2022-09-21T00:16:33.632" v="135" actId="47"/>
          <pc:sldLayoutMkLst>
            <pc:docMk/>
            <pc:sldMasterMk cId="2140282926" sldId="2147484064"/>
            <pc:sldLayoutMk cId="2511514200" sldId="2147484075"/>
          </pc:sldLayoutMkLst>
        </pc:sldLayoutChg>
        <pc:sldLayoutChg chg="del">
          <pc:chgData name="Saranya Sriram" userId="31246c95-b325-49bd-b9d7-da3f09848d21" providerId="ADAL" clId="{D5068DBE-EAAE-4312-BC48-8FE28F21FB1F}" dt="2022-09-21T00:16:33.632" v="135" actId="47"/>
          <pc:sldLayoutMkLst>
            <pc:docMk/>
            <pc:sldMasterMk cId="2140282926" sldId="2147484064"/>
            <pc:sldLayoutMk cId="3496090454" sldId="2147484076"/>
          </pc:sldLayoutMkLst>
        </pc:sldLayoutChg>
      </pc:sldMasterChg>
      <pc:sldMasterChg chg="delSldLayout">
        <pc:chgData name="Saranya Sriram" userId="31246c95-b325-49bd-b9d7-da3f09848d21" providerId="ADAL" clId="{D5068DBE-EAAE-4312-BC48-8FE28F21FB1F}" dt="2022-09-21T02:11:29.517" v="835" actId="47"/>
        <pc:sldMasterMkLst>
          <pc:docMk/>
          <pc:sldMasterMk cId="2481627507" sldId="2147484502"/>
        </pc:sldMasterMkLst>
        <pc:sldLayoutChg chg="del">
          <pc:chgData name="Saranya Sriram" userId="31246c95-b325-49bd-b9d7-da3f09848d21" providerId="ADAL" clId="{D5068DBE-EAAE-4312-BC48-8FE28F21FB1F}" dt="2022-09-21T02:11:29.517" v="835" actId="47"/>
          <pc:sldLayoutMkLst>
            <pc:docMk/>
            <pc:sldMasterMk cId="2481627507" sldId="2147484502"/>
            <pc:sldLayoutMk cId="95348397" sldId="2147484631"/>
          </pc:sldLayoutMkLst>
        </pc:sldLayoutChg>
      </pc:sldMasterChg>
      <pc:sldMasterChg chg="del delSldLayout">
        <pc:chgData name="Saranya Sriram" userId="31246c95-b325-49bd-b9d7-da3f09848d21" providerId="ADAL" clId="{D5068DBE-EAAE-4312-BC48-8FE28F21FB1F}" dt="2022-09-21T02:23:52.673" v="1123" actId="47"/>
        <pc:sldMasterMkLst>
          <pc:docMk/>
          <pc:sldMasterMk cId="3005827635" sldId="2147484664"/>
        </pc:sldMasterMkLst>
        <pc:sldLayoutChg chg="del">
          <pc:chgData name="Saranya Sriram" userId="31246c95-b325-49bd-b9d7-da3f09848d21" providerId="ADAL" clId="{D5068DBE-EAAE-4312-BC48-8FE28F21FB1F}" dt="2022-09-21T02:23:52.673" v="1123" actId="47"/>
          <pc:sldLayoutMkLst>
            <pc:docMk/>
            <pc:sldMasterMk cId="3005827635" sldId="2147484664"/>
            <pc:sldLayoutMk cId="577735390" sldId="2147484665"/>
          </pc:sldLayoutMkLst>
        </pc:sldLayoutChg>
        <pc:sldLayoutChg chg="del">
          <pc:chgData name="Saranya Sriram" userId="31246c95-b325-49bd-b9d7-da3f09848d21" providerId="ADAL" clId="{D5068DBE-EAAE-4312-BC48-8FE28F21FB1F}" dt="2022-09-21T02:23:52.673" v="1123" actId="47"/>
          <pc:sldLayoutMkLst>
            <pc:docMk/>
            <pc:sldMasterMk cId="3005827635" sldId="2147484664"/>
            <pc:sldLayoutMk cId="2573261668" sldId="2147484666"/>
          </pc:sldLayoutMkLst>
        </pc:sldLayoutChg>
        <pc:sldLayoutChg chg="del">
          <pc:chgData name="Saranya Sriram" userId="31246c95-b325-49bd-b9d7-da3f09848d21" providerId="ADAL" clId="{D5068DBE-EAAE-4312-BC48-8FE28F21FB1F}" dt="2022-09-21T02:23:52.673" v="1123" actId="47"/>
          <pc:sldLayoutMkLst>
            <pc:docMk/>
            <pc:sldMasterMk cId="3005827635" sldId="2147484664"/>
            <pc:sldLayoutMk cId="2222860085" sldId="2147484667"/>
          </pc:sldLayoutMkLst>
        </pc:sldLayoutChg>
        <pc:sldLayoutChg chg="del">
          <pc:chgData name="Saranya Sriram" userId="31246c95-b325-49bd-b9d7-da3f09848d21" providerId="ADAL" clId="{D5068DBE-EAAE-4312-BC48-8FE28F21FB1F}" dt="2022-09-21T02:23:52.673" v="1123" actId="47"/>
          <pc:sldLayoutMkLst>
            <pc:docMk/>
            <pc:sldMasterMk cId="3005827635" sldId="2147484664"/>
            <pc:sldLayoutMk cId="912996238" sldId="2147484668"/>
          </pc:sldLayoutMkLst>
        </pc:sldLayoutChg>
        <pc:sldLayoutChg chg="del">
          <pc:chgData name="Saranya Sriram" userId="31246c95-b325-49bd-b9d7-da3f09848d21" providerId="ADAL" clId="{D5068DBE-EAAE-4312-BC48-8FE28F21FB1F}" dt="2022-09-21T02:23:52.673" v="1123" actId="47"/>
          <pc:sldLayoutMkLst>
            <pc:docMk/>
            <pc:sldMasterMk cId="3005827635" sldId="2147484664"/>
            <pc:sldLayoutMk cId="3939167005" sldId="2147484669"/>
          </pc:sldLayoutMkLst>
        </pc:sldLayoutChg>
        <pc:sldLayoutChg chg="del">
          <pc:chgData name="Saranya Sriram" userId="31246c95-b325-49bd-b9d7-da3f09848d21" providerId="ADAL" clId="{D5068DBE-EAAE-4312-BC48-8FE28F21FB1F}" dt="2022-09-21T02:23:52.673" v="1123" actId="47"/>
          <pc:sldLayoutMkLst>
            <pc:docMk/>
            <pc:sldMasterMk cId="3005827635" sldId="2147484664"/>
            <pc:sldLayoutMk cId="2527267897" sldId="2147484670"/>
          </pc:sldLayoutMkLst>
        </pc:sldLayoutChg>
        <pc:sldLayoutChg chg="del">
          <pc:chgData name="Saranya Sriram" userId="31246c95-b325-49bd-b9d7-da3f09848d21" providerId="ADAL" clId="{D5068DBE-EAAE-4312-BC48-8FE28F21FB1F}" dt="2022-09-21T02:23:52.673" v="1123" actId="47"/>
          <pc:sldLayoutMkLst>
            <pc:docMk/>
            <pc:sldMasterMk cId="3005827635" sldId="2147484664"/>
            <pc:sldLayoutMk cId="317598783" sldId="2147484671"/>
          </pc:sldLayoutMkLst>
        </pc:sldLayoutChg>
        <pc:sldLayoutChg chg="del">
          <pc:chgData name="Saranya Sriram" userId="31246c95-b325-49bd-b9d7-da3f09848d21" providerId="ADAL" clId="{D5068DBE-EAAE-4312-BC48-8FE28F21FB1F}" dt="2022-09-21T02:23:52.673" v="1123" actId="47"/>
          <pc:sldLayoutMkLst>
            <pc:docMk/>
            <pc:sldMasterMk cId="3005827635" sldId="2147484664"/>
            <pc:sldLayoutMk cId="1771243056" sldId="2147484672"/>
          </pc:sldLayoutMkLst>
        </pc:sldLayoutChg>
        <pc:sldLayoutChg chg="del">
          <pc:chgData name="Saranya Sriram" userId="31246c95-b325-49bd-b9d7-da3f09848d21" providerId="ADAL" clId="{D5068DBE-EAAE-4312-BC48-8FE28F21FB1F}" dt="2022-09-21T02:23:52.673" v="1123" actId="47"/>
          <pc:sldLayoutMkLst>
            <pc:docMk/>
            <pc:sldMasterMk cId="3005827635" sldId="2147484664"/>
            <pc:sldLayoutMk cId="3309965079" sldId="2147484673"/>
          </pc:sldLayoutMkLst>
        </pc:sldLayoutChg>
        <pc:sldLayoutChg chg="del">
          <pc:chgData name="Saranya Sriram" userId="31246c95-b325-49bd-b9d7-da3f09848d21" providerId="ADAL" clId="{D5068DBE-EAAE-4312-BC48-8FE28F21FB1F}" dt="2022-09-21T02:23:52.673" v="1123" actId="47"/>
          <pc:sldLayoutMkLst>
            <pc:docMk/>
            <pc:sldMasterMk cId="3005827635" sldId="2147484664"/>
            <pc:sldLayoutMk cId="1869842123" sldId="2147484674"/>
          </pc:sldLayoutMkLst>
        </pc:sldLayoutChg>
      </pc:sldMasterChg>
    </pc:docChg>
  </pc:docChgLst>
  <pc:docChgLst>
    <pc:chgData name="Saranya Sriram" userId="31246c95-b325-49bd-b9d7-da3f09848d21" providerId="ADAL" clId="{6D164026-2A6F-42B1-B4B0-669E29E3E2BE}"/>
    <pc:docChg chg="undo custSel modSld sldOrd">
      <pc:chgData name="Saranya Sriram" userId="31246c95-b325-49bd-b9d7-da3f09848d21" providerId="ADAL" clId="{6D164026-2A6F-42B1-B4B0-669E29E3E2BE}" dt="2021-12-07T04:30:48.680" v="74" actId="20577"/>
      <pc:docMkLst>
        <pc:docMk/>
      </pc:docMkLst>
      <pc:sldChg chg="delSp modSp mod">
        <pc:chgData name="Saranya Sriram" userId="31246c95-b325-49bd-b9d7-da3f09848d21" providerId="ADAL" clId="{6D164026-2A6F-42B1-B4B0-669E29E3E2BE}" dt="2021-12-07T04:30:48.680" v="74" actId="20577"/>
        <pc:sldMkLst>
          <pc:docMk/>
          <pc:sldMk cId="3854447715" sldId="257"/>
        </pc:sldMkLst>
        <pc:spChg chg="mod">
          <ac:chgData name="Saranya Sriram" userId="31246c95-b325-49bd-b9d7-da3f09848d21" providerId="ADAL" clId="{6D164026-2A6F-42B1-B4B0-669E29E3E2BE}" dt="2021-12-07T04:30:48.680" v="74" actId="20577"/>
          <ac:spMkLst>
            <pc:docMk/>
            <pc:sldMk cId="3854447715" sldId="257"/>
            <ac:spMk id="7" creationId="{6881F07D-971D-494E-9BD7-4F0F619BBC47}"/>
          </ac:spMkLst>
        </pc:spChg>
        <pc:spChg chg="mod">
          <ac:chgData name="Saranya Sriram" userId="31246c95-b325-49bd-b9d7-da3f09848d21" providerId="ADAL" clId="{6D164026-2A6F-42B1-B4B0-669E29E3E2BE}" dt="2021-12-07T03:26:37.212" v="31" actId="6549"/>
          <ac:spMkLst>
            <pc:docMk/>
            <pc:sldMk cId="3854447715" sldId="257"/>
            <ac:spMk id="9" creationId="{C24E5013-8F15-4062-93AF-41127B14B78F}"/>
          </ac:spMkLst>
        </pc:spChg>
        <pc:spChg chg="del">
          <ac:chgData name="Saranya Sriram" userId="31246c95-b325-49bd-b9d7-da3f09848d21" providerId="ADAL" clId="{6D164026-2A6F-42B1-B4B0-669E29E3E2BE}" dt="2021-12-07T03:26:41.311" v="32" actId="478"/>
          <ac:spMkLst>
            <pc:docMk/>
            <pc:sldMk cId="3854447715" sldId="257"/>
            <ac:spMk id="13" creationId="{26D02FE3-3958-4E1F-9749-97597F35EAE1}"/>
          </ac:spMkLst>
        </pc:spChg>
        <pc:spChg chg="mod">
          <ac:chgData name="Saranya Sriram" userId="31246c95-b325-49bd-b9d7-da3f09848d21" providerId="ADAL" clId="{6D164026-2A6F-42B1-B4B0-669E29E3E2BE}" dt="2021-12-07T03:27:00.431" v="58" actId="20577"/>
          <ac:spMkLst>
            <pc:docMk/>
            <pc:sldMk cId="3854447715" sldId="257"/>
            <ac:spMk id="15" creationId="{015F3C26-CC2D-4BAE-AC71-517DA6532AA9}"/>
          </ac:spMkLst>
        </pc:spChg>
      </pc:sldChg>
      <pc:sldChg chg="ord">
        <pc:chgData name="Saranya Sriram" userId="31246c95-b325-49bd-b9d7-da3f09848d21" providerId="ADAL" clId="{6D164026-2A6F-42B1-B4B0-669E29E3E2BE}" dt="2021-12-07T03:27:13.490" v="62"/>
        <pc:sldMkLst>
          <pc:docMk/>
          <pc:sldMk cId="4076938399" sldId="266"/>
        </pc:sldMkLst>
      </pc:sldChg>
      <pc:sldChg chg="ord">
        <pc:chgData name="Saranya Sriram" userId="31246c95-b325-49bd-b9d7-da3f09848d21" providerId="ADAL" clId="{6D164026-2A6F-42B1-B4B0-669E29E3E2BE}" dt="2021-12-07T03:27:15.277" v="64"/>
        <pc:sldMkLst>
          <pc:docMk/>
          <pc:sldMk cId="1493913159" sldId="284"/>
        </pc:sldMkLst>
      </pc:sldChg>
      <pc:sldChg chg="ord">
        <pc:chgData name="Saranya Sriram" userId="31246c95-b325-49bd-b9d7-da3f09848d21" providerId="ADAL" clId="{6D164026-2A6F-42B1-B4B0-669E29E3E2BE}" dt="2021-12-07T03:27:07.719" v="60"/>
        <pc:sldMkLst>
          <pc:docMk/>
          <pc:sldMk cId="3056045645" sldId="2134804901"/>
        </pc:sldMkLst>
      </pc:sldChg>
      <pc:sldChg chg="ord">
        <pc:chgData name="Saranya Sriram" userId="31246c95-b325-49bd-b9d7-da3f09848d21" providerId="ADAL" clId="{6D164026-2A6F-42B1-B4B0-669E29E3E2BE}" dt="2021-12-07T03:27:16.928" v="66"/>
        <pc:sldMkLst>
          <pc:docMk/>
          <pc:sldMk cId="3363245920" sldId="2134804903"/>
        </pc:sldMkLst>
      </pc:sldChg>
    </pc:docChg>
  </pc:docChgLst>
  <pc:docChgLst>
    <pc:chgData name="Saranya Sriram" userId="31246c95-b325-49bd-b9d7-da3f09848d21" providerId="ADAL" clId="{DE3896E8-F223-4036-87F2-E5100D2BEE0B}"/>
    <pc:docChg chg="delSld delMainMaster modSection">
      <pc:chgData name="Saranya Sriram" userId="31246c95-b325-49bd-b9d7-da3f09848d21" providerId="ADAL" clId="{DE3896E8-F223-4036-87F2-E5100D2BEE0B}" dt="2022-10-28T04:28:03.589" v="0" actId="47"/>
      <pc:docMkLst>
        <pc:docMk/>
      </pc:docMkLst>
      <pc:sldChg chg="del">
        <pc:chgData name="Saranya Sriram" userId="31246c95-b325-49bd-b9d7-da3f09848d21" providerId="ADAL" clId="{DE3896E8-F223-4036-87F2-E5100D2BEE0B}" dt="2022-10-28T04:28:03.589" v="0" actId="47"/>
        <pc:sldMkLst>
          <pc:docMk/>
          <pc:sldMk cId="2399107941" sldId="257"/>
        </pc:sldMkLst>
      </pc:sldChg>
      <pc:sldChg chg="del">
        <pc:chgData name="Saranya Sriram" userId="31246c95-b325-49bd-b9d7-da3f09848d21" providerId="ADAL" clId="{DE3896E8-F223-4036-87F2-E5100D2BEE0B}" dt="2022-10-28T04:28:03.589" v="0" actId="47"/>
        <pc:sldMkLst>
          <pc:docMk/>
          <pc:sldMk cId="1061857128" sldId="2076135801"/>
        </pc:sldMkLst>
      </pc:sldChg>
      <pc:sldChg chg="del">
        <pc:chgData name="Saranya Sriram" userId="31246c95-b325-49bd-b9d7-da3f09848d21" providerId="ADAL" clId="{DE3896E8-F223-4036-87F2-E5100D2BEE0B}" dt="2022-10-28T04:28:03.589" v="0" actId="47"/>
        <pc:sldMkLst>
          <pc:docMk/>
          <pc:sldMk cId="2407292317" sldId="2147471625"/>
        </pc:sldMkLst>
      </pc:sldChg>
      <pc:sldChg chg="del">
        <pc:chgData name="Saranya Sriram" userId="31246c95-b325-49bd-b9d7-da3f09848d21" providerId="ADAL" clId="{DE3896E8-F223-4036-87F2-E5100D2BEE0B}" dt="2022-10-28T04:28:03.589" v="0" actId="47"/>
        <pc:sldMkLst>
          <pc:docMk/>
          <pc:sldMk cId="5367975" sldId="2147478830"/>
        </pc:sldMkLst>
      </pc:sldChg>
      <pc:sldMasterChg chg="delSldLayout">
        <pc:chgData name="Saranya Sriram" userId="31246c95-b325-49bd-b9d7-da3f09848d21" providerId="ADAL" clId="{DE3896E8-F223-4036-87F2-E5100D2BEE0B}" dt="2022-10-28T04:28:03.589" v="0" actId="47"/>
        <pc:sldMasterMkLst>
          <pc:docMk/>
          <pc:sldMasterMk cId="2545682526" sldId="2147483714"/>
        </pc:sldMasterMkLst>
        <pc:sldLayoutChg chg="del">
          <pc:chgData name="Saranya Sriram" userId="31246c95-b325-49bd-b9d7-da3f09848d21" providerId="ADAL" clId="{DE3896E8-F223-4036-87F2-E5100D2BEE0B}" dt="2022-10-28T04:28:03.589" v="0" actId="47"/>
          <pc:sldLayoutMkLst>
            <pc:docMk/>
            <pc:sldMasterMk cId="2545682526" sldId="2147483714"/>
            <pc:sldLayoutMk cId="434241031" sldId="2147484732"/>
          </pc:sldLayoutMkLst>
        </pc:sldLayoutChg>
      </pc:sldMasterChg>
      <pc:sldMasterChg chg="del delSldLayout">
        <pc:chgData name="Saranya Sriram" userId="31246c95-b325-49bd-b9d7-da3f09848d21" providerId="ADAL" clId="{DE3896E8-F223-4036-87F2-E5100D2BEE0B}" dt="2022-10-28T04:28:03.589" v="0" actId="47"/>
        <pc:sldMasterMkLst>
          <pc:docMk/>
          <pc:sldMasterMk cId="4159745500" sldId="2147484303"/>
        </pc:sldMasterMkLst>
        <pc:sldLayoutChg chg="del">
          <pc:chgData name="Saranya Sriram" userId="31246c95-b325-49bd-b9d7-da3f09848d21" providerId="ADAL" clId="{DE3896E8-F223-4036-87F2-E5100D2BEE0B}" dt="2022-10-28T04:28:03.589" v="0" actId="47"/>
          <pc:sldLayoutMkLst>
            <pc:docMk/>
            <pc:sldMasterMk cId="4159745500" sldId="2147484303"/>
            <pc:sldLayoutMk cId="1273942025" sldId="2147484304"/>
          </pc:sldLayoutMkLst>
        </pc:sldLayoutChg>
        <pc:sldLayoutChg chg="del">
          <pc:chgData name="Saranya Sriram" userId="31246c95-b325-49bd-b9d7-da3f09848d21" providerId="ADAL" clId="{DE3896E8-F223-4036-87F2-E5100D2BEE0B}" dt="2022-10-28T04:28:03.589" v="0" actId="47"/>
          <pc:sldLayoutMkLst>
            <pc:docMk/>
            <pc:sldMasterMk cId="4159745500" sldId="2147484303"/>
            <pc:sldLayoutMk cId="1414062175" sldId="2147484305"/>
          </pc:sldLayoutMkLst>
        </pc:sldLayoutChg>
        <pc:sldLayoutChg chg="del">
          <pc:chgData name="Saranya Sriram" userId="31246c95-b325-49bd-b9d7-da3f09848d21" providerId="ADAL" clId="{DE3896E8-F223-4036-87F2-E5100D2BEE0B}" dt="2022-10-28T04:28:03.589" v="0" actId="47"/>
          <pc:sldLayoutMkLst>
            <pc:docMk/>
            <pc:sldMasterMk cId="4159745500" sldId="2147484303"/>
            <pc:sldLayoutMk cId="2495937614" sldId="2147484306"/>
          </pc:sldLayoutMkLst>
        </pc:sldLayoutChg>
        <pc:sldLayoutChg chg="del">
          <pc:chgData name="Saranya Sriram" userId="31246c95-b325-49bd-b9d7-da3f09848d21" providerId="ADAL" clId="{DE3896E8-F223-4036-87F2-E5100D2BEE0B}" dt="2022-10-28T04:28:03.589" v="0" actId="47"/>
          <pc:sldLayoutMkLst>
            <pc:docMk/>
            <pc:sldMasterMk cId="4159745500" sldId="2147484303"/>
            <pc:sldLayoutMk cId="1853790264" sldId="2147484307"/>
          </pc:sldLayoutMkLst>
        </pc:sldLayoutChg>
        <pc:sldLayoutChg chg="del">
          <pc:chgData name="Saranya Sriram" userId="31246c95-b325-49bd-b9d7-da3f09848d21" providerId="ADAL" clId="{DE3896E8-F223-4036-87F2-E5100D2BEE0B}" dt="2022-10-28T04:28:03.589" v="0" actId="47"/>
          <pc:sldLayoutMkLst>
            <pc:docMk/>
            <pc:sldMasterMk cId="4159745500" sldId="2147484303"/>
            <pc:sldLayoutMk cId="2469760631" sldId="2147484308"/>
          </pc:sldLayoutMkLst>
        </pc:sldLayoutChg>
        <pc:sldLayoutChg chg="del">
          <pc:chgData name="Saranya Sriram" userId="31246c95-b325-49bd-b9d7-da3f09848d21" providerId="ADAL" clId="{DE3896E8-F223-4036-87F2-E5100D2BEE0B}" dt="2022-10-28T04:28:03.589" v="0" actId="47"/>
          <pc:sldLayoutMkLst>
            <pc:docMk/>
            <pc:sldMasterMk cId="4159745500" sldId="2147484303"/>
            <pc:sldLayoutMk cId="1420076435" sldId="2147484309"/>
          </pc:sldLayoutMkLst>
        </pc:sldLayoutChg>
        <pc:sldLayoutChg chg="del">
          <pc:chgData name="Saranya Sriram" userId="31246c95-b325-49bd-b9d7-da3f09848d21" providerId="ADAL" clId="{DE3896E8-F223-4036-87F2-E5100D2BEE0B}" dt="2022-10-28T04:28:03.589" v="0" actId="47"/>
          <pc:sldLayoutMkLst>
            <pc:docMk/>
            <pc:sldMasterMk cId="4159745500" sldId="2147484303"/>
            <pc:sldLayoutMk cId="423501340" sldId="2147484310"/>
          </pc:sldLayoutMkLst>
        </pc:sldLayoutChg>
        <pc:sldLayoutChg chg="del">
          <pc:chgData name="Saranya Sriram" userId="31246c95-b325-49bd-b9d7-da3f09848d21" providerId="ADAL" clId="{DE3896E8-F223-4036-87F2-E5100D2BEE0B}" dt="2022-10-28T04:28:03.589" v="0" actId="47"/>
          <pc:sldLayoutMkLst>
            <pc:docMk/>
            <pc:sldMasterMk cId="4159745500" sldId="2147484303"/>
            <pc:sldLayoutMk cId="824145748" sldId="2147484311"/>
          </pc:sldLayoutMkLst>
        </pc:sldLayoutChg>
        <pc:sldLayoutChg chg="del">
          <pc:chgData name="Saranya Sriram" userId="31246c95-b325-49bd-b9d7-da3f09848d21" providerId="ADAL" clId="{DE3896E8-F223-4036-87F2-E5100D2BEE0B}" dt="2022-10-28T04:28:03.589" v="0" actId="47"/>
          <pc:sldLayoutMkLst>
            <pc:docMk/>
            <pc:sldMasterMk cId="4159745500" sldId="2147484303"/>
            <pc:sldLayoutMk cId="3517116099" sldId="2147484312"/>
          </pc:sldLayoutMkLst>
        </pc:sldLayoutChg>
        <pc:sldLayoutChg chg="del">
          <pc:chgData name="Saranya Sriram" userId="31246c95-b325-49bd-b9d7-da3f09848d21" providerId="ADAL" clId="{DE3896E8-F223-4036-87F2-E5100D2BEE0B}" dt="2022-10-28T04:28:03.589" v="0" actId="47"/>
          <pc:sldLayoutMkLst>
            <pc:docMk/>
            <pc:sldMasterMk cId="4159745500" sldId="2147484303"/>
            <pc:sldLayoutMk cId="3701426174" sldId="2147484313"/>
          </pc:sldLayoutMkLst>
        </pc:sldLayoutChg>
        <pc:sldLayoutChg chg="del">
          <pc:chgData name="Saranya Sriram" userId="31246c95-b325-49bd-b9d7-da3f09848d21" providerId="ADAL" clId="{DE3896E8-F223-4036-87F2-E5100D2BEE0B}" dt="2022-10-28T04:28:03.589" v="0" actId="47"/>
          <pc:sldLayoutMkLst>
            <pc:docMk/>
            <pc:sldMasterMk cId="4159745500" sldId="2147484303"/>
            <pc:sldLayoutMk cId="2965223378" sldId="2147484314"/>
          </pc:sldLayoutMkLst>
        </pc:sldLayoutChg>
      </pc:sldMasterChg>
      <pc:sldMasterChg chg="delSldLayout">
        <pc:chgData name="Saranya Sriram" userId="31246c95-b325-49bd-b9d7-da3f09848d21" providerId="ADAL" clId="{DE3896E8-F223-4036-87F2-E5100D2BEE0B}" dt="2022-10-28T04:28:03.589" v="0" actId="47"/>
        <pc:sldMasterMkLst>
          <pc:docMk/>
          <pc:sldMasterMk cId="1650313423" sldId="2147484353"/>
        </pc:sldMasterMkLst>
        <pc:sldLayoutChg chg="del">
          <pc:chgData name="Saranya Sriram" userId="31246c95-b325-49bd-b9d7-da3f09848d21" providerId="ADAL" clId="{DE3896E8-F223-4036-87F2-E5100D2BEE0B}" dt="2022-10-28T04:28:03.589" v="0" actId="47"/>
          <pc:sldLayoutMkLst>
            <pc:docMk/>
            <pc:sldMasterMk cId="1650313423" sldId="2147484353"/>
            <pc:sldLayoutMk cId="1339234006" sldId="2147484675"/>
          </pc:sldLayoutMkLst>
        </pc:sldLayoutChg>
      </pc:sldMasterChg>
    </pc:docChg>
  </pc:docChgLst>
</pc:chgInfo>
</file>

<file path=ppt/diagrams/_rels/data2.xml.rels><?xml version="1.0" encoding="UTF-8" standalone="yes"?>
<Relationships xmlns="http://schemas.openxmlformats.org/package/2006/relationships"><Relationship Id="rId1" Type="http://schemas.openxmlformats.org/officeDocument/2006/relationships/image" Target="../media/image125.png"/></Relationships>
</file>

<file path=ppt/diagrams/_rels/drawing2.xml.rels><?xml version="1.0" encoding="UTF-8" standalone="yes"?>
<Relationships xmlns="http://schemas.openxmlformats.org/package/2006/relationships"><Relationship Id="rId1" Type="http://schemas.openxmlformats.org/officeDocument/2006/relationships/image" Target="../media/image12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25B208-62F9-41A8-BD8B-6CD61FB0C6B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17F5374D-BD12-478F-8CEF-14EEEA55BC4E}">
      <dgm:prSet phldrT="[Text]" custT="1"/>
      <dgm:spPr/>
      <dgm:t>
        <a:bodyPr/>
        <a:lstStyle/>
        <a:p>
          <a:r>
            <a:rPr lang="en-CA" sz="1600"/>
            <a:t>Retail/e-commerce</a:t>
          </a:r>
          <a:endParaRPr lang="en-US" sz="1600"/>
        </a:p>
      </dgm:t>
    </dgm:pt>
    <dgm:pt modelId="{6285E72A-4B1B-4D70-B2A1-6EB93A60B7DB}" type="parTrans" cxnId="{31E97E93-1AFD-47BE-893C-874BF92EA12F}">
      <dgm:prSet/>
      <dgm:spPr/>
      <dgm:t>
        <a:bodyPr/>
        <a:lstStyle/>
        <a:p>
          <a:endParaRPr lang="en-US" sz="1600"/>
        </a:p>
      </dgm:t>
    </dgm:pt>
    <dgm:pt modelId="{BA67CCB6-BE53-49AA-A0B0-9E19F7D50F4D}" type="sibTrans" cxnId="{31E97E93-1AFD-47BE-893C-874BF92EA12F}">
      <dgm:prSet/>
      <dgm:spPr/>
      <dgm:t>
        <a:bodyPr/>
        <a:lstStyle/>
        <a:p>
          <a:endParaRPr lang="en-US" sz="1600"/>
        </a:p>
      </dgm:t>
    </dgm:pt>
    <dgm:pt modelId="{EC1FDEDD-059C-4BF7-8A04-8D364B5A9583}">
      <dgm:prSet phldrT="[Text]" custT="1"/>
      <dgm:spPr/>
      <dgm:t>
        <a:bodyPr/>
        <a:lstStyle/>
        <a:p>
          <a:r>
            <a:rPr lang="en-CA" sz="1600"/>
            <a:t>Manufacturing</a:t>
          </a:r>
          <a:endParaRPr lang="en-US" sz="1600"/>
        </a:p>
      </dgm:t>
    </dgm:pt>
    <dgm:pt modelId="{BCABAB92-962F-4FB7-AA90-68FEA6528D03}" type="parTrans" cxnId="{7D594FCD-1B44-4CEB-92A0-4A8529D1064E}">
      <dgm:prSet/>
      <dgm:spPr/>
      <dgm:t>
        <a:bodyPr/>
        <a:lstStyle/>
        <a:p>
          <a:endParaRPr lang="en-US" sz="1600"/>
        </a:p>
      </dgm:t>
    </dgm:pt>
    <dgm:pt modelId="{9630F2A7-DC94-4F79-A5D1-CE2A0935ECA2}" type="sibTrans" cxnId="{7D594FCD-1B44-4CEB-92A0-4A8529D1064E}">
      <dgm:prSet/>
      <dgm:spPr/>
      <dgm:t>
        <a:bodyPr/>
        <a:lstStyle/>
        <a:p>
          <a:endParaRPr lang="en-US" sz="1600"/>
        </a:p>
      </dgm:t>
    </dgm:pt>
    <dgm:pt modelId="{CE6DD558-1711-43D5-9955-7C738645E018}">
      <dgm:prSet phldrT="[Text]" custT="1"/>
      <dgm:spPr/>
      <dgm:t>
        <a:bodyPr/>
        <a:lstStyle/>
        <a:p>
          <a:r>
            <a:rPr lang="en-CA" sz="1600"/>
            <a:t>Financial Services</a:t>
          </a:r>
          <a:endParaRPr lang="en-US" sz="1600"/>
        </a:p>
      </dgm:t>
    </dgm:pt>
    <dgm:pt modelId="{B052B52B-3BCB-4A2F-92C7-3BA391057AD6}" type="parTrans" cxnId="{8B173857-4CCF-49E5-A5DA-D7338DB612AD}">
      <dgm:prSet/>
      <dgm:spPr/>
      <dgm:t>
        <a:bodyPr/>
        <a:lstStyle/>
        <a:p>
          <a:endParaRPr lang="en-US" sz="1600"/>
        </a:p>
      </dgm:t>
    </dgm:pt>
    <dgm:pt modelId="{C93BD5D7-8934-4358-9650-C1A9D85986AB}" type="sibTrans" cxnId="{8B173857-4CCF-49E5-A5DA-D7338DB612AD}">
      <dgm:prSet/>
      <dgm:spPr/>
      <dgm:t>
        <a:bodyPr/>
        <a:lstStyle/>
        <a:p>
          <a:endParaRPr lang="en-US" sz="1600"/>
        </a:p>
      </dgm:t>
    </dgm:pt>
    <dgm:pt modelId="{9F13CF84-082F-4AB8-A3B9-0F33F41BB6FE}">
      <dgm:prSet phldrT="[Text]" custT="1"/>
      <dgm:spPr/>
      <dgm:t>
        <a:bodyPr/>
        <a:lstStyle/>
        <a:p>
          <a:r>
            <a:rPr lang="en-CA" sz="1600"/>
            <a:t>Logistics</a:t>
          </a:r>
          <a:endParaRPr lang="en-US" sz="1600"/>
        </a:p>
      </dgm:t>
    </dgm:pt>
    <dgm:pt modelId="{809AC5CF-2B58-45C1-99DF-6E145A184AD4}" type="parTrans" cxnId="{F20C53AC-383F-416D-8EFE-799723202BD6}">
      <dgm:prSet/>
      <dgm:spPr/>
      <dgm:t>
        <a:bodyPr/>
        <a:lstStyle/>
        <a:p>
          <a:endParaRPr lang="en-US" sz="1400"/>
        </a:p>
      </dgm:t>
    </dgm:pt>
    <dgm:pt modelId="{6F1D3096-517C-4732-9B6B-C2D4009CFE97}" type="sibTrans" cxnId="{F20C53AC-383F-416D-8EFE-799723202BD6}">
      <dgm:prSet/>
      <dgm:spPr/>
      <dgm:t>
        <a:bodyPr/>
        <a:lstStyle/>
        <a:p>
          <a:endParaRPr lang="en-US" sz="1400"/>
        </a:p>
      </dgm:t>
    </dgm:pt>
    <dgm:pt modelId="{8B50FBBD-FCA2-455F-8864-75051C22E526}">
      <dgm:prSet phldrT="[Text]" custT="1"/>
      <dgm:spPr/>
      <dgm:t>
        <a:bodyPr/>
        <a:lstStyle/>
        <a:p>
          <a:r>
            <a:rPr lang="en-CA" sz="1600" dirty="0"/>
            <a:t>Gaming </a:t>
          </a:r>
          <a:br>
            <a:rPr lang="en-CA" sz="1600" dirty="0"/>
          </a:br>
          <a:r>
            <a:rPr lang="en-CA" sz="1600" dirty="0"/>
            <a:t>(Asia and W. USA)</a:t>
          </a:r>
          <a:endParaRPr lang="en-US" sz="1600" dirty="0"/>
        </a:p>
      </dgm:t>
    </dgm:pt>
    <dgm:pt modelId="{6E374A12-D91F-4A6E-902F-BFDB1F6E6EED}" type="parTrans" cxnId="{813B9612-608F-4815-B0D3-5DF9E12FC630}">
      <dgm:prSet/>
      <dgm:spPr/>
      <dgm:t>
        <a:bodyPr/>
        <a:lstStyle/>
        <a:p>
          <a:endParaRPr lang="en-US"/>
        </a:p>
      </dgm:t>
    </dgm:pt>
    <dgm:pt modelId="{5091B387-35E7-4646-A8F7-D9EF799288C3}" type="sibTrans" cxnId="{813B9612-608F-4815-B0D3-5DF9E12FC630}">
      <dgm:prSet/>
      <dgm:spPr/>
      <dgm:t>
        <a:bodyPr/>
        <a:lstStyle/>
        <a:p>
          <a:endParaRPr lang="en-US"/>
        </a:p>
      </dgm:t>
    </dgm:pt>
    <dgm:pt modelId="{C331A554-8007-4948-9D1B-88CD61B4CFD2}" type="pres">
      <dgm:prSet presAssocID="{A725B208-62F9-41A8-BD8B-6CD61FB0C6B9}" presName="diagram" presStyleCnt="0">
        <dgm:presLayoutVars>
          <dgm:dir/>
          <dgm:resizeHandles val="exact"/>
        </dgm:presLayoutVars>
      </dgm:prSet>
      <dgm:spPr/>
    </dgm:pt>
    <dgm:pt modelId="{487B2498-F6F3-4728-A114-CB2B748088D3}" type="pres">
      <dgm:prSet presAssocID="{17F5374D-BD12-478F-8CEF-14EEEA55BC4E}" presName="node" presStyleLbl="node1" presStyleIdx="0" presStyleCnt="5">
        <dgm:presLayoutVars>
          <dgm:bulletEnabled val="1"/>
        </dgm:presLayoutVars>
      </dgm:prSet>
      <dgm:spPr/>
    </dgm:pt>
    <dgm:pt modelId="{5E39D779-9BFF-4F95-9D35-BA38A6B90BD4}" type="pres">
      <dgm:prSet presAssocID="{BA67CCB6-BE53-49AA-A0B0-9E19F7D50F4D}" presName="sibTrans" presStyleCnt="0"/>
      <dgm:spPr/>
    </dgm:pt>
    <dgm:pt modelId="{53B3B3AC-C455-4DFE-AE46-74D7C840EA60}" type="pres">
      <dgm:prSet presAssocID="{EC1FDEDD-059C-4BF7-8A04-8D364B5A9583}" presName="node" presStyleLbl="node1" presStyleIdx="1" presStyleCnt="5">
        <dgm:presLayoutVars>
          <dgm:bulletEnabled val="1"/>
        </dgm:presLayoutVars>
      </dgm:prSet>
      <dgm:spPr/>
    </dgm:pt>
    <dgm:pt modelId="{5D8C6E07-ECBC-4A35-92A7-F452D137BFDB}" type="pres">
      <dgm:prSet presAssocID="{9630F2A7-DC94-4F79-A5D1-CE2A0935ECA2}" presName="sibTrans" presStyleCnt="0"/>
      <dgm:spPr/>
    </dgm:pt>
    <dgm:pt modelId="{EE075148-4F44-45D0-A157-67DBCEEAB663}" type="pres">
      <dgm:prSet presAssocID="{9F13CF84-082F-4AB8-A3B9-0F33F41BB6FE}" presName="node" presStyleLbl="node1" presStyleIdx="2" presStyleCnt="5">
        <dgm:presLayoutVars>
          <dgm:bulletEnabled val="1"/>
        </dgm:presLayoutVars>
      </dgm:prSet>
      <dgm:spPr/>
    </dgm:pt>
    <dgm:pt modelId="{DFD24262-93BB-4D8A-87D6-84E895C1F950}" type="pres">
      <dgm:prSet presAssocID="{6F1D3096-517C-4732-9B6B-C2D4009CFE97}" presName="sibTrans" presStyleCnt="0"/>
      <dgm:spPr/>
    </dgm:pt>
    <dgm:pt modelId="{774F8589-25CA-45DB-8584-5B16DD51BBCE}" type="pres">
      <dgm:prSet presAssocID="{CE6DD558-1711-43D5-9955-7C738645E018}" presName="node" presStyleLbl="node1" presStyleIdx="3" presStyleCnt="5">
        <dgm:presLayoutVars>
          <dgm:bulletEnabled val="1"/>
        </dgm:presLayoutVars>
      </dgm:prSet>
      <dgm:spPr/>
    </dgm:pt>
    <dgm:pt modelId="{C508F4AF-1081-46B1-BFD5-5AD259AA9977}" type="pres">
      <dgm:prSet presAssocID="{C93BD5D7-8934-4358-9650-C1A9D85986AB}" presName="sibTrans" presStyleCnt="0"/>
      <dgm:spPr/>
    </dgm:pt>
    <dgm:pt modelId="{4CB671A1-76F0-4068-8202-B3B83D6F8A96}" type="pres">
      <dgm:prSet presAssocID="{8B50FBBD-FCA2-455F-8864-75051C22E526}" presName="node" presStyleLbl="node1" presStyleIdx="4" presStyleCnt="5">
        <dgm:presLayoutVars>
          <dgm:bulletEnabled val="1"/>
        </dgm:presLayoutVars>
      </dgm:prSet>
      <dgm:spPr/>
    </dgm:pt>
  </dgm:ptLst>
  <dgm:cxnLst>
    <dgm:cxn modelId="{813B9612-608F-4815-B0D3-5DF9E12FC630}" srcId="{A725B208-62F9-41A8-BD8B-6CD61FB0C6B9}" destId="{8B50FBBD-FCA2-455F-8864-75051C22E526}" srcOrd="4" destOrd="0" parTransId="{6E374A12-D91F-4A6E-902F-BFDB1F6E6EED}" sibTransId="{5091B387-35E7-4646-A8F7-D9EF799288C3}"/>
    <dgm:cxn modelId="{C62D671E-F424-4645-AF8B-F91995AD9D6E}" type="presOf" srcId="{9F13CF84-082F-4AB8-A3B9-0F33F41BB6FE}" destId="{EE075148-4F44-45D0-A157-67DBCEEAB663}" srcOrd="0" destOrd="0" presId="urn:microsoft.com/office/officeart/2005/8/layout/default"/>
    <dgm:cxn modelId="{B3A62542-8CA5-4C56-86FB-61C262819309}" type="presOf" srcId="{A725B208-62F9-41A8-BD8B-6CD61FB0C6B9}" destId="{C331A554-8007-4948-9D1B-88CD61B4CFD2}" srcOrd="0" destOrd="0" presId="urn:microsoft.com/office/officeart/2005/8/layout/default"/>
    <dgm:cxn modelId="{8B173857-4CCF-49E5-A5DA-D7338DB612AD}" srcId="{A725B208-62F9-41A8-BD8B-6CD61FB0C6B9}" destId="{CE6DD558-1711-43D5-9955-7C738645E018}" srcOrd="3" destOrd="0" parTransId="{B052B52B-3BCB-4A2F-92C7-3BA391057AD6}" sibTransId="{C93BD5D7-8934-4358-9650-C1A9D85986AB}"/>
    <dgm:cxn modelId="{4F411E7A-89CA-4E6D-9B21-4558B1FC3729}" type="presOf" srcId="{8B50FBBD-FCA2-455F-8864-75051C22E526}" destId="{4CB671A1-76F0-4068-8202-B3B83D6F8A96}" srcOrd="0" destOrd="0" presId="urn:microsoft.com/office/officeart/2005/8/layout/default"/>
    <dgm:cxn modelId="{31E97E93-1AFD-47BE-893C-874BF92EA12F}" srcId="{A725B208-62F9-41A8-BD8B-6CD61FB0C6B9}" destId="{17F5374D-BD12-478F-8CEF-14EEEA55BC4E}" srcOrd="0" destOrd="0" parTransId="{6285E72A-4B1B-4D70-B2A1-6EB93A60B7DB}" sibTransId="{BA67CCB6-BE53-49AA-A0B0-9E19F7D50F4D}"/>
    <dgm:cxn modelId="{F20C53AC-383F-416D-8EFE-799723202BD6}" srcId="{A725B208-62F9-41A8-BD8B-6CD61FB0C6B9}" destId="{9F13CF84-082F-4AB8-A3B9-0F33F41BB6FE}" srcOrd="2" destOrd="0" parTransId="{809AC5CF-2B58-45C1-99DF-6E145A184AD4}" sibTransId="{6F1D3096-517C-4732-9B6B-C2D4009CFE97}"/>
    <dgm:cxn modelId="{1E6E33C7-5576-4BB1-A49F-7A9CB9607BA4}" type="presOf" srcId="{CE6DD558-1711-43D5-9955-7C738645E018}" destId="{774F8589-25CA-45DB-8584-5B16DD51BBCE}" srcOrd="0" destOrd="0" presId="urn:microsoft.com/office/officeart/2005/8/layout/default"/>
    <dgm:cxn modelId="{835DC3C9-2A35-4CC9-BDF9-6C05CA62722A}" type="presOf" srcId="{17F5374D-BD12-478F-8CEF-14EEEA55BC4E}" destId="{487B2498-F6F3-4728-A114-CB2B748088D3}" srcOrd="0" destOrd="0" presId="urn:microsoft.com/office/officeart/2005/8/layout/default"/>
    <dgm:cxn modelId="{7D594FCD-1B44-4CEB-92A0-4A8529D1064E}" srcId="{A725B208-62F9-41A8-BD8B-6CD61FB0C6B9}" destId="{EC1FDEDD-059C-4BF7-8A04-8D364B5A9583}" srcOrd="1" destOrd="0" parTransId="{BCABAB92-962F-4FB7-AA90-68FEA6528D03}" sibTransId="{9630F2A7-DC94-4F79-A5D1-CE2A0935ECA2}"/>
    <dgm:cxn modelId="{045EADD8-A212-4B06-9F74-13358E4A5F9F}" type="presOf" srcId="{EC1FDEDD-059C-4BF7-8A04-8D364B5A9583}" destId="{53B3B3AC-C455-4DFE-AE46-74D7C840EA60}" srcOrd="0" destOrd="0" presId="urn:microsoft.com/office/officeart/2005/8/layout/default"/>
    <dgm:cxn modelId="{97235227-FFF1-4F27-B6D5-4965761470A7}" type="presParOf" srcId="{C331A554-8007-4948-9D1B-88CD61B4CFD2}" destId="{487B2498-F6F3-4728-A114-CB2B748088D3}" srcOrd="0" destOrd="0" presId="urn:microsoft.com/office/officeart/2005/8/layout/default"/>
    <dgm:cxn modelId="{3C80DC1D-DA3B-4C8D-BDF7-BCF9B277E898}" type="presParOf" srcId="{C331A554-8007-4948-9D1B-88CD61B4CFD2}" destId="{5E39D779-9BFF-4F95-9D35-BA38A6B90BD4}" srcOrd="1" destOrd="0" presId="urn:microsoft.com/office/officeart/2005/8/layout/default"/>
    <dgm:cxn modelId="{3D9A536D-ACD9-462B-9B24-01B0F155F14A}" type="presParOf" srcId="{C331A554-8007-4948-9D1B-88CD61B4CFD2}" destId="{53B3B3AC-C455-4DFE-AE46-74D7C840EA60}" srcOrd="2" destOrd="0" presId="urn:microsoft.com/office/officeart/2005/8/layout/default"/>
    <dgm:cxn modelId="{5FB808B8-BE1A-4E44-AE2C-4DE7C7CC4043}" type="presParOf" srcId="{C331A554-8007-4948-9D1B-88CD61B4CFD2}" destId="{5D8C6E07-ECBC-4A35-92A7-F452D137BFDB}" srcOrd="3" destOrd="0" presId="urn:microsoft.com/office/officeart/2005/8/layout/default"/>
    <dgm:cxn modelId="{18B4570B-8082-4E31-AB23-CE250E84C1E3}" type="presParOf" srcId="{C331A554-8007-4948-9D1B-88CD61B4CFD2}" destId="{EE075148-4F44-45D0-A157-67DBCEEAB663}" srcOrd="4" destOrd="0" presId="urn:microsoft.com/office/officeart/2005/8/layout/default"/>
    <dgm:cxn modelId="{3E2B20FA-7002-4B20-82B0-FA89C228E8CD}" type="presParOf" srcId="{C331A554-8007-4948-9D1B-88CD61B4CFD2}" destId="{DFD24262-93BB-4D8A-87D6-84E895C1F950}" srcOrd="5" destOrd="0" presId="urn:microsoft.com/office/officeart/2005/8/layout/default"/>
    <dgm:cxn modelId="{9044FC0E-66D3-4BA8-ACE8-96C234965072}" type="presParOf" srcId="{C331A554-8007-4948-9D1B-88CD61B4CFD2}" destId="{774F8589-25CA-45DB-8584-5B16DD51BBCE}" srcOrd="6" destOrd="0" presId="urn:microsoft.com/office/officeart/2005/8/layout/default"/>
    <dgm:cxn modelId="{DA6C4D8D-C9BB-4F0C-BF79-530002F24473}" type="presParOf" srcId="{C331A554-8007-4948-9D1B-88CD61B4CFD2}" destId="{C508F4AF-1081-46B1-BFD5-5AD259AA9977}" srcOrd="7" destOrd="0" presId="urn:microsoft.com/office/officeart/2005/8/layout/default"/>
    <dgm:cxn modelId="{7013A081-32C2-4C6E-9199-5E03D956FF54}" type="presParOf" srcId="{C331A554-8007-4948-9D1B-88CD61B4CFD2}" destId="{4CB671A1-76F0-4068-8202-B3B83D6F8A96}"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05D4DC-E507-4ED6-AFF9-22B22C0882D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A2603213-CA18-4BA9-9A96-709928366695}">
      <dgm:prSet/>
      <dgm:spPr>
        <a:blipFill dpi="0" rotWithShape="0">
          <a:blip xmlns:r="http://schemas.openxmlformats.org/officeDocument/2006/relationships" r:embed="rId1">
            <a:alphaModFix amt="19000"/>
          </a:blip>
          <a:srcRect/>
          <a:stretch>
            <a:fillRect b="-62215"/>
          </a:stretch>
        </a:blipFill>
        <a:ln>
          <a:solidFill>
            <a:srgbClr val="88CBFF"/>
          </a:solidFill>
        </a:ln>
      </dgm:spPr>
      <dgm:t>
        <a:bodyPr/>
        <a:lstStyle/>
        <a:p>
          <a:r>
            <a:rPr lang="en-US"/>
            <a:t>Ready for Mission Critical</a:t>
          </a:r>
        </a:p>
      </dgm:t>
    </dgm:pt>
    <dgm:pt modelId="{724DD910-B0B2-4059-90EC-05BAF3818BC9}" type="parTrans" cxnId="{CFB34EFC-C263-4273-97FE-BABBB8F1FC8C}">
      <dgm:prSet/>
      <dgm:spPr/>
      <dgm:t>
        <a:bodyPr/>
        <a:lstStyle/>
        <a:p>
          <a:endParaRPr lang="en-US"/>
        </a:p>
      </dgm:t>
    </dgm:pt>
    <dgm:pt modelId="{62021863-66A2-4D24-B490-F023857003B6}" type="sibTrans" cxnId="{CFB34EFC-C263-4273-97FE-BABBB8F1FC8C}">
      <dgm:prSet/>
      <dgm:spPr/>
      <dgm:t>
        <a:bodyPr/>
        <a:lstStyle/>
        <a:p>
          <a:endParaRPr lang="en-US"/>
        </a:p>
      </dgm:t>
    </dgm:pt>
    <dgm:pt modelId="{A73199B4-EC21-4048-A2D7-B2DC53720354}">
      <dgm:prSet custT="1"/>
      <dgm:spPr/>
      <dgm:t>
        <a:bodyPr/>
        <a:lstStyle/>
        <a:p>
          <a:r>
            <a:rPr lang="en-US" sz="1600"/>
            <a:t>Instant Recovery (RTO ~0) + Forced Failover</a:t>
          </a:r>
        </a:p>
      </dgm:t>
    </dgm:pt>
    <dgm:pt modelId="{70795537-050B-487B-B14E-A334435DD694}" type="parTrans" cxnId="{C3D93CC5-B79D-477C-9F36-72E5C7B3736D}">
      <dgm:prSet/>
      <dgm:spPr/>
      <dgm:t>
        <a:bodyPr/>
        <a:lstStyle/>
        <a:p>
          <a:endParaRPr lang="en-US"/>
        </a:p>
      </dgm:t>
    </dgm:pt>
    <dgm:pt modelId="{69EFA732-CE01-4AE0-9D8C-F3D41B8F95BB}" type="sibTrans" cxnId="{C3D93CC5-B79D-477C-9F36-72E5C7B3736D}">
      <dgm:prSet/>
      <dgm:spPr/>
      <dgm:t>
        <a:bodyPr/>
        <a:lstStyle/>
        <a:p>
          <a:endParaRPr lang="en-US"/>
        </a:p>
      </dgm:t>
    </dgm:pt>
    <dgm:pt modelId="{F28715DB-9662-4D47-B87E-A2C3D65E4E3F}">
      <dgm:prSet/>
      <dgm:spPr>
        <a:blipFill rotWithShape="0">
          <a:blip xmlns:r="http://schemas.openxmlformats.org/officeDocument/2006/relationships" r:embed="rId1">
            <a:alphaModFix amt="19000"/>
          </a:blip>
          <a:stretch>
            <a:fillRect b="-62215"/>
          </a:stretch>
        </a:blipFill>
        <a:ln>
          <a:solidFill>
            <a:srgbClr val="88CBFF"/>
          </a:solidFill>
        </a:ln>
      </dgm:spPr>
      <dgm:t>
        <a:bodyPr/>
        <a:lstStyle/>
        <a:p>
          <a:r>
            <a:rPr lang="en-US"/>
            <a:t>Cost Effectiveness at </a:t>
          </a:r>
          <a:r>
            <a:rPr lang="en-US" b="0" i="1" u="sng"/>
            <a:t>any</a:t>
          </a:r>
          <a:r>
            <a:rPr lang="en-US"/>
            <a:t> scale</a:t>
          </a:r>
        </a:p>
      </dgm:t>
    </dgm:pt>
    <dgm:pt modelId="{6162341C-A0F1-4A8E-89D9-817A95B2D529}" type="parTrans" cxnId="{9EF1E39A-6886-4DD7-AC62-3889C681D3C9}">
      <dgm:prSet/>
      <dgm:spPr/>
      <dgm:t>
        <a:bodyPr/>
        <a:lstStyle/>
        <a:p>
          <a:endParaRPr lang="en-US"/>
        </a:p>
      </dgm:t>
    </dgm:pt>
    <dgm:pt modelId="{75BB5AFD-0D49-46DF-B769-B79F0CD37057}" type="sibTrans" cxnId="{9EF1E39A-6886-4DD7-AC62-3889C681D3C9}">
      <dgm:prSet/>
      <dgm:spPr/>
      <dgm:t>
        <a:bodyPr/>
        <a:lstStyle/>
        <a:p>
          <a:endParaRPr lang="en-US"/>
        </a:p>
      </dgm:t>
    </dgm:pt>
    <dgm:pt modelId="{4B6344F6-2E0D-460E-8CB4-86E16D3EC188}">
      <dgm:prSet custT="1"/>
      <dgm:spPr/>
      <dgm:t>
        <a:bodyPr/>
        <a:lstStyle/>
        <a:p>
          <a:r>
            <a:rPr lang="en-US" sz="1600"/>
            <a:t>Elastic autoscaling that “just works”</a:t>
          </a:r>
          <a:br>
            <a:rPr lang="en-US" sz="1600"/>
          </a:br>
          <a:r>
            <a:rPr lang="en-US" sz="1600"/>
            <a:t>(burstable, per partition RUs)</a:t>
          </a:r>
        </a:p>
      </dgm:t>
    </dgm:pt>
    <dgm:pt modelId="{521AA3D7-9F2A-4EA8-9917-207DC5211750}" type="parTrans" cxnId="{5921D996-6858-4EE4-B2F7-BA9C7BEF161B}">
      <dgm:prSet/>
      <dgm:spPr/>
      <dgm:t>
        <a:bodyPr/>
        <a:lstStyle/>
        <a:p>
          <a:endParaRPr lang="en-US"/>
        </a:p>
      </dgm:t>
    </dgm:pt>
    <dgm:pt modelId="{90CB7AC4-05CB-4D8E-B6B7-B30CE3FBF054}" type="sibTrans" cxnId="{5921D996-6858-4EE4-B2F7-BA9C7BEF161B}">
      <dgm:prSet/>
      <dgm:spPr/>
      <dgm:t>
        <a:bodyPr/>
        <a:lstStyle/>
        <a:p>
          <a:endParaRPr lang="en-US"/>
        </a:p>
      </dgm:t>
    </dgm:pt>
    <dgm:pt modelId="{88FBCFD3-A5BD-45A1-A9C9-BEF9CC2D06C1}">
      <dgm:prSet/>
      <dgm:spPr>
        <a:blipFill rotWithShape="0">
          <a:blip xmlns:r="http://schemas.openxmlformats.org/officeDocument/2006/relationships" r:embed="rId1">
            <a:alphaModFix amt="19000"/>
          </a:blip>
          <a:stretch>
            <a:fillRect b="-62215"/>
          </a:stretch>
        </a:blipFill>
        <a:ln>
          <a:solidFill>
            <a:srgbClr val="88CBFF"/>
          </a:solidFill>
        </a:ln>
      </dgm:spPr>
      <dgm:t>
        <a:bodyPr/>
        <a:lstStyle/>
        <a:p>
          <a:r>
            <a:rPr lang="en-US"/>
            <a:t>Fast, flexible App Development</a:t>
          </a:r>
        </a:p>
      </dgm:t>
    </dgm:pt>
    <dgm:pt modelId="{28FF5F62-F63A-4D34-AC29-E7751AAF5642}" type="parTrans" cxnId="{1C78E3DF-0C45-4CA8-A8EC-41381BD805A6}">
      <dgm:prSet/>
      <dgm:spPr/>
      <dgm:t>
        <a:bodyPr/>
        <a:lstStyle/>
        <a:p>
          <a:endParaRPr lang="en-US"/>
        </a:p>
      </dgm:t>
    </dgm:pt>
    <dgm:pt modelId="{814E9AD0-A8D7-4C53-B5E8-5918FC8A620D}" type="sibTrans" cxnId="{1C78E3DF-0C45-4CA8-A8EC-41381BD805A6}">
      <dgm:prSet/>
      <dgm:spPr/>
      <dgm:t>
        <a:bodyPr/>
        <a:lstStyle/>
        <a:p>
          <a:endParaRPr lang="en-US"/>
        </a:p>
      </dgm:t>
    </dgm:pt>
    <dgm:pt modelId="{39AC88B3-822C-4738-820A-D6787A9B4C7D}">
      <dgm:prSet custT="1"/>
      <dgm:spPr/>
      <dgm:t>
        <a:bodyPr/>
        <a:lstStyle/>
        <a:p>
          <a:r>
            <a:rPr lang="en-US" sz="1600"/>
            <a:t>Always encrypted (GA)</a:t>
          </a:r>
        </a:p>
      </dgm:t>
    </dgm:pt>
    <dgm:pt modelId="{796E3C00-2491-40C6-91D5-892D63B366A1}" type="parTrans" cxnId="{60DA3452-9833-4674-B4A3-6B5F6BEAEA3F}">
      <dgm:prSet/>
      <dgm:spPr/>
      <dgm:t>
        <a:bodyPr/>
        <a:lstStyle/>
        <a:p>
          <a:endParaRPr lang="en-US"/>
        </a:p>
      </dgm:t>
    </dgm:pt>
    <dgm:pt modelId="{4492D085-206B-4C84-8B1C-49BC9F58FFAB}" type="sibTrans" cxnId="{60DA3452-9833-4674-B4A3-6B5F6BEAEA3F}">
      <dgm:prSet/>
      <dgm:spPr/>
      <dgm:t>
        <a:bodyPr/>
        <a:lstStyle/>
        <a:p>
          <a:endParaRPr lang="en-US"/>
        </a:p>
      </dgm:t>
    </dgm:pt>
    <dgm:pt modelId="{F965F153-6F25-4D60-B192-83E8E77C6551}">
      <dgm:prSet custT="1"/>
      <dgm:spPr/>
      <dgm:t>
        <a:bodyPr/>
        <a:lstStyle/>
        <a:p>
          <a:r>
            <a:rPr lang="en-US" sz="1600"/>
            <a:t>Purview access policies</a:t>
          </a:r>
        </a:p>
      </dgm:t>
    </dgm:pt>
    <dgm:pt modelId="{FDC02944-D825-48F3-8E34-FD76C3C24508}" type="parTrans" cxnId="{5872AF45-16FA-4364-AB71-ADBB45B1FDA4}">
      <dgm:prSet/>
      <dgm:spPr/>
      <dgm:t>
        <a:bodyPr/>
        <a:lstStyle/>
        <a:p>
          <a:endParaRPr lang="en-US"/>
        </a:p>
      </dgm:t>
    </dgm:pt>
    <dgm:pt modelId="{00CCE65C-6A2C-4319-AEFF-B0BD3A2F1F6E}" type="sibTrans" cxnId="{5872AF45-16FA-4364-AB71-ADBB45B1FDA4}">
      <dgm:prSet/>
      <dgm:spPr/>
      <dgm:t>
        <a:bodyPr/>
        <a:lstStyle/>
        <a:p>
          <a:endParaRPr lang="en-US"/>
        </a:p>
      </dgm:t>
    </dgm:pt>
    <dgm:pt modelId="{4C806EC6-7B00-4751-9EB9-9C42494362C3}">
      <dgm:prSet custT="1"/>
      <dgm:spPr/>
      <dgm:t>
        <a:bodyPr/>
        <a:lstStyle/>
        <a:p>
          <a:r>
            <a:rPr lang="en-US" sz="1600"/>
            <a:t>Continuous Backup</a:t>
          </a:r>
        </a:p>
      </dgm:t>
    </dgm:pt>
    <dgm:pt modelId="{5CA957E5-4EA4-4E19-BB30-FE315D4E56D2}" type="parTrans" cxnId="{696A260F-3611-4E8E-B096-01DB9F94BACD}">
      <dgm:prSet/>
      <dgm:spPr/>
      <dgm:t>
        <a:bodyPr/>
        <a:lstStyle/>
        <a:p>
          <a:endParaRPr lang="en-US"/>
        </a:p>
      </dgm:t>
    </dgm:pt>
    <dgm:pt modelId="{951A53FB-964C-4F90-8941-AB325C1C23EC}" type="sibTrans" cxnId="{696A260F-3611-4E8E-B096-01DB9F94BACD}">
      <dgm:prSet/>
      <dgm:spPr/>
      <dgm:t>
        <a:bodyPr/>
        <a:lstStyle/>
        <a:p>
          <a:endParaRPr lang="en-US"/>
        </a:p>
      </dgm:t>
    </dgm:pt>
    <dgm:pt modelId="{C59C6DCA-579C-4D01-B4AB-6380916C3541}">
      <dgm:prSet custT="1"/>
      <dgm:spPr/>
      <dgm:t>
        <a:bodyPr/>
        <a:lstStyle/>
        <a:p>
          <a:r>
            <a:rPr lang="en-US" sz="1600"/>
            <a:t>Increased Serverless Scalability (1 TB)</a:t>
          </a:r>
        </a:p>
      </dgm:t>
    </dgm:pt>
    <dgm:pt modelId="{D4BB554B-B5AD-408C-A063-1B24746FF3BC}" type="parTrans" cxnId="{93D3061A-2C4F-46D3-8EA2-94A8884D2D3B}">
      <dgm:prSet/>
      <dgm:spPr/>
      <dgm:t>
        <a:bodyPr/>
        <a:lstStyle/>
        <a:p>
          <a:endParaRPr lang="en-US"/>
        </a:p>
      </dgm:t>
    </dgm:pt>
    <dgm:pt modelId="{FB382953-9DED-4515-A53C-A2425CB8CB83}" type="sibTrans" cxnId="{93D3061A-2C4F-46D3-8EA2-94A8884D2D3B}">
      <dgm:prSet/>
      <dgm:spPr/>
      <dgm:t>
        <a:bodyPr/>
        <a:lstStyle/>
        <a:p>
          <a:endParaRPr lang="en-US"/>
        </a:p>
      </dgm:t>
    </dgm:pt>
    <dgm:pt modelId="{5C5F7ED7-31BC-45CC-B82A-71A08C149576}">
      <dgm:prSet custT="1"/>
      <dgm:spPr/>
      <dgm:t>
        <a:bodyPr/>
        <a:lstStyle/>
        <a:p>
          <a:r>
            <a:rPr lang="en-US" sz="1600"/>
            <a:t>Change Feed Op Log</a:t>
          </a:r>
        </a:p>
      </dgm:t>
    </dgm:pt>
    <dgm:pt modelId="{C23B7E4B-33D6-48DF-BC08-8E28DF7A2CA5}" type="parTrans" cxnId="{BE869D05-BB1A-4349-9461-318BEA5F93CA}">
      <dgm:prSet/>
      <dgm:spPr/>
      <dgm:t>
        <a:bodyPr/>
        <a:lstStyle/>
        <a:p>
          <a:endParaRPr lang="en-US"/>
        </a:p>
      </dgm:t>
    </dgm:pt>
    <dgm:pt modelId="{9576FB56-B911-40BE-BC8E-2875B8BA9BEC}" type="sibTrans" cxnId="{BE869D05-BB1A-4349-9461-318BEA5F93CA}">
      <dgm:prSet/>
      <dgm:spPr/>
      <dgm:t>
        <a:bodyPr/>
        <a:lstStyle/>
        <a:p>
          <a:endParaRPr lang="en-US"/>
        </a:p>
      </dgm:t>
    </dgm:pt>
    <dgm:pt modelId="{1C78F4A0-6D5E-47FA-9651-9C1E164D18A4}">
      <dgm:prSet custT="1"/>
      <dgm:spPr/>
      <dgm:t>
        <a:bodyPr/>
        <a:lstStyle/>
        <a:p>
          <a:r>
            <a:rPr lang="en-US" sz="1600"/>
            <a:t>Integrated Cache (GA)</a:t>
          </a:r>
        </a:p>
      </dgm:t>
    </dgm:pt>
    <dgm:pt modelId="{880E35B1-9020-4B8C-B693-D15DD6360030}" type="parTrans" cxnId="{613589D3-9141-4683-97EB-2269DBD3891A}">
      <dgm:prSet/>
      <dgm:spPr/>
      <dgm:t>
        <a:bodyPr/>
        <a:lstStyle/>
        <a:p>
          <a:endParaRPr lang="en-US"/>
        </a:p>
      </dgm:t>
    </dgm:pt>
    <dgm:pt modelId="{299A5790-ABCF-409C-9BE9-61979F632C0C}" type="sibTrans" cxnId="{613589D3-9141-4683-97EB-2269DBD3891A}">
      <dgm:prSet/>
      <dgm:spPr/>
      <dgm:t>
        <a:bodyPr/>
        <a:lstStyle/>
        <a:p>
          <a:endParaRPr lang="en-US"/>
        </a:p>
      </dgm:t>
    </dgm:pt>
    <dgm:pt modelId="{5F0F50C3-6EFD-4E87-962E-BC6934D8B149}">
      <dgm:prSet custT="1"/>
      <dgm:spPr/>
      <dgm:t>
        <a:bodyPr/>
        <a:lstStyle/>
        <a:p>
          <a:r>
            <a:rPr lang="en-US" sz="1600"/>
            <a:t>Open-source API updates (API versions, 16mb doc size)</a:t>
          </a:r>
        </a:p>
      </dgm:t>
    </dgm:pt>
    <dgm:pt modelId="{E4C92AB1-544C-41EB-8FEB-2E59BB3B9A93}" type="parTrans" cxnId="{2B8FAD5E-F325-40C0-AF9F-AA5CCD8026FA}">
      <dgm:prSet/>
      <dgm:spPr/>
      <dgm:t>
        <a:bodyPr/>
        <a:lstStyle/>
        <a:p>
          <a:endParaRPr lang="en-US"/>
        </a:p>
      </dgm:t>
    </dgm:pt>
    <dgm:pt modelId="{A85CF779-6705-4F9B-8920-B4CA5795CCA6}" type="sibTrans" cxnId="{2B8FAD5E-F325-40C0-AF9F-AA5CCD8026FA}">
      <dgm:prSet/>
      <dgm:spPr/>
      <dgm:t>
        <a:bodyPr/>
        <a:lstStyle/>
        <a:p>
          <a:endParaRPr lang="en-US"/>
        </a:p>
      </dgm:t>
    </dgm:pt>
    <dgm:pt modelId="{18FF3011-5B37-43F0-B145-F1CFBB7A96FF}">
      <dgm:prSet custT="1"/>
      <dgm:spPr/>
      <dgm:t>
        <a:bodyPr/>
        <a:lstStyle/>
        <a:p>
          <a:r>
            <a:rPr lang="en-US" sz="1600" err="1"/>
            <a:t>GraphQL</a:t>
          </a:r>
          <a:r>
            <a:rPr lang="en-US" sz="1600"/>
            <a:t> support</a:t>
          </a:r>
        </a:p>
      </dgm:t>
    </dgm:pt>
    <dgm:pt modelId="{A4E8F358-8502-4087-A4F0-DA636A79DD8C}" type="parTrans" cxnId="{67B897FB-B5AC-43D5-A59E-B157668A193A}">
      <dgm:prSet/>
      <dgm:spPr/>
      <dgm:t>
        <a:bodyPr/>
        <a:lstStyle/>
        <a:p>
          <a:endParaRPr lang="en-US"/>
        </a:p>
      </dgm:t>
    </dgm:pt>
    <dgm:pt modelId="{026FCC62-C974-4C27-8023-F43BB66BDC80}" type="sibTrans" cxnId="{67B897FB-B5AC-43D5-A59E-B157668A193A}">
      <dgm:prSet/>
      <dgm:spPr/>
      <dgm:t>
        <a:bodyPr/>
        <a:lstStyle/>
        <a:p>
          <a:endParaRPr lang="en-US"/>
        </a:p>
      </dgm:t>
    </dgm:pt>
    <dgm:pt modelId="{6B4C1ACE-480E-4948-97CE-631123BCB130}">
      <dgm:prSet custT="1"/>
      <dgm:spPr/>
      <dgm:t>
        <a:bodyPr/>
        <a:lstStyle/>
        <a:p>
          <a:r>
            <a:rPr lang="en-US" sz="1600"/>
            <a:t>Aggregation Performance Improvements</a:t>
          </a:r>
        </a:p>
      </dgm:t>
    </dgm:pt>
    <dgm:pt modelId="{87FC74CD-F6FA-4400-B9DF-832599E26352}" type="parTrans" cxnId="{A6480EEB-C458-4827-A643-9E55977D0EFA}">
      <dgm:prSet/>
      <dgm:spPr/>
      <dgm:t>
        <a:bodyPr/>
        <a:lstStyle/>
        <a:p>
          <a:endParaRPr lang="en-US"/>
        </a:p>
      </dgm:t>
    </dgm:pt>
    <dgm:pt modelId="{5ADEED9C-DA15-4DAA-B71A-18C8DB5604BE}" type="sibTrans" cxnId="{A6480EEB-C458-4827-A643-9E55977D0EFA}">
      <dgm:prSet/>
      <dgm:spPr/>
      <dgm:t>
        <a:bodyPr/>
        <a:lstStyle/>
        <a:p>
          <a:endParaRPr lang="en-US"/>
        </a:p>
      </dgm:t>
    </dgm:pt>
    <dgm:pt modelId="{F414B78A-99B8-4541-B222-45C1C1AFEEB6}" type="pres">
      <dgm:prSet presAssocID="{CA05D4DC-E507-4ED6-AFF9-22B22C0882DA}" presName="Name0" presStyleCnt="0">
        <dgm:presLayoutVars>
          <dgm:dir/>
          <dgm:animLvl val="lvl"/>
          <dgm:resizeHandles val="exact"/>
        </dgm:presLayoutVars>
      </dgm:prSet>
      <dgm:spPr/>
    </dgm:pt>
    <dgm:pt modelId="{6CDC2233-3D60-4965-8EBC-E7CDC3609904}" type="pres">
      <dgm:prSet presAssocID="{A2603213-CA18-4BA9-9A96-709928366695}" presName="composite" presStyleCnt="0"/>
      <dgm:spPr/>
    </dgm:pt>
    <dgm:pt modelId="{A36CF7DA-0FC8-4B30-BFB3-10E01071A3F9}" type="pres">
      <dgm:prSet presAssocID="{A2603213-CA18-4BA9-9A96-709928366695}" presName="parTx" presStyleLbl="alignNode1" presStyleIdx="0" presStyleCnt="3">
        <dgm:presLayoutVars>
          <dgm:chMax val="0"/>
          <dgm:chPref val="0"/>
          <dgm:bulletEnabled val="1"/>
        </dgm:presLayoutVars>
      </dgm:prSet>
      <dgm:spPr/>
    </dgm:pt>
    <dgm:pt modelId="{8815DDB5-7CE0-4935-BD3C-ED85B433B2A2}" type="pres">
      <dgm:prSet presAssocID="{A2603213-CA18-4BA9-9A96-709928366695}" presName="desTx" presStyleLbl="alignAccFollowNode1" presStyleIdx="0" presStyleCnt="3">
        <dgm:presLayoutVars>
          <dgm:bulletEnabled val="1"/>
        </dgm:presLayoutVars>
      </dgm:prSet>
      <dgm:spPr/>
    </dgm:pt>
    <dgm:pt modelId="{11EEFCE5-1D37-4216-93F0-5FF493C599BB}" type="pres">
      <dgm:prSet presAssocID="{62021863-66A2-4D24-B490-F023857003B6}" presName="space" presStyleCnt="0"/>
      <dgm:spPr/>
    </dgm:pt>
    <dgm:pt modelId="{1BDC045D-CBBA-4330-B9DF-611C271D376A}" type="pres">
      <dgm:prSet presAssocID="{F28715DB-9662-4D47-B87E-A2C3D65E4E3F}" presName="composite" presStyleCnt="0"/>
      <dgm:spPr/>
    </dgm:pt>
    <dgm:pt modelId="{F62E9D5E-4A60-4AFB-B92A-945E0584C434}" type="pres">
      <dgm:prSet presAssocID="{F28715DB-9662-4D47-B87E-A2C3D65E4E3F}" presName="parTx" presStyleLbl="alignNode1" presStyleIdx="1" presStyleCnt="3">
        <dgm:presLayoutVars>
          <dgm:chMax val="0"/>
          <dgm:chPref val="0"/>
          <dgm:bulletEnabled val="1"/>
        </dgm:presLayoutVars>
      </dgm:prSet>
      <dgm:spPr/>
    </dgm:pt>
    <dgm:pt modelId="{12982CBC-FBF4-4FF5-A4EF-CA8CCF23A25F}" type="pres">
      <dgm:prSet presAssocID="{F28715DB-9662-4D47-B87E-A2C3D65E4E3F}" presName="desTx" presStyleLbl="alignAccFollowNode1" presStyleIdx="1" presStyleCnt="3">
        <dgm:presLayoutVars>
          <dgm:bulletEnabled val="1"/>
        </dgm:presLayoutVars>
      </dgm:prSet>
      <dgm:spPr/>
    </dgm:pt>
    <dgm:pt modelId="{5E98E40E-F03C-4F94-BFB5-C4C1E6DB4249}" type="pres">
      <dgm:prSet presAssocID="{75BB5AFD-0D49-46DF-B769-B79F0CD37057}" presName="space" presStyleCnt="0"/>
      <dgm:spPr/>
    </dgm:pt>
    <dgm:pt modelId="{4A5A484A-101F-4E22-B567-FB5250950118}" type="pres">
      <dgm:prSet presAssocID="{88FBCFD3-A5BD-45A1-A9C9-BEF9CC2D06C1}" presName="composite" presStyleCnt="0"/>
      <dgm:spPr/>
    </dgm:pt>
    <dgm:pt modelId="{9FF5AA03-F30B-441C-8631-8F5FB2E6394C}" type="pres">
      <dgm:prSet presAssocID="{88FBCFD3-A5BD-45A1-A9C9-BEF9CC2D06C1}" presName="parTx" presStyleLbl="alignNode1" presStyleIdx="2" presStyleCnt="3">
        <dgm:presLayoutVars>
          <dgm:chMax val="0"/>
          <dgm:chPref val="0"/>
          <dgm:bulletEnabled val="1"/>
        </dgm:presLayoutVars>
      </dgm:prSet>
      <dgm:spPr/>
    </dgm:pt>
    <dgm:pt modelId="{605C2C06-AAD9-40CE-8227-23AFE0C81DAA}" type="pres">
      <dgm:prSet presAssocID="{88FBCFD3-A5BD-45A1-A9C9-BEF9CC2D06C1}" presName="desTx" presStyleLbl="alignAccFollowNode1" presStyleIdx="2" presStyleCnt="3">
        <dgm:presLayoutVars>
          <dgm:bulletEnabled val="1"/>
        </dgm:presLayoutVars>
      </dgm:prSet>
      <dgm:spPr/>
    </dgm:pt>
  </dgm:ptLst>
  <dgm:cxnLst>
    <dgm:cxn modelId="{BE869D05-BB1A-4349-9461-318BEA5F93CA}" srcId="{88FBCFD3-A5BD-45A1-A9C9-BEF9CC2D06C1}" destId="{5C5F7ED7-31BC-45CC-B82A-71A08C149576}" srcOrd="1" destOrd="0" parTransId="{C23B7E4B-33D6-48DF-BC08-8E28DF7A2CA5}" sibTransId="{9576FB56-B911-40BE-BC8E-2875B8BA9BEC}"/>
    <dgm:cxn modelId="{7534E705-B940-4F54-9B58-E6DE9393EF16}" type="presOf" srcId="{39AC88B3-822C-4738-820A-D6787A9B4C7D}" destId="{8815DDB5-7CE0-4935-BD3C-ED85B433B2A2}" srcOrd="0" destOrd="1" presId="urn:microsoft.com/office/officeart/2005/8/layout/hList1"/>
    <dgm:cxn modelId="{696A260F-3611-4E8E-B096-01DB9F94BACD}" srcId="{A2603213-CA18-4BA9-9A96-709928366695}" destId="{4C806EC6-7B00-4751-9EB9-9C42494362C3}" srcOrd="3" destOrd="0" parTransId="{5CA957E5-4EA4-4E19-BB30-FE315D4E56D2}" sibTransId="{951A53FB-964C-4F90-8941-AB325C1C23EC}"/>
    <dgm:cxn modelId="{B205B018-40D8-42E1-A26E-9A03593C7A07}" type="presOf" srcId="{F28715DB-9662-4D47-B87E-A2C3D65E4E3F}" destId="{F62E9D5E-4A60-4AFB-B92A-945E0584C434}" srcOrd="0" destOrd="0" presId="urn:microsoft.com/office/officeart/2005/8/layout/hList1"/>
    <dgm:cxn modelId="{93D3061A-2C4F-46D3-8EA2-94A8884D2D3B}" srcId="{F28715DB-9662-4D47-B87E-A2C3D65E4E3F}" destId="{C59C6DCA-579C-4D01-B4AB-6380916C3541}" srcOrd="1" destOrd="0" parTransId="{D4BB554B-B5AD-408C-A063-1B24746FF3BC}" sibTransId="{FB382953-9DED-4515-A53C-A2425CB8CB83}"/>
    <dgm:cxn modelId="{9676712A-7493-4A7A-84F5-427A34D70A01}" type="presOf" srcId="{88FBCFD3-A5BD-45A1-A9C9-BEF9CC2D06C1}" destId="{9FF5AA03-F30B-441C-8631-8F5FB2E6394C}" srcOrd="0" destOrd="0" presId="urn:microsoft.com/office/officeart/2005/8/layout/hList1"/>
    <dgm:cxn modelId="{C014C131-859C-4B31-B3A1-CFD54E20B87B}" type="presOf" srcId="{5F0F50C3-6EFD-4E87-962E-BC6934D8B149}" destId="{605C2C06-AAD9-40CE-8227-23AFE0C81DAA}" srcOrd="0" destOrd="3" presId="urn:microsoft.com/office/officeart/2005/8/layout/hList1"/>
    <dgm:cxn modelId="{2B8FAD5E-F325-40C0-AF9F-AA5CCD8026FA}" srcId="{88FBCFD3-A5BD-45A1-A9C9-BEF9CC2D06C1}" destId="{5F0F50C3-6EFD-4E87-962E-BC6934D8B149}" srcOrd="3" destOrd="0" parTransId="{E4C92AB1-544C-41EB-8FEB-2E59BB3B9A93}" sibTransId="{A85CF779-6705-4F9B-8920-B4CA5795CCA6}"/>
    <dgm:cxn modelId="{5872AF45-16FA-4364-AB71-ADBB45B1FDA4}" srcId="{A2603213-CA18-4BA9-9A96-709928366695}" destId="{F965F153-6F25-4D60-B192-83E8E77C6551}" srcOrd="2" destOrd="0" parTransId="{FDC02944-D825-48F3-8E34-FD76C3C24508}" sibTransId="{00CCE65C-6A2C-4319-AEFF-B0BD3A2F1F6E}"/>
    <dgm:cxn modelId="{84BD8F49-5D6F-49D8-BC9D-E40102531066}" type="presOf" srcId="{F965F153-6F25-4D60-B192-83E8E77C6551}" destId="{8815DDB5-7CE0-4935-BD3C-ED85B433B2A2}" srcOrd="0" destOrd="2" presId="urn:microsoft.com/office/officeart/2005/8/layout/hList1"/>
    <dgm:cxn modelId="{BED02E50-DAD7-4308-8E8A-3D2D760CCC51}" type="presOf" srcId="{18FF3011-5B37-43F0-B145-F1CFBB7A96FF}" destId="{605C2C06-AAD9-40CE-8227-23AFE0C81DAA}" srcOrd="0" destOrd="2" presId="urn:microsoft.com/office/officeart/2005/8/layout/hList1"/>
    <dgm:cxn modelId="{60DA3452-9833-4674-B4A3-6B5F6BEAEA3F}" srcId="{A2603213-CA18-4BA9-9A96-709928366695}" destId="{39AC88B3-822C-4738-820A-D6787A9B4C7D}" srcOrd="1" destOrd="0" parTransId="{796E3C00-2491-40C6-91D5-892D63B366A1}" sibTransId="{4492D085-206B-4C84-8B1C-49BC9F58FFAB}"/>
    <dgm:cxn modelId="{D64C5453-31BD-44A9-9829-3508E7ABF700}" type="presOf" srcId="{A2603213-CA18-4BA9-9A96-709928366695}" destId="{A36CF7DA-0FC8-4B30-BFB3-10E01071A3F9}" srcOrd="0" destOrd="0" presId="urn:microsoft.com/office/officeart/2005/8/layout/hList1"/>
    <dgm:cxn modelId="{AFA2B75A-8FCB-4D4E-A1F9-360DBC6DE02E}" type="presOf" srcId="{4B6344F6-2E0D-460E-8CB4-86E16D3EC188}" destId="{12982CBC-FBF4-4FF5-A4EF-CA8CCF23A25F}" srcOrd="0" destOrd="0" presId="urn:microsoft.com/office/officeart/2005/8/layout/hList1"/>
    <dgm:cxn modelId="{02330088-A9F0-4E99-8519-DE912295C302}" type="presOf" srcId="{A73199B4-EC21-4048-A2D7-B2DC53720354}" destId="{8815DDB5-7CE0-4935-BD3C-ED85B433B2A2}" srcOrd="0" destOrd="0" presId="urn:microsoft.com/office/officeart/2005/8/layout/hList1"/>
    <dgm:cxn modelId="{5921D996-6858-4EE4-B2F7-BA9C7BEF161B}" srcId="{F28715DB-9662-4D47-B87E-A2C3D65E4E3F}" destId="{4B6344F6-2E0D-460E-8CB4-86E16D3EC188}" srcOrd="0" destOrd="0" parTransId="{521AA3D7-9F2A-4EA8-9917-207DC5211750}" sibTransId="{90CB7AC4-05CB-4D8E-B6B7-B30CE3FBF054}"/>
    <dgm:cxn modelId="{9EF1E39A-6886-4DD7-AC62-3889C681D3C9}" srcId="{CA05D4DC-E507-4ED6-AFF9-22B22C0882DA}" destId="{F28715DB-9662-4D47-B87E-A2C3D65E4E3F}" srcOrd="1" destOrd="0" parTransId="{6162341C-A0F1-4A8E-89D9-817A95B2D529}" sibTransId="{75BB5AFD-0D49-46DF-B769-B79F0CD37057}"/>
    <dgm:cxn modelId="{9744A29B-F5E5-43FF-92F0-562185837D86}" type="presOf" srcId="{C59C6DCA-579C-4D01-B4AB-6380916C3541}" destId="{12982CBC-FBF4-4FF5-A4EF-CA8CCF23A25F}" srcOrd="0" destOrd="1" presId="urn:microsoft.com/office/officeart/2005/8/layout/hList1"/>
    <dgm:cxn modelId="{936E88AE-BBBB-4C87-9023-55E673E0B54A}" type="presOf" srcId="{6B4C1ACE-480E-4948-97CE-631123BCB130}" destId="{605C2C06-AAD9-40CE-8227-23AFE0C81DAA}" srcOrd="0" destOrd="4" presId="urn:microsoft.com/office/officeart/2005/8/layout/hList1"/>
    <dgm:cxn modelId="{216897AE-0A6E-4AD4-9DD7-F538B407E8ED}" type="presOf" srcId="{1C78F4A0-6D5E-47FA-9651-9C1E164D18A4}" destId="{605C2C06-AAD9-40CE-8227-23AFE0C81DAA}" srcOrd="0" destOrd="0" presId="urn:microsoft.com/office/officeart/2005/8/layout/hList1"/>
    <dgm:cxn modelId="{4F5DB6B2-B82A-44E2-8041-AF533A60CDC9}" type="presOf" srcId="{5C5F7ED7-31BC-45CC-B82A-71A08C149576}" destId="{605C2C06-AAD9-40CE-8227-23AFE0C81DAA}" srcOrd="0" destOrd="1" presId="urn:microsoft.com/office/officeart/2005/8/layout/hList1"/>
    <dgm:cxn modelId="{C3D93CC5-B79D-477C-9F36-72E5C7B3736D}" srcId="{A2603213-CA18-4BA9-9A96-709928366695}" destId="{A73199B4-EC21-4048-A2D7-B2DC53720354}" srcOrd="0" destOrd="0" parTransId="{70795537-050B-487B-B14E-A334435DD694}" sibTransId="{69EFA732-CE01-4AE0-9D8C-F3D41B8F95BB}"/>
    <dgm:cxn modelId="{B96817CF-8BC1-4EA1-9CB7-ABC1EC92645C}" type="presOf" srcId="{CA05D4DC-E507-4ED6-AFF9-22B22C0882DA}" destId="{F414B78A-99B8-4541-B222-45C1C1AFEEB6}" srcOrd="0" destOrd="0" presId="urn:microsoft.com/office/officeart/2005/8/layout/hList1"/>
    <dgm:cxn modelId="{613589D3-9141-4683-97EB-2269DBD3891A}" srcId="{88FBCFD3-A5BD-45A1-A9C9-BEF9CC2D06C1}" destId="{1C78F4A0-6D5E-47FA-9651-9C1E164D18A4}" srcOrd="0" destOrd="0" parTransId="{880E35B1-9020-4B8C-B693-D15DD6360030}" sibTransId="{299A5790-ABCF-409C-9BE9-61979F632C0C}"/>
    <dgm:cxn modelId="{1C78E3DF-0C45-4CA8-A8EC-41381BD805A6}" srcId="{CA05D4DC-E507-4ED6-AFF9-22B22C0882DA}" destId="{88FBCFD3-A5BD-45A1-A9C9-BEF9CC2D06C1}" srcOrd="2" destOrd="0" parTransId="{28FF5F62-F63A-4D34-AC29-E7751AAF5642}" sibTransId="{814E9AD0-A8D7-4C53-B5E8-5918FC8A620D}"/>
    <dgm:cxn modelId="{A6480EEB-C458-4827-A643-9E55977D0EFA}" srcId="{88FBCFD3-A5BD-45A1-A9C9-BEF9CC2D06C1}" destId="{6B4C1ACE-480E-4948-97CE-631123BCB130}" srcOrd="4" destOrd="0" parTransId="{87FC74CD-F6FA-4400-B9DF-832599E26352}" sibTransId="{5ADEED9C-DA15-4DAA-B71A-18C8DB5604BE}"/>
    <dgm:cxn modelId="{3A91D3F3-DAB2-4347-9AEC-A8F477382722}" type="presOf" srcId="{4C806EC6-7B00-4751-9EB9-9C42494362C3}" destId="{8815DDB5-7CE0-4935-BD3C-ED85B433B2A2}" srcOrd="0" destOrd="3" presId="urn:microsoft.com/office/officeart/2005/8/layout/hList1"/>
    <dgm:cxn modelId="{67B897FB-B5AC-43D5-A59E-B157668A193A}" srcId="{88FBCFD3-A5BD-45A1-A9C9-BEF9CC2D06C1}" destId="{18FF3011-5B37-43F0-B145-F1CFBB7A96FF}" srcOrd="2" destOrd="0" parTransId="{A4E8F358-8502-4087-A4F0-DA636A79DD8C}" sibTransId="{026FCC62-C974-4C27-8023-F43BB66BDC80}"/>
    <dgm:cxn modelId="{CFB34EFC-C263-4273-97FE-BABBB8F1FC8C}" srcId="{CA05D4DC-E507-4ED6-AFF9-22B22C0882DA}" destId="{A2603213-CA18-4BA9-9A96-709928366695}" srcOrd="0" destOrd="0" parTransId="{724DD910-B0B2-4059-90EC-05BAF3818BC9}" sibTransId="{62021863-66A2-4D24-B490-F023857003B6}"/>
    <dgm:cxn modelId="{37853097-642E-4211-9A74-C87D14ED50D9}" type="presParOf" srcId="{F414B78A-99B8-4541-B222-45C1C1AFEEB6}" destId="{6CDC2233-3D60-4965-8EBC-E7CDC3609904}" srcOrd="0" destOrd="0" presId="urn:microsoft.com/office/officeart/2005/8/layout/hList1"/>
    <dgm:cxn modelId="{7001B6C4-5592-4229-9FAD-0823A85CB626}" type="presParOf" srcId="{6CDC2233-3D60-4965-8EBC-E7CDC3609904}" destId="{A36CF7DA-0FC8-4B30-BFB3-10E01071A3F9}" srcOrd="0" destOrd="0" presId="urn:microsoft.com/office/officeart/2005/8/layout/hList1"/>
    <dgm:cxn modelId="{5732963B-9236-496D-9C00-C322A80CB695}" type="presParOf" srcId="{6CDC2233-3D60-4965-8EBC-E7CDC3609904}" destId="{8815DDB5-7CE0-4935-BD3C-ED85B433B2A2}" srcOrd="1" destOrd="0" presId="urn:microsoft.com/office/officeart/2005/8/layout/hList1"/>
    <dgm:cxn modelId="{109977B7-0BCA-45FF-A220-879D0C49B21C}" type="presParOf" srcId="{F414B78A-99B8-4541-B222-45C1C1AFEEB6}" destId="{11EEFCE5-1D37-4216-93F0-5FF493C599BB}" srcOrd="1" destOrd="0" presId="urn:microsoft.com/office/officeart/2005/8/layout/hList1"/>
    <dgm:cxn modelId="{E7CE7021-92C7-45C7-9800-99E14204B559}" type="presParOf" srcId="{F414B78A-99B8-4541-B222-45C1C1AFEEB6}" destId="{1BDC045D-CBBA-4330-B9DF-611C271D376A}" srcOrd="2" destOrd="0" presId="urn:microsoft.com/office/officeart/2005/8/layout/hList1"/>
    <dgm:cxn modelId="{C90D1F08-2D85-4519-AF2B-CF49071AC6A1}" type="presParOf" srcId="{1BDC045D-CBBA-4330-B9DF-611C271D376A}" destId="{F62E9D5E-4A60-4AFB-B92A-945E0584C434}" srcOrd="0" destOrd="0" presId="urn:microsoft.com/office/officeart/2005/8/layout/hList1"/>
    <dgm:cxn modelId="{979BE9F9-A9F8-4B2F-8FFD-7A8AB6AFD4C5}" type="presParOf" srcId="{1BDC045D-CBBA-4330-B9DF-611C271D376A}" destId="{12982CBC-FBF4-4FF5-A4EF-CA8CCF23A25F}" srcOrd="1" destOrd="0" presId="urn:microsoft.com/office/officeart/2005/8/layout/hList1"/>
    <dgm:cxn modelId="{1A0D083E-6F3C-4246-8010-9725B519DC99}" type="presParOf" srcId="{F414B78A-99B8-4541-B222-45C1C1AFEEB6}" destId="{5E98E40E-F03C-4F94-BFB5-C4C1E6DB4249}" srcOrd="3" destOrd="0" presId="urn:microsoft.com/office/officeart/2005/8/layout/hList1"/>
    <dgm:cxn modelId="{A928B217-AC15-4304-A4B1-DC0AF621D859}" type="presParOf" srcId="{F414B78A-99B8-4541-B222-45C1C1AFEEB6}" destId="{4A5A484A-101F-4E22-B567-FB5250950118}" srcOrd="4" destOrd="0" presId="urn:microsoft.com/office/officeart/2005/8/layout/hList1"/>
    <dgm:cxn modelId="{4F2A6F58-224B-432D-8FD0-75A54ACBC359}" type="presParOf" srcId="{4A5A484A-101F-4E22-B567-FB5250950118}" destId="{9FF5AA03-F30B-441C-8631-8F5FB2E6394C}" srcOrd="0" destOrd="0" presId="urn:microsoft.com/office/officeart/2005/8/layout/hList1"/>
    <dgm:cxn modelId="{6AAF22AA-6606-4524-8EC6-DF9DED66FD86}" type="presParOf" srcId="{4A5A484A-101F-4E22-B567-FB5250950118}" destId="{605C2C06-AAD9-40CE-8227-23AFE0C81DA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7B2498-F6F3-4728-A114-CB2B748088D3}">
      <dsp:nvSpPr>
        <dsp:cNvPr id="0" name=""/>
        <dsp:cNvSpPr/>
      </dsp:nvSpPr>
      <dsp:spPr>
        <a:xfrm>
          <a:off x="3568" y="168477"/>
          <a:ext cx="1932023" cy="115921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CA" sz="1600" kern="1200"/>
            <a:t>Retail/e-commerce</a:t>
          </a:r>
          <a:endParaRPr lang="en-US" sz="1600" kern="1200"/>
        </a:p>
      </dsp:txBody>
      <dsp:txXfrm>
        <a:off x="3568" y="168477"/>
        <a:ext cx="1932023" cy="1159213"/>
      </dsp:txXfrm>
    </dsp:sp>
    <dsp:sp modelId="{53B3B3AC-C455-4DFE-AE46-74D7C840EA60}">
      <dsp:nvSpPr>
        <dsp:cNvPr id="0" name=""/>
        <dsp:cNvSpPr/>
      </dsp:nvSpPr>
      <dsp:spPr>
        <a:xfrm>
          <a:off x="2128793" y="168477"/>
          <a:ext cx="1932023" cy="115921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CA" sz="1600" kern="1200"/>
            <a:t>Manufacturing</a:t>
          </a:r>
          <a:endParaRPr lang="en-US" sz="1600" kern="1200"/>
        </a:p>
      </dsp:txBody>
      <dsp:txXfrm>
        <a:off x="2128793" y="168477"/>
        <a:ext cx="1932023" cy="1159213"/>
      </dsp:txXfrm>
    </dsp:sp>
    <dsp:sp modelId="{EE075148-4F44-45D0-A157-67DBCEEAB663}">
      <dsp:nvSpPr>
        <dsp:cNvPr id="0" name=""/>
        <dsp:cNvSpPr/>
      </dsp:nvSpPr>
      <dsp:spPr>
        <a:xfrm>
          <a:off x="4254019" y="168477"/>
          <a:ext cx="1932023" cy="115921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CA" sz="1600" kern="1200"/>
            <a:t>Logistics</a:t>
          </a:r>
          <a:endParaRPr lang="en-US" sz="1600" kern="1200"/>
        </a:p>
      </dsp:txBody>
      <dsp:txXfrm>
        <a:off x="4254019" y="168477"/>
        <a:ext cx="1932023" cy="1159213"/>
      </dsp:txXfrm>
    </dsp:sp>
    <dsp:sp modelId="{774F8589-25CA-45DB-8584-5B16DD51BBCE}">
      <dsp:nvSpPr>
        <dsp:cNvPr id="0" name=""/>
        <dsp:cNvSpPr/>
      </dsp:nvSpPr>
      <dsp:spPr>
        <a:xfrm>
          <a:off x="6379244" y="168477"/>
          <a:ext cx="1932023" cy="115921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CA" sz="1600" kern="1200"/>
            <a:t>Financial Services</a:t>
          </a:r>
          <a:endParaRPr lang="en-US" sz="1600" kern="1200"/>
        </a:p>
      </dsp:txBody>
      <dsp:txXfrm>
        <a:off x="6379244" y="168477"/>
        <a:ext cx="1932023" cy="1159213"/>
      </dsp:txXfrm>
    </dsp:sp>
    <dsp:sp modelId="{4CB671A1-76F0-4068-8202-B3B83D6F8A96}">
      <dsp:nvSpPr>
        <dsp:cNvPr id="0" name=""/>
        <dsp:cNvSpPr/>
      </dsp:nvSpPr>
      <dsp:spPr>
        <a:xfrm>
          <a:off x="8504470" y="168477"/>
          <a:ext cx="1932023" cy="115921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CA" sz="1600" kern="1200" dirty="0"/>
            <a:t>Gaming </a:t>
          </a:r>
          <a:br>
            <a:rPr lang="en-CA" sz="1600" kern="1200" dirty="0"/>
          </a:br>
          <a:r>
            <a:rPr lang="en-CA" sz="1600" kern="1200" dirty="0"/>
            <a:t>(Asia and W. USA)</a:t>
          </a:r>
          <a:endParaRPr lang="en-US" sz="1600" kern="1200" dirty="0"/>
        </a:p>
      </dsp:txBody>
      <dsp:txXfrm>
        <a:off x="8504470" y="168477"/>
        <a:ext cx="1932023" cy="11592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6CF7DA-0FC8-4B30-BFB3-10E01071A3F9}">
      <dsp:nvSpPr>
        <dsp:cNvPr id="0" name=""/>
        <dsp:cNvSpPr/>
      </dsp:nvSpPr>
      <dsp:spPr>
        <a:xfrm>
          <a:off x="3084" y="681343"/>
          <a:ext cx="3007731" cy="1004339"/>
        </a:xfrm>
        <a:prstGeom prst="rect">
          <a:avLst/>
        </a:prstGeom>
        <a:blipFill dpi="0" rotWithShape="0">
          <a:blip xmlns:r="http://schemas.openxmlformats.org/officeDocument/2006/relationships" r:embed="rId1">
            <a:alphaModFix amt="19000"/>
          </a:blip>
          <a:srcRect/>
          <a:stretch>
            <a:fillRect b="-62215"/>
          </a:stretch>
        </a:blipFill>
        <a:ln w="10795" cap="flat" cmpd="sng" algn="ctr">
          <a:solidFill>
            <a:srgbClr val="88CB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a:t>Ready for Mission Critical</a:t>
          </a:r>
        </a:p>
      </dsp:txBody>
      <dsp:txXfrm>
        <a:off x="3084" y="681343"/>
        <a:ext cx="3007731" cy="1004339"/>
      </dsp:txXfrm>
    </dsp:sp>
    <dsp:sp modelId="{8815DDB5-7CE0-4935-BD3C-ED85B433B2A2}">
      <dsp:nvSpPr>
        <dsp:cNvPr id="0" name=""/>
        <dsp:cNvSpPr/>
      </dsp:nvSpPr>
      <dsp:spPr>
        <a:xfrm>
          <a:off x="3084" y="1685682"/>
          <a:ext cx="3007731" cy="2109875"/>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a:t>Instant Recovery (RTO ~0) + Forced Failover</a:t>
          </a:r>
        </a:p>
        <a:p>
          <a:pPr marL="171450" lvl="1" indent="-171450" algn="l" defTabSz="711200">
            <a:lnSpc>
              <a:spcPct val="90000"/>
            </a:lnSpc>
            <a:spcBef>
              <a:spcPct val="0"/>
            </a:spcBef>
            <a:spcAft>
              <a:spcPct val="15000"/>
            </a:spcAft>
            <a:buChar char="•"/>
          </a:pPr>
          <a:r>
            <a:rPr lang="en-US" sz="1600" kern="1200"/>
            <a:t>Always encrypted (GA)</a:t>
          </a:r>
        </a:p>
        <a:p>
          <a:pPr marL="171450" lvl="1" indent="-171450" algn="l" defTabSz="711200">
            <a:lnSpc>
              <a:spcPct val="90000"/>
            </a:lnSpc>
            <a:spcBef>
              <a:spcPct val="0"/>
            </a:spcBef>
            <a:spcAft>
              <a:spcPct val="15000"/>
            </a:spcAft>
            <a:buChar char="•"/>
          </a:pPr>
          <a:r>
            <a:rPr lang="en-US" sz="1600" kern="1200"/>
            <a:t>Purview access policies</a:t>
          </a:r>
        </a:p>
        <a:p>
          <a:pPr marL="171450" lvl="1" indent="-171450" algn="l" defTabSz="711200">
            <a:lnSpc>
              <a:spcPct val="90000"/>
            </a:lnSpc>
            <a:spcBef>
              <a:spcPct val="0"/>
            </a:spcBef>
            <a:spcAft>
              <a:spcPct val="15000"/>
            </a:spcAft>
            <a:buChar char="•"/>
          </a:pPr>
          <a:r>
            <a:rPr lang="en-US" sz="1600" kern="1200"/>
            <a:t>Continuous Backup</a:t>
          </a:r>
        </a:p>
      </dsp:txBody>
      <dsp:txXfrm>
        <a:off x="3084" y="1685682"/>
        <a:ext cx="3007731" cy="2109875"/>
      </dsp:txXfrm>
    </dsp:sp>
    <dsp:sp modelId="{F62E9D5E-4A60-4AFB-B92A-945E0584C434}">
      <dsp:nvSpPr>
        <dsp:cNvPr id="0" name=""/>
        <dsp:cNvSpPr/>
      </dsp:nvSpPr>
      <dsp:spPr>
        <a:xfrm>
          <a:off x="3431898" y="681343"/>
          <a:ext cx="3007731" cy="1004339"/>
        </a:xfrm>
        <a:prstGeom prst="rect">
          <a:avLst/>
        </a:prstGeom>
        <a:blipFill rotWithShape="0">
          <a:blip xmlns:r="http://schemas.openxmlformats.org/officeDocument/2006/relationships" r:embed="rId1">
            <a:alphaModFix amt="19000"/>
          </a:blip>
          <a:stretch>
            <a:fillRect b="-62215"/>
          </a:stretch>
        </a:blipFill>
        <a:ln w="10795" cap="flat" cmpd="sng" algn="ctr">
          <a:solidFill>
            <a:srgbClr val="88CB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a:t>Cost Effectiveness at </a:t>
          </a:r>
          <a:r>
            <a:rPr lang="en-US" sz="2600" b="0" i="1" u="sng" kern="1200"/>
            <a:t>any</a:t>
          </a:r>
          <a:r>
            <a:rPr lang="en-US" sz="2600" kern="1200"/>
            <a:t> scale</a:t>
          </a:r>
        </a:p>
      </dsp:txBody>
      <dsp:txXfrm>
        <a:off x="3431898" y="681343"/>
        <a:ext cx="3007731" cy="1004339"/>
      </dsp:txXfrm>
    </dsp:sp>
    <dsp:sp modelId="{12982CBC-FBF4-4FF5-A4EF-CA8CCF23A25F}">
      <dsp:nvSpPr>
        <dsp:cNvPr id="0" name=""/>
        <dsp:cNvSpPr/>
      </dsp:nvSpPr>
      <dsp:spPr>
        <a:xfrm>
          <a:off x="3431898" y="1685682"/>
          <a:ext cx="3007731" cy="2109875"/>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a:t>Elastic autoscaling that “just works”</a:t>
          </a:r>
          <a:br>
            <a:rPr lang="en-US" sz="1600" kern="1200"/>
          </a:br>
          <a:r>
            <a:rPr lang="en-US" sz="1600" kern="1200"/>
            <a:t>(burstable, per partition RUs)</a:t>
          </a:r>
        </a:p>
        <a:p>
          <a:pPr marL="171450" lvl="1" indent="-171450" algn="l" defTabSz="711200">
            <a:lnSpc>
              <a:spcPct val="90000"/>
            </a:lnSpc>
            <a:spcBef>
              <a:spcPct val="0"/>
            </a:spcBef>
            <a:spcAft>
              <a:spcPct val="15000"/>
            </a:spcAft>
            <a:buChar char="•"/>
          </a:pPr>
          <a:r>
            <a:rPr lang="en-US" sz="1600" kern="1200"/>
            <a:t>Increased Serverless Scalability (1 TB)</a:t>
          </a:r>
        </a:p>
      </dsp:txBody>
      <dsp:txXfrm>
        <a:off x="3431898" y="1685682"/>
        <a:ext cx="3007731" cy="2109875"/>
      </dsp:txXfrm>
    </dsp:sp>
    <dsp:sp modelId="{9FF5AA03-F30B-441C-8631-8F5FB2E6394C}">
      <dsp:nvSpPr>
        <dsp:cNvPr id="0" name=""/>
        <dsp:cNvSpPr/>
      </dsp:nvSpPr>
      <dsp:spPr>
        <a:xfrm>
          <a:off x="6860712" y="681343"/>
          <a:ext cx="3007731" cy="1004339"/>
        </a:xfrm>
        <a:prstGeom prst="rect">
          <a:avLst/>
        </a:prstGeom>
        <a:blipFill rotWithShape="0">
          <a:blip xmlns:r="http://schemas.openxmlformats.org/officeDocument/2006/relationships" r:embed="rId1">
            <a:alphaModFix amt="19000"/>
          </a:blip>
          <a:stretch>
            <a:fillRect b="-62215"/>
          </a:stretch>
        </a:blipFill>
        <a:ln w="10795" cap="flat" cmpd="sng" algn="ctr">
          <a:solidFill>
            <a:srgbClr val="88CB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a:t>Fast, flexible App Development</a:t>
          </a:r>
        </a:p>
      </dsp:txBody>
      <dsp:txXfrm>
        <a:off x="6860712" y="681343"/>
        <a:ext cx="3007731" cy="1004339"/>
      </dsp:txXfrm>
    </dsp:sp>
    <dsp:sp modelId="{605C2C06-AAD9-40CE-8227-23AFE0C81DAA}">
      <dsp:nvSpPr>
        <dsp:cNvPr id="0" name=""/>
        <dsp:cNvSpPr/>
      </dsp:nvSpPr>
      <dsp:spPr>
        <a:xfrm>
          <a:off x="6860712" y="1685682"/>
          <a:ext cx="3007731" cy="2109875"/>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a:t>Integrated Cache (GA)</a:t>
          </a:r>
        </a:p>
        <a:p>
          <a:pPr marL="171450" lvl="1" indent="-171450" algn="l" defTabSz="711200">
            <a:lnSpc>
              <a:spcPct val="90000"/>
            </a:lnSpc>
            <a:spcBef>
              <a:spcPct val="0"/>
            </a:spcBef>
            <a:spcAft>
              <a:spcPct val="15000"/>
            </a:spcAft>
            <a:buChar char="•"/>
          </a:pPr>
          <a:r>
            <a:rPr lang="en-US" sz="1600" kern="1200"/>
            <a:t>Change Feed Op Log</a:t>
          </a:r>
        </a:p>
        <a:p>
          <a:pPr marL="171450" lvl="1" indent="-171450" algn="l" defTabSz="711200">
            <a:lnSpc>
              <a:spcPct val="90000"/>
            </a:lnSpc>
            <a:spcBef>
              <a:spcPct val="0"/>
            </a:spcBef>
            <a:spcAft>
              <a:spcPct val="15000"/>
            </a:spcAft>
            <a:buChar char="•"/>
          </a:pPr>
          <a:r>
            <a:rPr lang="en-US" sz="1600" kern="1200" err="1"/>
            <a:t>GraphQL</a:t>
          </a:r>
          <a:r>
            <a:rPr lang="en-US" sz="1600" kern="1200"/>
            <a:t> support</a:t>
          </a:r>
        </a:p>
        <a:p>
          <a:pPr marL="171450" lvl="1" indent="-171450" algn="l" defTabSz="711200">
            <a:lnSpc>
              <a:spcPct val="90000"/>
            </a:lnSpc>
            <a:spcBef>
              <a:spcPct val="0"/>
            </a:spcBef>
            <a:spcAft>
              <a:spcPct val="15000"/>
            </a:spcAft>
            <a:buChar char="•"/>
          </a:pPr>
          <a:r>
            <a:rPr lang="en-US" sz="1600" kern="1200"/>
            <a:t>Open-source API updates (API versions, 16mb doc size)</a:t>
          </a:r>
        </a:p>
        <a:p>
          <a:pPr marL="171450" lvl="1" indent="-171450" algn="l" defTabSz="711200">
            <a:lnSpc>
              <a:spcPct val="90000"/>
            </a:lnSpc>
            <a:spcBef>
              <a:spcPct val="0"/>
            </a:spcBef>
            <a:spcAft>
              <a:spcPct val="15000"/>
            </a:spcAft>
            <a:buChar char="•"/>
          </a:pPr>
          <a:r>
            <a:rPr lang="en-US" sz="1600" kern="1200"/>
            <a:t>Aggregation Performance Improvements</a:t>
          </a:r>
        </a:p>
      </dsp:txBody>
      <dsp:txXfrm>
        <a:off x="6860712" y="1685682"/>
        <a:ext cx="3007731" cy="210987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F14328-3901-49B2-8588-DE97E3FC6D60}" type="datetimeFigureOut">
              <a:rPr lang="en-US" smtClean="0"/>
              <a:t>10/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0C319F-6FA9-4F00-A7F5-06A8135A15A2}" type="slidenum">
              <a:rPr lang="en-US" smtClean="0"/>
              <a:t>‹#›</a:t>
            </a:fld>
            <a:endParaRPr lang="en-US"/>
          </a:p>
        </p:txBody>
      </p:sp>
    </p:spTree>
    <p:extLst>
      <p:ext uri="{BB962C8B-B14F-4D97-AF65-F5344CB8AC3E}">
        <p14:creationId xmlns:p14="http://schemas.microsoft.com/office/powerpoint/2010/main" val="4131093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1432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9ABDCF-0071-4C18-BCC3-E556CD0A13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18956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9ABDCF-0071-4C18-BCC3-E556CD0A13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9937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7B96BE-A483-4369-8DF7-C187632AF1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634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1674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996BA33-6360-40A1-9606-58E0047CF44A}" type="slidenum">
              <a:rPr lang="en-US" smtClean="0"/>
              <a:t>17</a:t>
            </a:fld>
            <a:endParaRPr lang="en-US"/>
          </a:p>
        </p:txBody>
      </p:sp>
    </p:spTree>
    <p:extLst>
      <p:ext uri="{BB962C8B-B14F-4D97-AF65-F5344CB8AC3E}">
        <p14:creationId xmlns:p14="http://schemas.microsoft.com/office/powerpoint/2010/main" val="711015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358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3583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0847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9236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addition, we see the following:</a:t>
            </a:r>
          </a:p>
          <a:p>
            <a:endParaRPr lang="en-CA" dirty="0"/>
          </a:p>
          <a:p>
            <a:r>
              <a:rPr lang="en-US" sz="2800" dirty="0"/>
              <a:t>Healthcare</a:t>
            </a:r>
          </a:p>
          <a:p>
            <a:pPr lvl="1"/>
            <a:r>
              <a:rPr lang="en-US" sz="2000" dirty="0"/>
              <a:t>Data Interchange (HL7 FHIR)</a:t>
            </a:r>
            <a:endParaRPr lang="en-CA" dirty="0"/>
          </a:p>
          <a:p>
            <a:endParaRPr lang="en-CA" dirty="0"/>
          </a:p>
          <a:p>
            <a:r>
              <a:rPr lang="en-US" sz="2800" dirty="0"/>
              <a:t>ISV</a:t>
            </a:r>
          </a:p>
          <a:p>
            <a:pPr lvl="1"/>
            <a:r>
              <a:rPr lang="en-US" sz="2000" dirty="0"/>
              <a:t>Content Management (CMS)</a:t>
            </a:r>
          </a:p>
          <a:p>
            <a:pPr lvl="1"/>
            <a:r>
              <a:rPr lang="en-US" sz="2000" dirty="0"/>
              <a:t>Data Interchange</a:t>
            </a:r>
          </a:p>
          <a:p>
            <a:pPr lvl="1"/>
            <a:r>
              <a:rPr lang="en-US" sz="2000" dirty="0"/>
              <a:t>Dev Ops Dependency Management</a:t>
            </a:r>
          </a:p>
          <a:p>
            <a:pPr lvl="1"/>
            <a:r>
              <a:rPr lang="en-US" sz="2000" dirty="0"/>
              <a:t>Knowledge Graph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EFA647-2A1A-4D97-9FCD-BEA4D65F4A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0066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12586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57319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685752" rtl="0" eaLnBrk="1" fontAlgn="auto" latinLnBrk="0" hangingPunct="1">
                <a:lnSpc>
                  <a:spcPct val="100000"/>
                </a:lnSpc>
                <a:spcBef>
                  <a:spcPts val="0"/>
                </a:spcBef>
                <a:spcAft>
                  <a:spcPts val="0"/>
                </a:spcAft>
                <a:buClrTx/>
                <a:buSzTx/>
                <a:buFontTx/>
                <a:buNone/>
                <a:tabLst/>
                <a:defRPr/>
              </a:pPr>
              <a:t>10/28/2022 12:2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68575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25415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Cosmos DB service is deployed worldwide across all Azure regions including the sovereign and government clouds. We deploy and manage the Cosmos DB service on stamps of machines, each with dedicated local SSDs. The Cosmos DB service is layered on top of Azure Service Fabric, which is a foundational distributed systems infrastructure of Azure. Cosmos DB uses Service Fabric for naming, routing, cluster and container management, coordination of rolling upgrades, failure detection, leader election (within a resource partition) and load balancing capabilities. Cosmos DB is deployed across one or more Service Fabric clusters, each potentially running multiple generations of hardware and of varying number of machines (currently, between 60-800 machines).  </a:t>
            </a:r>
          </a:p>
          <a:p>
            <a:r>
              <a:rPr lang="en-US" sz="1200" kern="1200" dirty="0">
                <a:solidFill>
                  <a:schemeClr val="tx1"/>
                </a:solidFill>
                <a:effectLst/>
                <a:latin typeface="+mn-lt"/>
                <a:ea typeface="+mn-ea"/>
                <a:cs typeface="+mn-cs"/>
              </a:rPr>
              <a:t>Machines within a cluster typically are spread across 10-20 fault domains. The resource partitions is a logical concept. Physically, a resource partition is implemented in terms of a group of replicas, called replica-sets. Each machine hosts replicas corresponding to various resource partitions within a fixed set of processes. Replicas corresponding to the resource partitions are placed and load balanced across these machines. Each replica hosts an instance of Cosmos DB’s schema-agnostic database engine, which manages the resources as well as the associated indexes. The Cosmos DB database engine, in-turn, consists of components including implementation of several coordination primitives, the JavaScript language runtime, the query processor, the storage and indexing subsystems responsible for transactional storage and indexing of data, respectively. To provide durability and high availability, the database engine persists its index on SSDs and replicates it among the database engine instances within the replica-set(s) respectively. While the index is always persisted on local SSDs, the log is persisted either locally, on another machine within the cluster, or remotely across cluster or a datacenter within a region. The proximity of the index and log is configurable based on the price and latency SLA. The ability to dynamically configure the proximity between the database engine (compute) and log (storage) at the granularity of replicas of a resource partition is crucial for allowing tenants to dynamically select various service ti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8571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67719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83612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41626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2417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41B7BA-2FF2-4235-88F5-32011048B6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4005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41B7BA-2FF2-4235-88F5-32011048B6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2151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651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6363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5986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xt could of slides have example strategies that take advantage of the 403 status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83336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99742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2066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48469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ant to avoid throttling (rate limit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83457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24368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a:t>
            </a:r>
            <a:r>
              <a:rPr lang="en-US" sz="1200" kern="1200" dirty="0">
                <a:solidFill>
                  <a:schemeClr val="tx1"/>
                </a:solidFill>
                <a:effectLst/>
                <a:latin typeface="+mn-lt"/>
                <a:ea typeface="+mn-ea"/>
                <a:cs typeface="+mn-cs"/>
              </a:rPr>
              <a:t>Cosmos DB uses ML to produce a stable logical charge for vast majority of operations (CRUD and query). This gives a high degree of predictability for capacity planning (if creating document X costs 5 RU’s today, we can rely on the fact that it will cost 5 RU’s tomorrow). This isolates RU charge from variability in physical resource utilization due to other noisy processes like garbage collec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944045-718D-4950-B0BA-CCBA78BD27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8982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78905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233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0/28/2022 12:27 PM</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6909168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13201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3315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dirty="0"/>
              <a:t>Merge (private preview) </a:t>
            </a:r>
          </a:p>
          <a:p>
            <a:pPr marL="742950" lvl="2" indent="-285750">
              <a:buFont typeface="Arial"/>
              <a:buChar char="•"/>
            </a:pPr>
            <a:r>
              <a:rPr lang="en-US" dirty="0"/>
              <a:t>Users will be able to further optimize the performance and cost of their partition layout by merging underutilized partitions. This will be exposed as a customer-accessible API. </a:t>
            </a:r>
            <a:endParaRPr lang="en-US" dirty="0">
              <a:cs typeface="Calibri" panose="020F0502020204030204"/>
            </a:endParaRPr>
          </a:p>
          <a:p>
            <a:pPr marL="285750" lvl="1" indent="-285750">
              <a:buFont typeface="Arial"/>
              <a:buChar char="•"/>
            </a:pPr>
            <a:r>
              <a:rPr lang="en-US" dirty="0"/>
              <a:t>Burst Capacity (private preview) </a:t>
            </a:r>
            <a:endParaRPr lang="en-US" dirty="0">
              <a:cs typeface="Calibri"/>
            </a:endParaRPr>
          </a:p>
          <a:p>
            <a:pPr marL="742950" lvl="3" indent="-285750">
              <a:buFont typeface="Arial"/>
              <a:buChar char="•"/>
            </a:pPr>
            <a:r>
              <a:rPr lang="en-US" dirty="0"/>
              <a:t>Cosmos DB’s </a:t>
            </a:r>
            <a:r>
              <a:rPr lang="en-US" dirty="0" err="1"/>
              <a:t>autoscale</a:t>
            </a:r>
            <a:r>
              <a:rPr lang="en-US" dirty="0"/>
              <a:t> has does a great job optimizing customer costs for hourly traffic cycles. Customer scenarios that require predictable performance guarantees of provisioned throughput and also have traffic cycles at frequencies quicker than an hour will have now have access to burst capacity. Burst capacity enables customers to further optimize their costs by more tightly fitting their </a:t>
            </a:r>
            <a:r>
              <a:rPr lang="en-US" dirty="0" err="1"/>
              <a:t>autoscaled</a:t>
            </a:r>
            <a:r>
              <a:rPr lang="en-US" dirty="0"/>
              <a:t> throughput to their request traffic as a finer granularity. </a:t>
            </a:r>
            <a:endParaRPr lang="en-US" dirty="0">
              <a:cs typeface="Calibri" panose="020F0502020204030204"/>
            </a:endParaRPr>
          </a:p>
          <a:p>
            <a:pPr marL="285750" lvl="2" indent="-285750">
              <a:buFont typeface="Arial"/>
              <a:buChar char="•"/>
            </a:pPr>
            <a:r>
              <a:rPr lang="en-US" dirty="0"/>
              <a:t>Adaptive RUs - Per-Partition RU/sec (private preview) </a:t>
            </a:r>
          </a:p>
          <a:p>
            <a:pPr marL="742950" lvl="4" indent="-285750">
              <a:buFont typeface="Arial"/>
              <a:buChar char="•"/>
            </a:pPr>
            <a:r>
              <a:rPr lang="en-US" dirty="0"/>
              <a:t>Cosmos DB provides unlimited request throughput by scaling out containers to many backend partitions. In an ideal world – customers are able to choose a partition key that allows for perfectly even distribution of load-balanced request traffic across these partitions. In practice, even load distribution isn’t always possible. Per-Partition RU/sec will enable customers to configure their partitions to have heterogenous RU/sec layouts to further optimize costs for uneven workloads. </a:t>
            </a:r>
            <a:endParaRPr lang="en-US" dirty="0">
              <a:cs typeface="Calibri" panose="020F0502020204030204"/>
            </a:endParaRPr>
          </a:p>
          <a:p>
            <a:pPr marL="285750" lvl="3" indent="-285750">
              <a:buFont typeface="Arial"/>
              <a:buChar char="•"/>
            </a:pPr>
            <a:r>
              <a:rPr lang="en-US" dirty="0" err="1"/>
              <a:t>Subpartitioning</a:t>
            </a:r>
            <a:r>
              <a:rPr lang="en-US" dirty="0"/>
              <a:t> (public preview) </a:t>
            </a:r>
            <a:endParaRPr lang="en-US" dirty="0">
              <a:cs typeface="Calibri"/>
            </a:endParaRPr>
          </a:p>
          <a:p>
            <a:pPr marL="628650" lvl="1" indent="-171450">
              <a:buFont typeface="Arial"/>
              <a:buChar char="•"/>
            </a:pPr>
            <a:r>
              <a:rPr lang="en-US" dirty="0"/>
              <a:t>Customers will be able to define hierarchical partition keys that are a composite over multiple values. The hierarchy allows for intelligent optimal routing of requests when only a subset of partition key values are known; while simultaneously enabling customers to manage outlier partition key values that must exceed 20GB of storage (per partition key).</a:t>
            </a:r>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E847C82-B7C8-4CEE-9EB8-C8B7A4D5C78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2653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20843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a volume =&gt;OLTP performance impac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82629C-E6A8-417C-A5FE-2E621E8D83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9524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So what’s the magic powering Synapse Link?</a:t>
            </a:r>
            <a:b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br>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First ani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So far, your operational data in Cosmos DB is internally stored in a row-oriented ‘transactional store’. This store is optimized for transactional reads/writes &amp; operational quer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Second ani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Now, we’re excited to bring you a fully-managed native ‘analytical store’ within Azure Cosmos DB container. Analytical store is a fully-isolated column-oriented store, optimized for typical analytical queries over large volumes of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Your inserts, updates, deletes to operational data are </a:t>
            </a:r>
            <a:r>
              <a:rPr kumimoji="0" lang="en-US" sz="800" b="0" i="0" u="sng" strike="noStrike" kern="1200" cap="none" spc="0" normalizeH="0" baseline="0" noProof="0">
                <a:ln>
                  <a:noFill/>
                </a:ln>
                <a:solidFill>
                  <a:prstClr val="black"/>
                </a:solidFill>
                <a:effectLst/>
                <a:uLnTx/>
                <a:uFillTx/>
                <a:latin typeface="Calibri" panose="020F0502020204030204"/>
                <a:ea typeface="+mn-ea"/>
                <a:cs typeface="+mn-cs"/>
              </a:rPr>
              <a:t>automatically synced </a:t>
            </a: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from transactional store to analytical store in near real-time within minutes. This ‘auto-sync’ capability does not consume RUs allocated for your operational workloa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Third ani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Now with Synapse Link, you can connect Cosmos DB Analytical store with Synapse Analytics with a ‘single click’. This allows you to interchangeably query operational data in Cosmos DB using Spark &amp; SQL runtim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This enables you to build machine learning pipelines, BI dashboards and run big-data analytics in near real-time on your operational dat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5AB9-59B3-40C8-A1DA-698E11685C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81201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vance to the next slide after the mention of the third point </a:t>
            </a:r>
            <a:r>
              <a:rPr lang="en-US" sz="1200" b="1" i="1" dirty="0">
                <a:solidFill>
                  <a:schemeClr val="accent1"/>
                </a:solidFill>
              </a:rPr>
              <a:t>Drive innovation with new cloud native apps</a:t>
            </a:r>
            <a:endParaRPr lang="en-US" sz="1200" b="1" i="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85918-7B27-4C0D-98A5-9B77DC2FB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6864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499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Times New Roman" panose="02020603050405020304" pitchFamily="18" charset="0"/>
              </a:rPr>
              <a:t>So NoSQL databases are now rather defined by a bunch of characteristics that they share rather than having a formal definition: non-relational, scale-out, schema-less are probably the ones I would call out as they apply to most databases that identify as NoSQL and they were all born out of this desire to address new needs to the internet worl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Times New Roman" panose="02020603050405020304" pitchFamily="18" charset="0"/>
              </a:rPr>
              <a:t>They are also all use different data model from the relational method of modeling data, typically characterized into 4 broad data model familie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panose="020B0502040204020203" pitchFamily="34" charset="0"/>
                <a:ea typeface="Calibri" panose="020F0502020204030204" pitchFamily="34" charset="0"/>
                <a:cs typeface="Times New Roman" panose="02020603050405020304" pitchFamily="18" charset="0"/>
              </a:rPr>
              <a:t>Key–value databa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panose="020B0502040204020203" pitchFamily="34" charset="0"/>
                <a:ea typeface="Calibri" panose="020F0502020204030204" pitchFamily="34" charset="0"/>
                <a:cs typeface="Times New Roman" panose="02020603050405020304" pitchFamily="18" charset="0"/>
              </a:rPr>
              <a:t>Column family databa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panose="020B0502040204020203" pitchFamily="34" charset="0"/>
                <a:ea typeface="Calibri" panose="020F0502020204030204" pitchFamily="34" charset="0"/>
                <a:cs typeface="Times New Roman" panose="02020603050405020304" pitchFamily="18" charset="0"/>
              </a:rPr>
              <a:t>Document databas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Segoe UI" panose="020B0502040204020203" pitchFamily="34" charset="0"/>
                <a:ea typeface="Calibri" panose="020F0502020204030204" pitchFamily="34" charset="0"/>
                <a:cs typeface="Times New Roman" panose="02020603050405020304" pitchFamily="18" charset="0"/>
              </a:rPr>
              <a:t>Graph databa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Times New Roman" panose="02020603050405020304" pitchFamily="18" charset="0"/>
              </a:rPr>
              <a:t>The simplest are key value stores they, allow you to save key value pairs and retrieve the values by providing the key. From a developer perspective this is similar to an in-memory hash map of the whole dataset, just saved to disk.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Times New Roman" panose="02020603050405020304" pitchFamily="18" charset="0"/>
              </a:rPr>
              <a:t>Next up the column family data model, this is essentially an extension of the key-value databases, it extends the model to include an additional secondary key on top of the primary key, typically referred to as column and rows keys respectively, this allows for the storage, retrieval and query of subsets of more complicated data structures whilst still maintaining the association of the data with row key directly. We will talk a little about why this important as we distribute the data across clusters later 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Times New Roman" panose="02020603050405020304" pitchFamily="18" charset="0"/>
              </a:rPr>
              <a:t>The document data model, the model we are probably going to talk about the most today and over the next couple of sessions. It breaks the world down into documents, these could be any type of structured document but most commonly JSON. No developer really wants to publicly admit that they work/or have worked with XML these days. The document clearly exposes its content. And again here there is no predefined schema, there is no need to define up front, as you would tables and columns in the relational world, a strict structure to hold your data. This provides flexibility in what data is stored and makes it easier to transform data models overtime. That doesn’t mean we don’t need to think about the data we place in the documents and how we place these documents into the databases itself - there are still implicit functional contracts that exists with the applications that we build on top this data. We would not want to query a database for the latest house prices and only get back the average travel distance fruit has journeyed from farmer to table - just because you can store data of any type in any structure in the same database doesn’t necessarily mean you want to - you still need some strict structural guidelines to make the data useful to the applications we build. Additionally, how we model data also impacts the query performance of the database, we will drill into this a little more later on.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Times New Roman" panose="02020603050405020304" pitchFamily="18" charset="0"/>
              </a:rPr>
              <a:t>When we think about objects that we work on within our applications they are usually composed smaller objects and these all have properties that in turn values that are interesting. It is however the parent objects that usually the things write to and retrieving from the database as a single unit - the book with all its details and authors, rather than the authors individually one by one – we would typically rather hydrate a book object as a whole. And it’s this ability of the document databases that allows them to remove the impedance associated with saving and retrieving objects – books in this case. We can often just serialize the objects we have in memory and persist them directly to the database in a single operation - no more need for ORMs. And when we retrieve datasets from the database we can filter, project and de-serialize the results into new objects - hydrating our application object model directly with the query resul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Times New Roman" panose="02020603050405020304" pitchFamily="18" charset="0"/>
              </a:rPr>
              <a:t>I will say that the boundaries between key-value, column family and document databases are not always as clearly delineated as they may first appea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Times New Roman" panose="02020603050405020304" pitchFamily="18" charset="0"/>
              </a:rPr>
              <a:t>The fourth type of NoSQL database is graph, these are modeled fundamentally differently. The graph databases super-power is querying relationships, and whilst  the name relational databases leaves some to believe that that they would be good at this, they not, and the name is derived from the relations on set theory. To query relationships in SQL you often need to establish foreign keys specifically for the purpose and run expensive often recursive types of querie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Times New Roman" panose="02020603050405020304" pitchFamily="18" charset="0"/>
              </a:rPr>
              <a:t>Graph databases are used completely differently with their fundamental data model being a graph structure constituted of nodes and edges (sometimes called relationships) and properties attaching additional values to the nodes. They have also developed their own query languages that can express the particulars of querying relationships efficiently, often very different from the SQL languag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panose="020B0502040204020203" pitchFamily="34" charset="0"/>
                <a:ea typeface="Calibri" panose="020F0502020204030204" pitchFamily="34" charset="0"/>
                <a:cs typeface="Times New Roman" panose="02020603050405020304" pitchFamily="18" charset="0"/>
              </a:rPr>
              <a:t>So you can see that choosing a NoSQL database is in part and largely about how you want to work with your dat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9ABDCF-0071-4C18-BCC3-E556CD0A13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7774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9ABDCF-0071-4C18-BCC3-E556CD0A13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312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9ABDCF-0071-4C18-BCC3-E556CD0A13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7774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9ABDCF-0071-4C18-BCC3-E556CD0A13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1435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8.jpeg"/><Relationship Id="rId1" Type="http://schemas.openxmlformats.org/officeDocument/2006/relationships/slideMaster" Target="../slideMasters/slideMaster6.xml"/><Relationship Id="rId4" Type="http://schemas.openxmlformats.org/officeDocument/2006/relationships/image" Target="../media/image40.jp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7.xml"/><Relationship Id="rId4" Type="http://schemas.openxmlformats.org/officeDocument/2006/relationships/image" Target="../media/image6.emf"/></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7.xml"/><Relationship Id="rId4" Type="http://schemas.openxmlformats.org/officeDocument/2006/relationships/image" Target="../media/image6.emf"/></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7.xml"/><Relationship Id="rId4" Type="http://schemas.openxmlformats.org/officeDocument/2006/relationships/image" Target="../media/image6.emf"/></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9.xml"/><Relationship Id="rId1" Type="http://schemas.openxmlformats.org/officeDocument/2006/relationships/tags" Target="../tags/tag1.xml"/><Relationship Id="rId4" Type="http://schemas.openxmlformats.org/officeDocument/2006/relationships/image" Target="../media/image48.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1.xml"/><Relationship Id="rId4" Type="http://schemas.openxmlformats.org/officeDocument/2006/relationships/image" Target="../media/image10.jpe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jpeg"/><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2.jpeg"/><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jp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jpg"/></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jp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5.jpeg"/><Relationship Id="rId1" Type="http://schemas.openxmlformats.org/officeDocument/2006/relationships/slideMaster" Target="../slideMasters/slideMaster15.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6.jpeg"/><Relationship Id="rId1" Type="http://schemas.openxmlformats.org/officeDocument/2006/relationships/slideMaster" Target="../slideMasters/slideMaster15.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15.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5.jpeg"/><Relationship Id="rId1" Type="http://schemas.openxmlformats.org/officeDocument/2006/relationships/slideMaster" Target="../slideMasters/slideMaster15.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7.jpeg"/><Relationship Id="rId1" Type="http://schemas.openxmlformats.org/officeDocument/2006/relationships/slideMaster" Target="../slideMasters/slideMaster1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5.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5.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6.xml"/><Relationship Id="rId4" Type="http://schemas.openxmlformats.org/officeDocument/2006/relationships/image" Target="../media/image70.png"/></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emf"/><Relationship Id="rId1" Type="http://schemas.openxmlformats.org/officeDocument/2006/relationships/slideMaster" Target="../slideMasters/slideMaster16.xml"/><Relationship Id="rId5" Type="http://schemas.openxmlformats.org/officeDocument/2006/relationships/image" Target="../media/image70.png"/><Relationship Id="rId4" Type="http://schemas.openxmlformats.org/officeDocument/2006/relationships/image" Target="../media/image69.png"/></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emf"/><Relationship Id="rId1" Type="http://schemas.openxmlformats.org/officeDocument/2006/relationships/slideMaster" Target="../slideMasters/slideMaster16.xml"/><Relationship Id="rId5" Type="http://schemas.openxmlformats.org/officeDocument/2006/relationships/image" Target="../media/image70.png"/><Relationship Id="rId4" Type="http://schemas.openxmlformats.org/officeDocument/2006/relationships/image" Target="../media/image69.png"/></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2.png"/><Relationship Id="rId1" Type="http://schemas.openxmlformats.org/officeDocument/2006/relationships/slideMaster" Target="../slideMasters/slideMaster16.xml"/><Relationship Id="rId4" Type="http://schemas.openxmlformats.org/officeDocument/2006/relationships/image" Target="../media/image70.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2.png"/><Relationship Id="rId1" Type="http://schemas.openxmlformats.org/officeDocument/2006/relationships/slideMaster" Target="../slideMasters/slideMaster16.xml"/><Relationship Id="rId4" Type="http://schemas.openxmlformats.org/officeDocument/2006/relationships/image" Target="../media/image70.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1.png"/><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png"/><Relationship Id="rId1" Type="http://schemas.openxmlformats.org/officeDocument/2006/relationships/slideMaster" Target="../slideMasters/slideMaster17.xml"/><Relationship Id="rId4" Type="http://schemas.openxmlformats.org/officeDocument/2006/relationships/image" Target="../media/image12.pn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png"/><Relationship Id="rId1" Type="http://schemas.openxmlformats.org/officeDocument/2006/relationships/slideMaster" Target="../slideMasters/slideMaster17.xml"/><Relationship Id="rId4" Type="http://schemas.openxmlformats.org/officeDocument/2006/relationships/image" Target="../media/image12.png"/></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2.png"/><Relationship Id="rId1" Type="http://schemas.openxmlformats.org/officeDocument/2006/relationships/slideMaster" Target="../slideMasters/slideMaster17.xml"/><Relationship Id="rId4" Type="http://schemas.openxmlformats.org/officeDocument/2006/relationships/image" Target="../media/image11.png"/></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7.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658948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8000551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677367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586952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673930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60817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780542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505587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065586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886214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67563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344720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51318716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54333201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133166679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127152338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68776780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pc="100" baseline="0">
                <a:solidFill>
                  <a:schemeClr val="tx1"/>
                </a:solidFill>
              </a:defRPr>
            </a:lvl3pPr>
            <a:lvl4pPr marL="914400" indent="-228600" defTabSz="762000">
              <a:buClr>
                <a:schemeClr val="tx2"/>
              </a:buClr>
              <a:defRPr spc="100" baseline="0">
                <a:solidFill>
                  <a:schemeClr val="tx1"/>
                </a:solidFill>
              </a:defRPr>
            </a:lvl4pPr>
            <a:lvl5pPr marL="1258888" indent="-228600" defTabSz="762000">
              <a:buClr>
                <a:schemeClr val="tx2"/>
              </a:buClr>
              <a:defRPr spc="10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4076778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457957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330901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90404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5190509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47145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9125526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Tree>
    <p:extLst>
      <p:ext uri="{BB962C8B-B14F-4D97-AF65-F5344CB8AC3E}">
        <p14:creationId xmlns:p14="http://schemas.microsoft.com/office/powerpoint/2010/main" val="200382707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15987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8013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393102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79891871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11582516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82998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abl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7870FC6-F50E-42D7-B5D9-299E58ACDB1B}"/>
              </a:ext>
            </a:extLst>
          </p:cNvPr>
          <p:cNvSpPr>
            <a:spLocks noGrp="1"/>
          </p:cNvSpPr>
          <p:nvPr>
            <p:ph sz="quarter" idx="10"/>
          </p:nvPr>
        </p:nvSpPr>
        <p:spPr>
          <a:xfrm>
            <a:off x="648730" y="1926174"/>
            <a:ext cx="10894537" cy="727700"/>
          </a:xfrm>
        </p:spPr>
        <p:txBody>
          <a:bodyPr/>
          <a:lstStyle/>
          <a:p>
            <a:pPr lvl="0"/>
            <a:endParaRPr lang="en-US"/>
          </a:p>
        </p:txBody>
      </p:sp>
      <p:sp>
        <p:nvSpPr>
          <p:cNvPr id="7" name="Title 6">
            <a:extLst>
              <a:ext uri="{FF2B5EF4-FFF2-40B4-BE49-F238E27FC236}">
                <a16:creationId xmlns:a16="http://schemas.microsoft.com/office/drawing/2014/main" id="{EC4F5F8F-32BE-4960-A9DA-291DF4CDAEB0}"/>
              </a:ext>
            </a:extLst>
          </p:cNvPr>
          <p:cNvSpPr>
            <a:spLocks noGrp="1"/>
          </p:cNvSpPr>
          <p:nvPr>
            <p:ph type="title"/>
          </p:nvPr>
        </p:nvSpPr>
        <p:spPr/>
        <p:txBody>
          <a:bodyPr/>
          <a:lstStyle>
            <a:lvl1pPr algn="ctr">
              <a:defRPr lang="en-US" sz="2399" b="0" kern="1200" cap="all" spc="1067"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426833765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 y="0"/>
            <a:ext cx="10383587" cy="754910"/>
          </a:xfrm>
        </p:spPr>
        <p:txBody>
          <a:bodyPr vert="horz" wrap="square" lIns="274320" tIns="182880" rIns="146304" bIns="91440" rtlCol="0" anchor="t" anchorCtr="0">
            <a:noAutofit/>
          </a:bodyPr>
          <a:lstStyle>
            <a:lvl1pPr>
              <a:defRPr lang="en-US" dirty="0"/>
            </a:lvl1pPr>
          </a:lstStyle>
          <a:p>
            <a:pPr lvl="0"/>
            <a:r>
              <a:rPr lang="en-US"/>
              <a:t>Click to edit Master title style</a:t>
            </a:r>
          </a:p>
        </p:txBody>
      </p:sp>
      <p:sp>
        <p:nvSpPr>
          <p:cNvPr id="5" name="Text Placeholder 4"/>
          <p:cNvSpPr>
            <a:spLocks noGrp="1"/>
          </p:cNvSpPr>
          <p:nvPr>
            <p:ph type="body" sz="quarter" idx="10"/>
          </p:nvPr>
        </p:nvSpPr>
        <p:spPr>
          <a:xfrm>
            <a:off x="269242" y="1220308"/>
            <a:ext cx="11550807" cy="5304081"/>
          </a:xfrm>
        </p:spPr>
        <p:txBody>
          <a:bodyPr>
            <a:normAutofit/>
          </a:bodyPr>
          <a:lstStyle>
            <a:lvl1pPr marL="210091" indent="-210091">
              <a:defRPr sz="2573"/>
            </a:lvl1pPr>
            <a:lvl2pPr marL="420181" indent="-210091">
              <a:defRPr sz="2206"/>
            </a:lvl2pPr>
            <a:lvl3pPr marL="630272" indent="-210091">
              <a:defRPr sz="1838"/>
            </a:lvl3pPr>
            <a:lvl4pPr marL="840362" indent="-210091">
              <a:defRPr sz="1655"/>
            </a:lvl4pPr>
            <a:lvl5pPr marL="1050453" indent="-210091">
              <a:defRPr sz="16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a:spLocks noGrp="1"/>
          </p:cNvSpPr>
          <p:nvPr>
            <p:ph type="ftr" sz="quarter" idx="3"/>
          </p:nvPr>
        </p:nvSpPr>
        <p:spPr>
          <a:xfrm>
            <a:off x="485056" y="6558797"/>
            <a:ext cx="3859607" cy="134483"/>
          </a:xfrm>
          <a:prstGeom prst="rect">
            <a:avLst/>
          </a:prstGeom>
        </p:spPr>
        <p:txBody>
          <a:bodyPr vert="horz" lIns="0" tIns="0" rIns="91440" bIns="0" rtlCol="0" anchor="ctr"/>
          <a:lstStyle>
            <a:lvl1pPr marL="0" algn="l" defTabSz="857219" rtl="0" eaLnBrk="1" latinLnBrk="0" hangingPunct="1">
              <a:defRPr lang="en-US" sz="827" kern="1200">
                <a:gradFill>
                  <a:gsLst>
                    <a:gs pos="2239">
                      <a:schemeClr val="tx1"/>
                    </a:gs>
                    <a:gs pos="11940">
                      <a:schemeClr val="tx1"/>
                    </a:gs>
                  </a:gsLst>
                  <a:lin ang="5400000" scaled="0"/>
                </a:gradFill>
                <a:latin typeface="+mn-lt"/>
                <a:ea typeface="+mn-ea"/>
                <a:cs typeface="+mn-cs"/>
              </a:defRPr>
            </a:lvl1pPr>
          </a:lstStyle>
          <a:p>
            <a:r>
              <a:rPr lang="en-US">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1"/>
          </p:nvPr>
        </p:nvSpPr>
        <p:spPr/>
        <p:txBody>
          <a:bodyPr/>
          <a:lstStyle/>
          <a:p>
            <a:pPr defTabSz="857219"/>
            <a:fld id="{27258FFF-F925-446B-8502-81C933981705}" type="slidenum">
              <a:rPr lang="en-US" smtClean="0">
                <a:gradFill>
                  <a:gsLst>
                    <a:gs pos="2239">
                      <a:srgbClr val="505050"/>
                    </a:gs>
                    <a:gs pos="11940">
                      <a:srgbClr val="505050"/>
                    </a:gs>
                  </a:gsLst>
                  <a:lin ang="5400000" scaled="0"/>
                </a:gradFill>
              </a:rPr>
              <a:pPr defTabSz="857219"/>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376642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8001246"/>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0225390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3FC7E-9D4A-42E1-860C-3F804A736E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EAD43B-64E1-4A8C-B00C-EC14223CE57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04DD9A-E08B-4058-8E85-170879353B9F}"/>
              </a:ext>
            </a:extLst>
          </p:cNvPr>
          <p:cNvSpPr>
            <a:spLocks noGrp="1"/>
          </p:cNvSpPr>
          <p:nvPr>
            <p:ph type="dt" sz="half" idx="10"/>
          </p:nvPr>
        </p:nvSpPr>
        <p:spPr/>
        <p:txBody>
          <a:bodyPr/>
          <a:lstStyle/>
          <a:p>
            <a:fld id="{E4F779B6-9EEB-42B5-B529-979E829227C8}" type="datetimeFigureOut">
              <a:rPr lang="en-US" smtClean="0"/>
              <a:t>10/28/2022</a:t>
            </a:fld>
            <a:endParaRPr lang="en-US"/>
          </a:p>
        </p:txBody>
      </p:sp>
      <p:sp>
        <p:nvSpPr>
          <p:cNvPr id="5" name="Footer Placeholder 4">
            <a:extLst>
              <a:ext uri="{FF2B5EF4-FFF2-40B4-BE49-F238E27FC236}">
                <a16:creationId xmlns:a16="http://schemas.microsoft.com/office/drawing/2014/main" id="{943895DE-EF74-4C36-8818-BAF30E776D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79A273-0794-42A8-B1E3-07FC1F2B6B24}"/>
              </a:ext>
            </a:extLst>
          </p:cNvPr>
          <p:cNvSpPr>
            <a:spLocks noGrp="1"/>
          </p:cNvSpPr>
          <p:nvPr>
            <p:ph type="sldNum" sz="quarter" idx="12"/>
          </p:nvPr>
        </p:nvSpPr>
        <p:spPr/>
        <p:txBody>
          <a:bodyPr/>
          <a:lstStyle/>
          <a:p>
            <a:fld id="{92F2683A-7CAF-4252-BBFA-EFD744323480}" type="slidenum">
              <a:rPr lang="en-US" smtClean="0"/>
              <a:t>‹#›</a:t>
            </a:fld>
            <a:endParaRPr lang="en-US"/>
          </a:p>
        </p:txBody>
      </p:sp>
    </p:spTree>
    <p:extLst>
      <p:ext uri="{BB962C8B-B14F-4D97-AF65-F5344CB8AC3E}">
        <p14:creationId xmlns:p14="http://schemas.microsoft.com/office/powerpoint/2010/main" val="289932015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62031622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1F8E8E-7B9A-1542-89D2-D72E4E855190}"/>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6706" r="14043" b="20749"/>
          <a:stretch/>
        </p:blipFill>
        <p:spPr>
          <a:xfrm>
            <a:off x="0" y="0"/>
            <a:ext cx="12192000" cy="6858000"/>
          </a:xfrm>
          <a:prstGeom prst="rect">
            <a:avLst/>
          </a:prstGeom>
        </p:spPr>
      </p:pic>
      <p:sp>
        <p:nvSpPr>
          <p:cNvPr id="8" name="Rectangle 7">
            <a:extLst>
              <a:ext uri="{FF2B5EF4-FFF2-40B4-BE49-F238E27FC236}">
                <a16:creationId xmlns:a16="http://schemas.microsoft.com/office/drawing/2014/main" id="{A5C67004-A593-2249-94DE-0B39E954E37F}"/>
              </a:ext>
            </a:extLst>
          </p:cNvPr>
          <p:cNvSpPr/>
          <p:nvPr userDrawn="1"/>
        </p:nvSpPr>
        <p:spPr bwMode="auto">
          <a:xfrm>
            <a:off x="0" y="0"/>
            <a:ext cx="11188700" cy="6858000"/>
          </a:xfrm>
          <a:prstGeom prst="rect">
            <a:avLst/>
          </a:prstGeom>
          <a:gradFill>
            <a:gsLst>
              <a:gs pos="49000">
                <a:schemeClr val="bg1">
                  <a:alpha val="60000"/>
                </a:schemeClr>
              </a:gs>
              <a:gs pos="9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3"/>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57966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lide white">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442CE1-C950-4F45-B4DA-9DE47E72D05F}"/>
              </a:ext>
            </a:extLst>
          </p:cNvPr>
          <p:cNvPicPr>
            <a:picLocks noChangeAspect="1"/>
          </p:cNvPicPr>
          <p:nvPr userDrawn="1"/>
        </p:nvPicPr>
        <p:blipFill rotWithShape="1">
          <a:blip r:embed="rId2"/>
          <a:srcRect t="36531" r="26846" b="1723"/>
          <a:stretch/>
        </p:blipFill>
        <p:spPr>
          <a:xfrm>
            <a:off x="0" y="0"/>
            <a:ext cx="12192000" cy="6858000"/>
          </a:xfrm>
          <a:prstGeom prst="rect">
            <a:avLst/>
          </a:prstGeom>
        </p:spPr>
      </p:pic>
      <p:sp>
        <p:nvSpPr>
          <p:cNvPr id="8" name="Rectangle 7">
            <a:extLst>
              <a:ext uri="{FF2B5EF4-FFF2-40B4-BE49-F238E27FC236}">
                <a16:creationId xmlns:a16="http://schemas.microsoft.com/office/drawing/2014/main" id="{A5C67004-A593-2249-94DE-0B39E954E37F}"/>
              </a:ext>
            </a:extLst>
          </p:cNvPr>
          <p:cNvSpPr/>
          <p:nvPr userDrawn="1"/>
        </p:nvSpPr>
        <p:spPr bwMode="auto">
          <a:xfrm>
            <a:off x="0" y="0"/>
            <a:ext cx="11954690" cy="6858000"/>
          </a:xfrm>
          <a:prstGeom prst="rect">
            <a:avLst/>
          </a:prstGeom>
          <a:gradFill>
            <a:gsLst>
              <a:gs pos="44000">
                <a:schemeClr val="bg1">
                  <a:alpha val="57000"/>
                </a:schemeClr>
              </a:gs>
              <a:gs pos="82000">
                <a:schemeClr val="bg1">
                  <a:alpha val="0"/>
                </a:schemeClr>
              </a:gs>
            </a:gsLst>
            <a:lin ang="1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29544" y="3029995"/>
            <a:ext cx="6022056"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6022056"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3"/>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00994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712929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19628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02448652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0" rIns="0" bIns="0" rtlCol="0" anchor="t">
            <a:noAutofit/>
          </a:bodyPr>
          <a:lstStyle>
            <a:lvl1pPr>
              <a:lnSpc>
                <a:spcPct val="100000"/>
              </a:lnSpc>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02326570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3EEFF5A-5F64-A848-A9FC-B7EF75724940}"/>
              </a:ext>
            </a:extLst>
          </p:cNvPr>
          <p:cNvSpPr/>
          <p:nvPr userDrawn="1"/>
        </p:nvSpPr>
        <p:spPr bwMode="auto">
          <a:xfrm>
            <a:off x="6118898" y="0"/>
            <a:ext cx="6096000" cy="6876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5134143"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440495"/>
            <a:ext cx="5145036" cy="739343"/>
          </a:xfrm>
          <a:prstGeom prst="rect">
            <a:avLst/>
          </a:prstGeom>
        </p:spPr>
        <p:txBody>
          <a:bodyPr vert="horz" wrap="square" lIns="0" tIns="0" rIns="0" bIns="0" rtlCol="0" anchor="t">
            <a:noAutofit/>
          </a:bodyPr>
          <a:lstStyle>
            <a:lvl1pPr>
              <a:lnSpc>
                <a:spcPct val="100000"/>
              </a:lnSpc>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2379170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4026244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35237739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02132727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80219822"/>
      </p:ext>
    </p:extLst>
  </p:cSld>
  <p:clrMapOvr>
    <a:masterClrMapping/>
  </p:clrMapOvr>
  <p:transition>
    <p:fade/>
  </p:transition>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75402682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08122673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42663286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8142022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0"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13876926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4947178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23579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895132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10/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170341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0575331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229304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25818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86398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58815811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237214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17272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39752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4915851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76764728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58677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42912933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75837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6795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3945409221"/>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9255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132843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84206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4867325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4271758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36166072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A189C-F897-4D47-BCF0-1DB50FDAA7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AEE7A5-BF26-4DAF-9B0D-4F2F4F1680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2214D5-81D0-4B71-8F48-48D6075320FC}"/>
              </a:ext>
            </a:extLst>
          </p:cNvPr>
          <p:cNvSpPr>
            <a:spLocks noGrp="1"/>
          </p:cNvSpPr>
          <p:nvPr>
            <p:ph type="dt" sz="half" idx="10"/>
          </p:nvPr>
        </p:nvSpPr>
        <p:spPr/>
        <p:txBody>
          <a:bodyPr/>
          <a:lstStyle/>
          <a:p>
            <a:fld id="{370A452E-CB04-406D-8C8C-8327CBB94A92}" type="datetimeFigureOut">
              <a:rPr lang="en-US" smtClean="0"/>
              <a:t>10/28/2022</a:t>
            </a:fld>
            <a:endParaRPr lang="en-US"/>
          </a:p>
        </p:txBody>
      </p:sp>
      <p:sp>
        <p:nvSpPr>
          <p:cNvPr id="5" name="Footer Placeholder 4">
            <a:extLst>
              <a:ext uri="{FF2B5EF4-FFF2-40B4-BE49-F238E27FC236}">
                <a16:creationId xmlns:a16="http://schemas.microsoft.com/office/drawing/2014/main" id="{16B6F9E4-31D3-4F7C-ADC5-0D76A2E56C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6679EB-2533-4A47-9DEC-B5A1249D5D62}"/>
              </a:ext>
            </a:extLst>
          </p:cNvPr>
          <p:cNvSpPr>
            <a:spLocks noGrp="1"/>
          </p:cNvSpPr>
          <p:nvPr>
            <p:ph type="sldNum" sz="quarter" idx="12"/>
          </p:nvPr>
        </p:nvSpPr>
        <p:spPr/>
        <p:txBody>
          <a:bodyPr/>
          <a:lstStyle/>
          <a:p>
            <a:fld id="{BE12819A-A300-4ECE-888A-1029346181F5}" type="slidenum">
              <a:rPr lang="en-US" smtClean="0"/>
              <a:t>‹#›</a:t>
            </a:fld>
            <a:endParaRPr lang="en-US"/>
          </a:p>
        </p:txBody>
      </p:sp>
    </p:spTree>
    <p:extLst>
      <p:ext uri="{BB962C8B-B14F-4D97-AF65-F5344CB8AC3E}">
        <p14:creationId xmlns:p14="http://schemas.microsoft.com/office/powerpoint/2010/main" val="344595971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304633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66895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2555658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15460384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820456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9670098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51281079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89847930"/>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719305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8173377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slide with blue Windows logo on whit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3DE48E-CA20-CEA2-7809-1909F04F51A5}"/>
              </a:ext>
            </a:extLst>
          </p:cNvPr>
          <p:cNvPicPr>
            <a:picLocks noChangeAspect="1"/>
          </p:cNvPicPr>
          <p:nvPr userDrawn="1"/>
        </p:nvPicPr>
        <p:blipFill>
          <a:blip r:embed="rId2"/>
          <a:stretch>
            <a:fillRect/>
          </a:stretch>
        </p:blipFill>
        <p:spPr>
          <a:xfrm>
            <a:off x="6362095" y="2996337"/>
            <a:ext cx="5829905" cy="3885334"/>
          </a:xfrm>
          <a:prstGeom prst="rect">
            <a:avLst/>
          </a:prstGeom>
        </p:spPr>
      </p:pic>
      <p:sp>
        <p:nvSpPr>
          <p:cNvPr id="4" name="TextBox 3">
            <a:extLst>
              <a:ext uri="{FF2B5EF4-FFF2-40B4-BE49-F238E27FC236}">
                <a16:creationId xmlns:a16="http://schemas.microsoft.com/office/drawing/2014/main" id="{E58448FC-5B40-176D-4D3F-3198A67043BC}"/>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
        <p:nvSpPr>
          <p:cNvPr id="15" name="Title 1"/>
          <p:cNvSpPr>
            <a:spLocks noGrp="1"/>
          </p:cNvSpPr>
          <p:nvPr>
            <p:ph type="title" hasCustomPrompt="1"/>
          </p:nvPr>
        </p:nvSpPr>
        <p:spPr>
          <a:xfrm>
            <a:off x="4806228" y="2921169"/>
            <a:ext cx="2579546" cy="1015663"/>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7333" b="0" kern="1200" cap="none" spc="-50" baseline="0" dirty="0">
                <a:ln w="3175">
                  <a:noFill/>
                </a:ln>
                <a:solidFill>
                  <a:srgbClr val="08023F"/>
                </a:solidFill>
                <a:effectLst/>
                <a:latin typeface="+mj-lt"/>
                <a:ea typeface="+mn-ea"/>
                <a:cs typeface="Segoe UI" pitchFamily="34" charset="0"/>
              </a:defRPr>
            </a:lvl1pPr>
          </a:lstStyle>
          <a:p>
            <a:r>
              <a:rPr lang="en-US" dirty="0"/>
              <a:t>Q &amp; A</a:t>
            </a:r>
          </a:p>
        </p:txBody>
      </p:sp>
      <p:pic>
        <p:nvPicPr>
          <p:cNvPr id="2" name="Picture 1">
            <a:extLst>
              <a:ext uri="{FF2B5EF4-FFF2-40B4-BE49-F238E27FC236}">
                <a16:creationId xmlns:a16="http://schemas.microsoft.com/office/drawing/2014/main" id="{2B2BD898-8C1A-EFEC-EE0B-7DB43AE9F8CF}"/>
              </a:ext>
            </a:extLst>
          </p:cNvPr>
          <p:cNvPicPr>
            <a:picLocks noChangeAspect="1"/>
          </p:cNvPicPr>
          <p:nvPr userDrawn="1"/>
        </p:nvPicPr>
        <p:blipFill>
          <a:blip r:embed="rId3"/>
          <a:stretch>
            <a:fillRect/>
          </a:stretch>
        </p:blipFill>
        <p:spPr>
          <a:xfrm>
            <a:off x="10533530" y="-33617"/>
            <a:ext cx="1381997" cy="1688188"/>
          </a:xfrm>
          <a:prstGeom prst="rect">
            <a:avLst/>
          </a:prstGeom>
        </p:spPr>
      </p:pic>
    </p:spTree>
    <p:extLst>
      <p:ext uri="{BB962C8B-B14F-4D97-AF65-F5344CB8AC3E}">
        <p14:creationId xmlns:p14="http://schemas.microsoft.com/office/powerpoint/2010/main" val="817953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15385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3215161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988818685"/>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200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482753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784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185395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96881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65305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11060178" cy="464078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2980837"/>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37E4AD-5E40-7B9E-EF6B-51E9C3CF6AAA}"/>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3" name="TextBox 2">
            <a:extLst>
              <a:ext uri="{FF2B5EF4-FFF2-40B4-BE49-F238E27FC236}">
                <a16:creationId xmlns:a16="http://schemas.microsoft.com/office/drawing/2014/main" id="{8901C681-4913-FBC0-A76C-8214176716AC}"/>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387161526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3"/>
          </a:xfrm>
        </p:spPr>
        <p:txBody>
          <a:bodyPr/>
          <a:lstStyle>
            <a:lvl1pPr marL="0" indent="0" algn="ctr">
              <a:buNone/>
              <a:defRPr sz="2400"/>
            </a:lvl1pPr>
            <a:lvl2pPr marL="457206" indent="0" algn="ctr">
              <a:buNone/>
              <a:defRPr sz="2000"/>
            </a:lvl2pPr>
            <a:lvl3pPr marL="914412" indent="0" algn="ctr">
              <a:buNone/>
              <a:defRPr sz="1800"/>
            </a:lvl3pPr>
            <a:lvl4pPr marL="1371617" indent="0" algn="ctr">
              <a:buNone/>
              <a:defRPr sz="1600"/>
            </a:lvl4pPr>
            <a:lvl5pPr marL="1828823" indent="0" algn="ctr">
              <a:buNone/>
              <a:defRPr sz="1600"/>
            </a:lvl5pPr>
            <a:lvl6pPr marL="2286029" indent="0" algn="ctr">
              <a:buNone/>
              <a:defRPr sz="1600"/>
            </a:lvl6pPr>
            <a:lvl7pPr marL="2743235" indent="0" algn="ctr">
              <a:buNone/>
              <a:defRPr sz="1600"/>
            </a:lvl7pPr>
            <a:lvl8pPr marL="3200440" indent="0" algn="ctr">
              <a:buNone/>
              <a:defRPr sz="1600"/>
            </a:lvl8pPr>
            <a:lvl9pPr marL="365764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451B78-826D-4FE9-99FE-428C8E62A634}" type="slidenum">
              <a:rPr lang="en-US" smtClean="0"/>
              <a:t>‹#›</a:t>
            </a:fld>
            <a:endParaRPr lang="en-US"/>
          </a:p>
        </p:txBody>
      </p:sp>
    </p:spTree>
    <p:extLst>
      <p:ext uri="{BB962C8B-B14F-4D97-AF65-F5344CB8AC3E}">
        <p14:creationId xmlns:p14="http://schemas.microsoft.com/office/powerpoint/2010/main" val="589560914"/>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451B78-826D-4FE9-99FE-428C8E62A634}" type="slidenum">
              <a:rPr lang="en-US" smtClean="0"/>
              <a:t>‹#›</a:t>
            </a:fld>
            <a:endParaRPr lang="en-US"/>
          </a:p>
        </p:txBody>
      </p:sp>
    </p:spTree>
    <p:extLst>
      <p:ext uri="{BB962C8B-B14F-4D97-AF65-F5344CB8AC3E}">
        <p14:creationId xmlns:p14="http://schemas.microsoft.com/office/powerpoint/2010/main" val="477266394"/>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8"/>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6" indent="0">
              <a:buNone/>
              <a:defRPr sz="2000">
                <a:solidFill>
                  <a:schemeClr val="tx1">
                    <a:tint val="75000"/>
                  </a:schemeClr>
                </a:solidFill>
              </a:defRPr>
            </a:lvl2pPr>
            <a:lvl3pPr marL="914412" indent="0">
              <a:buNone/>
              <a:defRPr sz="1800">
                <a:solidFill>
                  <a:schemeClr val="tx1">
                    <a:tint val="75000"/>
                  </a:schemeClr>
                </a:solidFill>
              </a:defRPr>
            </a:lvl3pPr>
            <a:lvl4pPr marL="1371617" indent="0">
              <a:buNone/>
              <a:defRPr sz="1600">
                <a:solidFill>
                  <a:schemeClr val="tx1">
                    <a:tint val="75000"/>
                  </a:schemeClr>
                </a:solidFill>
              </a:defRPr>
            </a:lvl4pPr>
            <a:lvl5pPr marL="1828823" indent="0">
              <a:buNone/>
              <a:defRPr sz="1600">
                <a:solidFill>
                  <a:schemeClr val="tx1">
                    <a:tint val="75000"/>
                  </a:schemeClr>
                </a:solidFill>
              </a:defRPr>
            </a:lvl5pPr>
            <a:lvl6pPr marL="2286029" indent="0">
              <a:buNone/>
              <a:defRPr sz="1600">
                <a:solidFill>
                  <a:schemeClr val="tx1">
                    <a:tint val="75000"/>
                  </a:schemeClr>
                </a:solidFill>
              </a:defRPr>
            </a:lvl6pPr>
            <a:lvl7pPr marL="2743235" indent="0">
              <a:buNone/>
              <a:defRPr sz="1600">
                <a:solidFill>
                  <a:schemeClr val="tx1">
                    <a:tint val="75000"/>
                  </a:schemeClr>
                </a:solidFill>
              </a:defRPr>
            </a:lvl7pPr>
            <a:lvl8pPr marL="3200440" indent="0">
              <a:buNone/>
              <a:defRPr sz="1600">
                <a:solidFill>
                  <a:schemeClr val="tx1">
                    <a:tint val="75000"/>
                  </a:schemeClr>
                </a:solidFill>
              </a:defRPr>
            </a:lvl8pPr>
            <a:lvl9pPr marL="3657646"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451B78-826D-4FE9-99FE-428C8E62A634}" type="slidenum">
              <a:rPr lang="en-US" smtClean="0"/>
              <a:t>‹#›</a:t>
            </a:fld>
            <a:endParaRPr lang="en-US"/>
          </a:p>
        </p:txBody>
      </p:sp>
    </p:spTree>
    <p:extLst>
      <p:ext uri="{BB962C8B-B14F-4D97-AF65-F5344CB8AC3E}">
        <p14:creationId xmlns:p14="http://schemas.microsoft.com/office/powerpoint/2010/main" val="3519204301"/>
      </p:ext>
    </p:extLst>
  </p:cSld>
  <p:clrMapOvr>
    <a:masterClrMapping/>
  </p:clrMapOvr>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451B78-826D-4FE9-99FE-428C8E62A634}" type="slidenum">
              <a:rPr lang="en-US" smtClean="0"/>
              <a:t>‹#›</a:t>
            </a:fld>
            <a:endParaRPr lang="en-US"/>
          </a:p>
        </p:txBody>
      </p:sp>
    </p:spTree>
    <p:extLst>
      <p:ext uri="{BB962C8B-B14F-4D97-AF65-F5344CB8AC3E}">
        <p14:creationId xmlns:p14="http://schemas.microsoft.com/office/powerpoint/2010/main" val="2766138163"/>
      </p:ext>
    </p:extLst>
  </p:cSld>
  <p:clrMapOvr>
    <a:masterClrMapping/>
  </p:clrMapOvr>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90" y="1681162"/>
            <a:ext cx="5157787" cy="823912"/>
          </a:xfrm>
        </p:spPr>
        <p:txBody>
          <a:bodyPr anchor="b"/>
          <a:lstStyle>
            <a:lvl1pPr marL="0" indent="0">
              <a:buNone/>
              <a:defRPr sz="2400" b="1"/>
            </a:lvl1pPr>
            <a:lvl2pPr marL="457206" indent="0">
              <a:buNone/>
              <a:defRPr sz="2000" b="1"/>
            </a:lvl2pPr>
            <a:lvl3pPr marL="914412" indent="0">
              <a:buNone/>
              <a:defRPr sz="1800" b="1"/>
            </a:lvl3pPr>
            <a:lvl4pPr marL="1371617" indent="0">
              <a:buNone/>
              <a:defRPr sz="1600" b="1"/>
            </a:lvl4pPr>
            <a:lvl5pPr marL="1828823" indent="0">
              <a:buNone/>
              <a:defRPr sz="1600" b="1"/>
            </a:lvl5pPr>
            <a:lvl6pPr marL="2286029" indent="0">
              <a:buNone/>
              <a:defRPr sz="1600" b="1"/>
            </a:lvl6pPr>
            <a:lvl7pPr marL="2743235"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2"/>
            <a:ext cx="5183188" cy="823912"/>
          </a:xfrm>
        </p:spPr>
        <p:txBody>
          <a:bodyPr anchor="b"/>
          <a:lstStyle>
            <a:lvl1pPr marL="0" indent="0">
              <a:buNone/>
              <a:defRPr sz="2400" b="1"/>
            </a:lvl1pPr>
            <a:lvl2pPr marL="457206" indent="0">
              <a:buNone/>
              <a:defRPr sz="2000" b="1"/>
            </a:lvl2pPr>
            <a:lvl3pPr marL="914412" indent="0">
              <a:buNone/>
              <a:defRPr sz="1800" b="1"/>
            </a:lvl3pPr>
            <a:lvl4pPr marL="1371617" indent="0">
              <a:buNone/>
              <a:defRPr sz="1600" b="1"/>
            </a:lvl4pPr>
            <a:lvl5pPr marL="1828823" indent="0">
              <a:buNone/>
              <a:defRPr sz="1600" b="1"/>
            </a:lvl5pPr>
            <a:lvl6pPr marL="2286029" indent="0">
              <a:buNone/>
              <a:defRPr sz="1600" b="1"/>
            </a:lvl6pPr>
            <a:lvl7pPr marL="2743235"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3451B78-826D-4FE9-99FE-428C8E62A634}" type="slidenum">
              <a:rPr lang="en-US" smtClean="0"/>
              <a:t>‹#›</a:t>
            </a:fld>
            <a:endParaRPr lang="en-US"/>
          </a:p>
        </p:txBody>
      </p:sp>
    </p:spTree>
    <p:extLst>
      <p:ext uri="{BB962C8B-B14F-4D97-AF65-F5344CB8AC3E}">
        <p14:creationId xmlns:p14="http://schemas.microsoft.com/office/powerpoint/2010/main" val="2118402188"/>
      </p:ext>
    </p:extLst>
  </p:cSld>
  <p:clrMapOvr>
    <a:masterClrMapping/>
  </p:clrMapOvr>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3451B78-826D-4FE9-99FE-428C8E62A634}" type="slidenum">
              <a:rPr lang="en-US" smtClean="0"/>
              <a:t>‹#›</a:t>
            </a:fld>
            <a:endParaRPr lang="en-US"/>
          </a:p>
        </p:txBody>
      </p:sp>
    </p:spTree>
    <p:extLst>
      <p:ext uri="{BB962C8B-B14F-4D97-AF65-F5344CB8AC3E}">
        <p14:creationId xmlns:p14="http://schemas.microsoft.com/office/powerpoint/2010/main" val="342007355"/>
      </p:ext>
    </p:extLst>
  </p:cSld>
  <p:clrMapOvr>
    <a:masterClrMapping/>
  </p:clrMapOvr>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3451B78-826D-4FE9-99FE-428C8E62A634}" type="slidenum">
              <a:rPr lang="en-US" smtClean="0"/>
              <a:t>‹#›</a:t>
            </a:fld>
            <a:endParaRPr lang="en-US"/>
          </a:p>
        </p:txBody>
      </p:sp>
    </p:spTree>
    <p:extLst>
      <p:ext uri="{BB962C8B-B14F-4D97-AF65-F5344CB8AC3E}">
        <p14:creationId xmlns:p14="http://schemas.microsoft.com/office/powerpoint/2010/main" val="3294130611"/>
      </p:ext>
    </p:extLst>
  </p:cSld>
  <p:clrMapOvr>
    <a:masterClrMapping/>
  </p:clrMapOvr>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8"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8" cy="3811588"/>
          </a:xfrm>
        </p:spPr>
        <p:txBody>
          <a:bodyPr/>
          <a:lstStyle>
            <a:lvl1pPr marL="0" indent="0">
              <a:buNone/>
              <a:defRPr sz="1600"/>
            </a:lvl1pPr>
            <a:lvl2pPr marL="457206" indent="0">
              <a:buNone/>
              <a:defRPr sz="1400"/>
            </a:lvl2pPr>
            <a:lvl3pPr marL="914412" indent="0">
              <a:buNone/>
              <a:defRPr sz="1200"/>
            </a:lvl3pPr>
            <a:lvl4pPr marL="1371617" indent="0">
              <a:buNone/>
              <a:defRPr sz="1000"/>
            </a:lvl4pPr>
            <a:lvl5pPr marL="1828823" indent="0">
              <a:buNone/>
              <a:defRPr sz="1000"/>
            </a:lvl5pPr>
            <a:lvl6pPr marL="2286029" indent="0">
              <a:buNone/>
              <a:defRPr sz="1000"/>
            </a:lvl6pPr>
            <a:lvl7pPr marL="2743235" indent="0">
              <a:buNone/>
              <a:defRPr sz="1000"/>
            </a:lvl7pPr>
            <a:lvl8pPr marL="3200440" indent="0">
              <a:buNone/>
              <a:defRPr sz="1000"/>
            </a:lvl8pPr>
            <a:lvl9pPr marL="3657646"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451B78-826D-4FE9-99FE-428C8E62A634}" type="slidenum">
              <a:rPr lang="en-US" smtClean="0"/>
              <a:t>‹#›</a:t>
            </a:fld>
            <a:endParaRPr lang="en-US"/>
          </a:p>
        </p:txBody>
      </p:sp>
    </p:spTree>
    <p:extLst>
      <p:ext uri="{BB962C8B-B14F-4D97-AF65-F5344CB8AC3E}">
        <p14:creationId xmlns:p14="http://schemas.microsoft.com/office/powerpoint/2010/main" val="976685862"/>
      </p:ext>
    </p:extLst>
  </p:cSld>
  <p:clrMapOvr>
    <a:masterClrMapping/>
  </p:clrMapOvr>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8"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6"/>
          </a:xfrm>
        </p:spPr>
        <p:txBody>
          <a:bodyPr anchor="t"/>
          <a:lstStyle>
            <a:lvl1pPr marL="0" indent="0">
              <a:buNone/>
              <a:defRPr sz="3200"/>
            </a:lvl1pPr>
            <a:lvl2pPr marL="457206" indent="0">
              <a:buNone/>
              <a:defRPr sz="2800"/>
            </a:lvl2pPr>
            <a:lvl3pPr marL="914412" indent="0">
              <a:buNone/>
              <a:defRPr sz="2400"/>
            </a:lvl3pPr>
            <a:lvl4pPr marL="1371617" indent="0">
              <a:buNone/>
              <a:defRPr sz="2000"/>
            </a:lvl4pPr>
            <a:lvl5pPr marL="1828823" indent="0">
              <a:buNone/>
              <a:defRPr sz="2000"/>
            </a:lvl5pPr>
            <a:lvl6pPr marL="2286029" indent="0">
              <a:buNone/>
              <a:defRPr sz="2000"/>
            </a:lvl6pPr>
            <a:lvl7pPr marL="2743235" indent="0">
              <a:buNone/>
              <a:defRPr sz="2000"/>
            </a:lvl7pPr>
            <a:lvl8pPr marL="3200440" indent="0">
              <a:buNone/>
              <a:defRPr sz="2000"/>
            </a:lvl8pPr>
            <a:lvl9pPr marL="3657646" indent="0">
              <a:buNone/>
              <a:defRPr sz="2000"/>
            </a:lvl9pPr>
          </a:lstStyle>
          <a:p>
            <a:r>
              <a:rPr lang="en-US"/>
              <a:t>Click icon to add picture</a:t>
            </a:r>
          </a:p>
        </p:txBody>
      </p:sp>
      <p:sp>
        <p:nvSpPr>
          <p:cNvPr id="4" name="Text Placeholder 3"/>
          <p:cNvSpPr>
            <a:spLocks noGrp="1"/>
          </p:cNvSpPr>
          <p:nvPr>
            <p:ph type="body" sz="half" idx="2"/>
          </p:nvPr>
        </p:nvSpPr>
        <p:spPr>
          <a:xfrm>
            <a:off x="839788" y="2057401"/>
            <a:ext cx="3932238" cy="3811588"/>
          </a:xfrm>
        </p:spPr>
        <p:txBody>
          <a:bodyPr/>
          <a:lstStyle>
            <a:lvl1pPr marL="0" indent="0">
              <a:buNone/>
              <a:defRPr sz="1600"/>
            </a:lvl1pPr>
            <a:lvl2pPr marL="457206" indent="0">
              <a:buNone/>
              <a:defRPr sz="1400"/>
            </a:lvl2pPr>
            <a:lvl3pPr marL="914412" indent="0">
              <a:buNone/>
              <a:defRPr sz="1200"/>
            </a:lvl3pPr>
            <a:lvl4pPr marL="1371617" indent="0">
              <a:buNone/>
              <a:defRPr sz="1000"/>
            </a:lvl4pPr>
            <a:lvl5pPr marL="1828823" indent="0">
              <a:buNone/>
              <a:defRPr sz="1000"/>
            </a:lvl5pPr>
            <a:lvl6pPr marL="2286029" indent="0">
              <a:buNone/>
              <a:defRPr sz="1000"/>
            </a:lvl6pPr>
            <a:lvl7pPr marL="2743235" indent="0">
              <a:buNone/>
              <a:defRPr sz="1000"/>
            </a:lvl7pPr>
            <a:lvl8pPr marL="3200440" indent="0">
              <a:buNone/>
              <a:defRPr sz="1000"/>
            </a:lvl8pPr>
            <a:lvl9pPr marL="3657646"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451B78-826D-4FE9-99FE-428C8E62A634}" type="slidenum">
              <a:rPr lang="en-US" smtClean="0"/>
              <a:t>‹#›</a:t>
            </a:fld>
            <a:endParaRPr lang="en-US"/>
          </a:p>
        </p:txBody>
      </p:sp>
    </p:spTree>
    <p:extLst>
      <p:ext uri="{BB962C8B-B14F-4D97-AF65-F5344CB8AC3E}">
        <p14:creationId xmlns:p14="http://schemas.microsoft.com/office/powerpoint/2010/main" val="1049595796"/>
      </p:ext>
    </p:extLst>
  </p:cSld>
  <p:clrMapOvr>
    <a:masterClrMapping/>
  </p:clrMapOvr>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451B78-826D-4FE9-99FE-428C8E62A634}" type="slidenum">
              <a:rPr lang="en-US" smtClean="0"/>
              <a:t>‹#›</a:t>
            </a:fld>
            <a:endParaRPr lang="en-US"/>
          </a:p>
        </p:txBody>
      </p:sp>
    </p:spTree>
    <p:extLst>
      <p:ext uri="{BB962C8B-B14F-4D97-AF65-F5344CB8AC3E}">
        <p14:creationId xmlns:p14="http://schemas.microsoft.com/office/powerpoint/2010/main" val="426285435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007121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25467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451B78-826D-4FE9-99FE-428C8E62A634}" type="slidenum">
              <a:rPr lang="en-US" smtClean="0"/>
              <a:t>‹#›</a:t>
            </a:fld>
            <a:endParaRPr lang="en-US"/>
          </a:p>
        </p:txBody>
      </p:sp>
    </p:spTree>
    <p:extLst>
      <p:ext uri="{BB962C8B-B14F-4D97-AF65-F5344CB8AC3E}">
        <p14:creationId xmlns:p14="http://schemas.microsoft.com/office/powerpoint/2010/main" val="1991191036"/>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Full">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97513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A8664-44D7-4DCC-92D3-D545E4900AE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5BC588B-9F49-45E0-9132-BA5A23F234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3678BE-BE27-4733-A2A8-70B435089856}"/>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07E16A34-30F2-4280-AF83-E59F1CEF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308DB3-32A3-43F1-9116-61F67DA4CEA5}"/>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230505363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E5029-5666-4948-8AFA-7335DEB2AE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F20A3D-06F5-4693-B77B-056761C226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3A255C-90F8-4EDF-9200-B60726C6CD10}"/>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F650EF42-43BC-4B29-B1C9-FAFBF54B60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1BA073-0E68-4B70-839B-C22ED25FE3C7}"/>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194931519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146A3-51B3-426D-B4DF-E1E316F0EFC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431C86-8041-44D9-AAB8-3651EB1E95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7E67870-271C-4A00-B7E2-6290E711B14D}"/>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65BE4CB9-5BAC-48D4-9A8D-725937CF00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602568-6048-4E33-9F60-23662B5323AD}"/>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211575541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B5838-E377-49E0-AAF4-5472AD4FE4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109945-02E0-4C05-BCA5-F13180B837A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1388FBD-596D-4C0A-A53F-D0CBD8CEE35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6847D5F-9921-48C2-973D-0571C3CC88D0}"/>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6" name="Footer Placeholder 5">
            <a:extLst>
              <a:ext uri="{FF2B5EF4-FFF2-40B4-BE49-F238E27FC236}">
                <a16:creationId xmlns:a16="http://schemas.microsoft.com/office/drawing/2014/main" id="{FAB0A68D-FBDC-4861-8DF7-A01F585195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8BFE24-8255-4B81-AD4A-C2655698B783}"/>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204532746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0817A-82BC-4284-98BE-4E39C2E89D9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DB13BC6-0C08-4A7D-8E34-1E217AA364F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0BA0A8C-9750-4168-BD38-FC91279A7A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33353C-56B0-4F41-A5C0-85F6EC665BC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561C465-3352-4D4B-90FA-AB51C5517F7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699C82F-C118-467A-8347-3940AB3AF5AF}"/>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8" name="Footer Placeholder 7">
            <a:extLst>
              <a:ext uri="{FF2B5EF4-FFF2-40B4-BE49-F238E27FC236}">
                <a16:creationId xmlns:a16="http://schemas.microsoft.com/office/drawing/2014/main" id="{59189682-7356-4940-B346-D86FFFAA7D5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B370201-0510-4C31-B82F-4E97C2ACA4AC}"/>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20133841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007D1-786F-45A6-9DE8-637E6F7524C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20851EA-EC72-43F2-8330-DAF173B8B26F}"/>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4" name="Footer Placeholder 3">
            <a:extLst>
              <a:ext uri="{FF2B5EF4-FFF2-40B4-BE49-F238E27FC236}">
                <a16:creationId xmlns:a16="http://schemas.microsoft.com/office/drawing/2014/main" id="{0DC0EDA2-F4F2-4EED-86B4-97D041CE097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C48E8-3A1A-4C80-97A8-B3FC46B75045}"/>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320962236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CCEAA61-F81E-4F80-8CA6-B2A6229234A3}"/>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3" name="Footer Placeholder 2">
            <a:extLst>
              <a:ext uri="{FF2B5EF4-FFF2-40B4-BE49-F238E27FC236}">
                <a16:creationId xmlns:a16="http://schemas.microsoft.com/office/drawing/2014/main" id="{D6F8EDAB-5BE1-43F5-91ED-EBE9942ABD9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0445FE7-9D5F-413C-A3A0-D3F2D0D59FE8}"/>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174341842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C950B-7E29-4511-8440-A3AC645E8C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403A24-5078-4ADC-8C16-FBFD94AC4E8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D4F9109-AD39-4A57-9342-263866E3CB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29D1BF-EBF6-484F-8228-84F05A0F1B7B}"/>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6" name="Footer Placeholder 5">
            <a:extLst>
              <a:ext uri="{FF2B5EF4-FFF2-40B4-BE49-F238E27FC236}">
                <a16:creationId xmlns:a16="http://schemas.microsoft.com/office/drawing/2014/main" id="{F146FE8F-976C-4939-A0B1-80C4FC9DFB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3F31D8-E499-417A-9ACC-BB9B79E39BDB}"/>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20322932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00655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58501-832F-40C0-81D1-8DCAB89052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2D040CC-7F72-499F-82C7-BE8F81A3745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9D3E1C7-F9BD-4A68-8981-EBBAD43405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73FBFD-A838-4B98-99EB-25DB0931D529}"/>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6" name="Footer Placeholder 5">
            <a:extLst>
              <a:ext uri="{FF2B5EF4-FFF2-40B4-BE49-F238E27FC236}">
                <a16:creationId xmlns:a16="http://schemas.microsoft.com/office/drawing/2014/main" id="{5EF6F3C0-29D8-4AB3-991E-2BAC419261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D204746-A07F-4CCB-B064-A7260CD358F1}"/>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109206590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27BB6-339A-4415-9891-5B41D85853D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50E4D4-8164-43F3-B297-CB57AB2D58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D4CA9D-DB14-49F6-AD1E-889727E85640}"/>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8DA7162F-E99A-4200-9A44-BB205CE171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1B70FE-726F-4566-AC41-EAD724450EE7}"/>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342056155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A15228-9B59-4060-98B8-D0494CF2647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CC4F2F-8BB0-4F26-B4C7-E0B9A5D6411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87872B-11BE-4FFB-B838-87B8B97701D4}"/>
              </a:ext>
            </a:extLst>
          </p:cNvPr>
          <p:cNvSpPr>
            <a:spLocks noGrp="1"/>
          </p:cNvSpPr>
          <p:nvPr>
            <p:ph type="dt" sz="half" idx="10"/>
          </p:nvPr>
        </p:nvSpPr>
        <p:spPr/>
        <p:txBody>
          <a:body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5F6DC6C6-6CDC-4C6D-AD99-6743636724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0708F7-8F56-46CC-A4C5-EB1908157AB8}"/>
              </a:ext>
            </a:extLst>
          </p:cNvPr>
          <p:cNvSpPr>
            <a:spLocks noGrp="1"/>
          </p:cNvSpPr>
          <p:nvPr>
            <p:ph type="sldNum" sz="quarter" idx="12"/>
          </p:nvPr>
        </p:nvSpPr>
        <p:spPr/>
        <p:txBody>
          <a:bodyPr/>
          <a:lstStyle/>
          <a:p>
            <a:fld id="{619DB4DD-8794-4E01-A53B-0B752C76B83B}" type="slidenum">
              <a:rPr lang="en-US" smtClean="0"/>
              <a:t>‹#›</a:t>
            </a:fld>
            <a:endParaRPr lang="en-US"/>
          </a:p>
        </p:txBody>
      </p:sp>
    </p:spTree>
    <p:extLst>
      <p:ext uri="{BB962C8B-B14F-4D97-AF65-F5344CB8AC3E}">
        <p14:creationId xmlns:p14="http://schemas.microsoft.com/office/powerpoint/2010/main" val="246556315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311587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211343776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14612750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14120735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706531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393460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56"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6"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4" name="Text Placeholder 3"/>
          <p:cNvSpPr>
            <a:spLocks noGrp="1"/>
          </p:cNvSpPr>
          <p:nvPr>
            <p:ph type="body" sz="quarter" idx="10"/>
          </p:nvPr>
        </p:nvSpPr>
        <p:spPr>
          <a:xfrm>
            <a:off x="580475" y="1710610"/>
            <a:ext cx="11029033" cy="44158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42354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07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17218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Ask Questions : http://aka.ms/cosmos-qa</a:t>
            </a:r>
          </a:p>
        </p:txBody>
      </p:sp>
      <p:sp>
        <p:nvSpPr>
          <p:cNvPr id="6" name="Slide Number Placeholder 5"/>
          <p:cNvSpPr>
            <a:spLocks noGrp="1"/>
          </p:cNvSpPr>
          <p:nvPr>
            <p:ph type="sldNum" sz="quarter" idx="12"/>
          </p:nvPr>
        </p:nvSpPr>
        <p:spPr/>
        <p:txBody>
          <a:bodyPr/>
          <a:lstStyle/>
          <a:p>
            <a:fld id="{1C8EB9E8-CA3A-4349-8165-A1A8FED2E9F7}" type="slidenum">
              <a:rPr lang="en-US" smtClean="0"/>
              <a:t>‹#›</a:t>
            </a:fld>
            <a:endParaRPr lang="en-US"/>
          </a:p>
        </p:txBody>
      </p:sp>
    </p:spTree>
    <p:extLst>
      <p:ext uri="{BB962C8B-B14F-4D97-AF65-F5344CB8AC3E}">
        <p14:creationId xmlns:p14="http://schemas.microsoft.com/office/powerpoint/2010/main" val="374424695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Ask Questions : http://aka.ms/cosmos-qa</a:t>
            </a:r>
          </a:p>
        </p:txBody>
      </p:sp>
      <p:sp>
        <p:nvSpPr>
          <p:cNvPr id="6" name="Slide Number Placeholder 5"/>
          <p:cNvSpPr>
            <a:spLocks noGrp="1"/>
          </p:cNvSpPr>
          <p:nvPr>
            <p:ph type="sldNum" sz="quarter" idx="12"/>
          </p:nvPr>
        </p:nvSpPr>
        <p:spPr/>
        <p:txBody>
          <a:bodyPr/>
          <a:lstStyle/>
          <a:p>
            <a:fld id="{1C8EB9E8-CA3A-4349-8165-A1A8FED2E9F7}" type="slidenum">
              <a:rPr lang="en-US" smtClean="0"/>
              <a:t>‹#›</a:t>
            </a:fld>
            <a:endParaRPr lang="en-US"/>
          </a:p>
        </p:txBody>
      </p:sp>
    </p:spTree>
    <p:extLst>
      <p:ext uri="{BB962C8B-B14F-4D97-AF65-F5344CB8AC3E}">
        <p14:creationId xmlns:p14="http://schemas.microsoft.com/office/powerpoint/2010/main" val="32963329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Ask Questions : http://aka.ms/cosmos-qa</a:t>
            </a:r>
          </a:p>
        </p:txBody>
      </p:sp>
      <p:sp>
        <p:nvSpPr>
          <p:cNvPr id="4" name="Slide Number Placeholder 3"/>
          <p:cNvSpPr>
            <a:spLocks noGrp="1"/>
          </p:cNvSpPr>
          <p:nvPr>
            <p:ph type="sldNum" sz="quarter" idx="12"/>
          </p:nvPr>
        </p:nvSpPr>
        <p:spPr/>
        <p:txBody>
          <a:bodyPr/>
          <a:lstStyle/>
          <a:p>
            <a:fld id="{1C8EB9E8-CA3A-4349-8165-A1A8FED2E9F7}" type="slidenum">
              <a:rPr lang="en-US" smtClean="0"/>
              <a:t>‹#›</a:t>
            </a:fld>
            <a:endParaRPr lang="en-US"/>
          </a:p>
        </p:txBody>
      </p:sp>
    </p:spTree>
    <p:extLst>
      <p:ext uri="{BB962C8B-B14F-4D97-AF65-F5344CB8AC3E}">
        <p14:creationId xmlns:p14="http://schemas.microsoft.com/office/powerpoint/2010/main" val="198668190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58570" y="1344828"/>
            <a:ext cx="11474238" cy="1827423"/>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062126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554608814"/>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7045484"/>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Full">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557080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1596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1435675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2" y="457200"/>
            <a:ext cx="11333537"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1817225"/>
            <a:ext cx="5486400" cy="1785216"/>
          </a:xfrm>
        </p:spPr>
        <p:txBody>
          <a:bodyPr/>
          <a:lstStyle>
            <a:lvl1pPr>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1817225"/>
            <a:ext cx="5486400" cy="430901"/>
          </a:xfrm>
        </p:spPr>
        <p:txBody>
          <a:bodyPr/>
          <a:lstStyle/>
          <a:p>
            <a:endParaRPr lang="en-US"/>
          </a:p>
        </p:txBody>
      </p:sp>
    </p:spTree>
    <p:extLst>
      <p:ext uri="{BB962C8B-B14F-4D97-AF65-F5344CB8AC3E}">
        <p14:creationId xmlns:p14="http://schemas.microsoft.com/office/powerpoint/2010/main" val="33966470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7704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02870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944937"/>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195771980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39527985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091720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1944372"/>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108445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4969059"/>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37325620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10231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20023235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marL="0" lvl="0" defTabSz="914400"/>
            <a:r>
              <a:rPr lang="en-US"/>
              <a:t>Edit Master text styles</a:t>
            </a:r>
          </a:p>
        </p:txBody>
      </p:sp>
    </p:spTree>
    <p:extLst>
      <p:ext uri="{BB962C8B-B14F-4D97-AF65-F5344CB8AC3E}">
        <p14:creationId xmlns:p14="http://schemas.microsoft.com/office/powerpoint/2010/main" val="2967104129"/>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2321254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687440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1.1">
            <a:extLst>
              <a:ext uri="{FF2B5EF4-FFF2-40B4-BE49-F238E27FC236}">
                <a16:creationId xmlns:a16="http://schemas.microsoft.com/office/drawing/2014/main" id="{0692D27C-E9B1-4F10-A131-1F7A7CF8A999}"/>
              </a:ext>
            </a:extLst>
          </p:cNvPr>
          <p:cNvPicPr>
            <a:picLocks noChangeAspect="1"/>
          </p:cNvPicPr>
          <p:nvPr userDrawn="1"/>
        </p:nvPicPr>
        <p:blipFill>
          <a:blip r:embed="rId2"/>
          <a:stretch>
            <a:fillRect/>
          </a:stretch>
        </p:blipFill>
        <p:spPr>
          <a:xfrm>
            <a:off x="1731" y="-1867"/>
            <a:ext cx="12190271" cy="6859866"/>
          </a:xfrm>
          <a:prstGeom prst="rect">
            <a:avLst/>
          </a:prstGeom>
        </p:spPr>
      </p:pic>
      <p:sp>
        <p:nvSpPr>
          <p:cNvPr id="7" name="Rectangle 6">
            <a:hlinkClick r:id="" action="ppaction://hlinkshowjump?jump=nextslide"/>
            <a:extLst>
              <a:ext uri="{FF2B5EF4-FFF2-40B4-BE49-F238E27FC236}">
                <a16:creationId xmlns:a16="http://schemas.microsoft.com/office/drawing/2014/main" id="{368BB1AC-D993-4330-8948-9A957C5A17F1}"/>
              </a:ext>
            </a:extLst>
          </p:cNvPr>
          <p:cNvSpPr/>
          <p:nvPr userDrawn="1"/>
        </p:nvSpPr>
        <p:spPr>
          <a:xfrm>
            <a:off x="5209" y="-4665"/>
            <a:ext cx="12190272" cy="6862665"/>
          </a:xfrm>
          <a:prstGeom prst="rect">
            <a:avLst/>
          </a:prstGeom>
          <a:solidFill>
            <a:srgbClr val="000000">
              <a:alpha val="45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896021">
              <a:defRPr/>
            </a:pPr>
            <a:endParaRPr lang="en-US" sz="1728">
              <a:solidFill>
                <a:srgbClr val="F1EFED"/>
              </a:solidFill>
              <a:latin typeface="Segoe UI"/>
            </a:endParaRPr>
          </a:p>
        </p:txBody>
      </p:sp>
      <p:pic>
        <p:nvPicPr>
          <p:cNvPr id="8" name="MS logo white - EMF" descr="Microsoft logo white text version">
            <a:extLst>
              <a:ext uri="{FF2B5EF4-FFF2-40B4-BE49-F238E27FC236}">
                <a16:creationId xmlns:a16="http://schemas.microsoft.com/office/drawing/2014/main" id="{99B1E30F-0767-4576-9330-3013848CA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35090" y="436366"/>
            <a:ext cx="896425" cy="192014"/>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14954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337050523"/>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4218810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4224207793"/>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8644516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169634242"/>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1"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556" indent="0">
              <a:buNone/>
              <a:defRPr sz="1400">
                <a:solidFill>
                  <a:schemeClr val="bg1"/>
                </a:solidFill>
              </a:defRPr>
            </a:lvl2pPr>
            <a:lvl3pPr marL="457112" indent="0">
              <a:buNone/>
              <a:defRPr sz="1100">
                <a:solidFill>
                  <a:schemeClr val="bg1"/>
                </a:solidFill>
              </a:defRPr>
            </a:lvl3pPr>
            <a:lvl4pPr marL="685668" indent="0">
              <a:buNone/>
              <a:defRPr sz="1050">
                <a:solidFill>
                  <a:schemeClr val="bg1"/>
                </a:solidFill>
              </a:defRPr>
            </a:lvl4pPr>
            <a:lvl5pPr marL="914225"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1108121"/>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2756381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49684953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27777412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959067889"/>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6166002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80012996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36CCEB-13AF-435C-AC15-23D9626A6D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381063"/>
            <a:ext cx="1835681" cy="393285"/>
          </a:xfrm>
          <a:prstGeom prst="rect">
            <a:avLst/>
          </a:prstGeom>
        </p:spPr>
      </p:pic>
      <p:sp>
        <p:nvSpPr>
          <p:cNvPr id="7" name="Text Box 3">
            <a:extLst>
              <a:ext uri="{FF2B5EF4-FFF2-40B4-BE49-F238E27FC236}">
                <a16:creationId xmlns:a16="http://schemas.microsoft.com/office/drawing/2014/main" id="{20577CE2-4BF2-4C2C-8214-A987EC634405}"/>
              </a:ext>
            </a:extLst>
          </p:cNvPr>
          <p:cNvSpPr txBox="1">
            <a:spLocks noChangeArrowheads="1"/>
          </p:cNvSpPr>
          <p:nvPr userDrawn="1"/>
        </p:nvSpPr>
        <p:spPr bwMode="blackWhite">
          <a:xfrm>
            <a:off x="448213" y="6304727"/>
            <a:ext cx="2102655" cy="105619"/>
          </a:xfrm>
          <a:prstGeom prst="rect">
            <a:avLst/>
          </a:prstGeom>
          <a:noFill/>
          <a:ln w="12700">
            <a:noFill/>
            <a:miter lim="800000"/>
            <a:headEnd type="none" w="sm" len="sm"/>
            <a:tailEnd type="none" w="sm" len="sm"/>
          </a:ln>
          <a:effectLst/>
        </p:spPr>
        <p:txBody>
          <a:bodyPr vert="horz" wrap="non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5748267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33526915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x">
  <p:cSld name="3_Blank">
    <p:bg>
      <p:bgPr>
        <a:solidFill>
          <a:srgbClr val="FFFFFF"/>
        </a:solidFill>
        <a:effectLst/>
      </p:bgPr>
    </p:bg>
    <p:spTree>
      <p:nvGrpSpPr>
        <p:cNvPr id="1" name=""/>
        <p:cNvGrpSpPr/>
        <p:nvPr/>
      </p:nvGrpSpPr>
      <p:grpSpPr>
        <a:xfrm>
          <a:off x="0" y="0"/>
          <a:ext cx="0" cy="0"/>
          <a:chOff x="0" y="0"/>
          <a:chExt cx="0" cy="0"/>
        </a:xfrm>
      </p:grpSpPr>
      <p:sp>
        <p:nvSpPr>
          <p:cNvPr id="413" name="Slide Number"/>
          <p:cNvSpPr>
            <a:spLocks noGrp="1"/>
          </p:cNvSpPr>
          <p:nvPr>
            <p:ph type="sldNum" sz="quarter" idx="2"/>
          </p:nvPr>
        </p:nvSpPr>
        <p:spPr>
          <a:xfrm>
            <a:off x="11105193" y="6412611"/>
            <a:ext cx="248609" cy="252604"/>
          </a:xfrm>
          <a:prstGeom prst="rect">
            <a:avLst/>
          </a:prstGeom>
        </p:spPr>
        <p:txBody>
          <a:bodyPr lIns="34289" tIns="34289" rIns="34289" bIns="34289"/>
          <a:lstStyle>
            <a:lvl1pPr defTabSz="914246">
              <a:defRPr sz="1200">
                <a:latin typeface="Calibri"/>
                <a:ea typeface="Calibri"/>
                <a:cs typeface="Calibri"/>
                <a:sym typeface="Calibri"/>
              </a:defRPr>
            </a:lvl1pPr>
          </a:lstStyle>
          <a:p>
            <a:fld id="{86CB4B4D-7CA3-9044-876B-883B54F8677D}" type="slidenum">
              <a:t>‹#›</a:t>
            </a:fld>
            <a:endParaRPr/>
          </a:p>
        </p:txBody>
      </p:sp>
    </p:spTree>
    <p:extLst>
      <p:ext uri="{BB962C8B-B14F-4D97-AF65-F5344CB8AC3E}">
        <p14:creationId xmlns:p14="http://schemas.microsoft.com/office/powerpoint/2010/main" val="2164261202"/>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1378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E5FA2C-F9FC-45B1-86C9-E52FF3E70B9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BD288407-4D4A-4004-85D6-6327E86ABDB9}"/>
              </a:ext>
            </a:extLst>
          </p:cNvPr>
          <p:cNvSpPr>
            <a:spLocks noGrp="1"/>
          </p:cNvSpPr>
          <p:nvPr>
            <p:ph type="ftr" sz="quarter" idx="11"/>
          </p:nvPr>
        </p:nvSpPr>
        <p:spPr/>
        <p:txBody>
          <a:bodyPr/>
          <a:lstStyle/>
          <a:p>
            <a:r>
              <a:rPr lang="en-US"/>
              <a:t>Ask Questions : http://aka.ms/cosmos-qa</a:t>
            </a:r>
          </a:p>
        </p:txBody>
      </p:sp>
      <p:sp>
        <p:nvSpPr>
          <p:cNvPr id="4" name="Slide Number Placeholder 3">
            <a:extLst>
              <a:ext uri="{FF2B5EF4-FFF2-40B4-BE49-F238E27FC236}">
                <a16:creationId xmlns:a16="http://schemas.microsoft.com/office/drawing/2014/main" id="{C904BDB0-75F8-4DAC-B0F1-7E6A4FA0E2B1}"/>
              </a:ext>
            </a:extLst>
          </p:cNvPr>
          <p:cNvSpPr>
            <a:spLocks noGrp="1"/>
          </p:cNvSpPr>
          <p:nvPr>
            <p:ph type="sldNum" sz="quarter" idx="12"/>
          </p:nvPr>
        </p:nvSpPr>
        <p:spPr/>
        <p:txBody>
          <a:bodyPr/>
          <a:lstStyle/>
          <a:p>
            <a:fld id="{513B251B-62A0-4F7E-92F3-6D9D12F36870}" type="slidenum">
              <a:rPr lang="en-US" smtClean="0"/>
              <a:t>‹#›</a:t>
            </a:fld>
            <a:endParaRPr lang="en-US"/>
          </a:p>
        </p:txBody>
      </p:sp>
    </p:spTree>
    <p:extLst>
      <p:ext uri="{BB962C8B-B14F-4D97-AF65-F5344CB8AC3E}">
        <p14:creationId xmlns:p14="http://schemas.microsoft.com/office/powerpoint/2010/main" val="21036022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5358720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48230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58631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3B0D5-61A9-4BE9-9C82-5E02B38C92E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5C6DADA-0EEE-4F87-9716-44C2486B77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7161DA0-9994-4622-803C-AA7B69B21EB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2DC2212-C7C2-4EC9-8C57-D4141F9C1655}"/>
              </a:ext>
            </a:extLst>
          </p:cNvPr>
          <p:cNvSpPr>
            <a:spLocks noGrp="1"/>
          </p:cNvSpPr>
          <p:nvPr>
            <p:ph type="ftr" sz="quarter" idx="11"/>
          </p:nvPr>
        </p:nvSpPr>
        <p:spPr/>
        <p:txBody>
          <a:bodyPr/>
          <a:lstStyle/>
          <a:p>
            <a:r>
              <a:rPr lang="en-US"/>
              <a:t>Ask Questions : http://aka.ms/cosmos-qa</a:t>
            </a:r>
          </a:p>
        </p:txBody>
      </p:sp>
      <p:sp>
        <p:nvSpPr>
          <p:cNvPr id="6" name="Slide Number Placeholder 5">
            <a:extLst>
              <a:ext uri="{FF2B5EF4-FFF2-40B4-BE49-F238E27FC236}">
                <a16:creationId xmlns:a16="http://schemas.microsoft.com/office/drawing/2014/main" id="{8D6B7C57-19B8-478E-86F8-414F0D985DE5}"/>
              </a:ext>
            </a:extLst>
          </p:cNvPr>
          <p:cNvSpPr>
            <a:spLocks noGrp="1"/>
          </p:cNvSpPr>
          <p:nvPr>
            <p:ph type="sldNum" sz="quarter" idx="12"/>
          </p:nvPr>
        </p:nvSpPr>
        <p:spPr/>
        <p:txBody>
          <a:bodyPr/>
          <a:lstStyle/>
          <a:p>
            <a:fld id="{45FC3499-EBE7-4CB5-BC0F-9AD89AF3BE99}" type="slidenum">
              <a:rPr lang="en-US" smtClean="0"/>
              <a:t>‹#›</a:t>
            </a:fld>
            <a:endParaRPr lang="en-US"/>
          </a:p>
        </p:txBody>
      </p:sp>
    </p:spTree>
    <p:extLst>
      <p:ext uri="{BB962C8B-B14F-4D97-AF65-F5344CB8AC3E}">
        <p14:creationId xmlns:p14="http://schemas.microsoft.com/office/powerpoint/2010/main" val="104919657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4D45F-6FB6-404C-8727-06830D049FB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52E362-2771-446B-BD01-76B56096C5D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901CCC-8CCF-464F-8A17-8ED18357BAA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42365C0-2473-4466-90F3-1655FE065388}"/>
              </a:ext>
            </a:extLst>
          </p:cNvPr>
          <p:cNvSpPr>
            <a:spLocks noGrp="1"/>
          </p:cNvSpPr>
          <p:nvPr>
            <p:ph type="ftr" sz="quarter" idx="11"/>
          </p:nvPr>
        </p:nvSpPr>
        <p:spPr/>
        <p:txBody>
          <a:bodyPr/>
          <a:lstStyle/>
          <a:p>
            <a:r>
              <a:rPr lang="en-US"/>
              <a:t>Ask Questions : http://aka.ms/cosmos-qa</a:t>
            </a:r>
          </a:p>
        </p:txBody>
      </p:sp>
      <p:sp>
        <p:nvSpPr>
          <p:cNvPr id="6" name="Slide Number Placeholder 5">
            <a:extLst>
              <a:ext uri="{FF2B5EF4-FFF2-40B4-BE49-F238E27FC236}">
                <a16:creationId xmlns:a16="http://schemas.microsoft.com/office/drawing/2014/main" id="{0EEA062B-33A8-44C8-958E-3D40A018283D}"/>
              </a:ext>
            </a:extLst>
          </p:cNvPr>
          <p:cNvSpPr>
            <a:spLocks noGrp="1"/>
          </p:cNvSpPr>
          <p:nvPr>
            <p:ph type="sldNum" sz="quarter" idx="12"/>
          </p:nvPr>
        </p:nvSpPr>
        <p:spPr/>
        <p:txBody>
          <a:bodyPr/>
          <a:lstStyle/>
          <a:p>
            <a:fld id="{45FC3499-EBE7-4CB5-BC0F-9AD89AF3BE99}" type="slidenum">
              <a:rPr lang="en-US" smtClean="0"/>
              <a:t>‹#›</a:t>
            </a:fld>
            <a:endParaRPr lang="en-US"/>
          </a:p>
        </p:txBody>
      </p:sp>
    </p:spTree>
    <p:extLst>
      <p:ext uri="{BB962C8B-B14F-4D97-AF65-F5344CB8AC3E}">
        <p14:creationId xmlns:p14="http://schemas.microsoft.com/office/powerpoint/2010/main" val="400144492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4B380-82F6-445F-8726-55304252CCB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5549F5F-815E-4CA7-9A64-F1383772D5F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B2F98F3-DB72-46BB-87F5-721B8B4CDC1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72DC45C-F434-438F-A90A-DCC33F50DABE}"/>
              </a:ext>
            </a:extLst>
          </p:cNvPr>
          <p:cNvSpPr>
            <a:spLocks noGrp="1"/>
          </p:cNvSpPr>
          <p:nvPr>
            <p:ph type="ftr" sz="quarter" idx="11"/>
          </p:nvPr>
        </p:nvSpPr>
        <p:spPr/>
        <p:txBody>
          <a:bodyPr/>
          <a:lstStyle/>
          <a:p>
            <a:r>
              <a:rPr lang="en-US"/>
              <a:t>Ask Questions : http://aka.ms/cosmos-qa</a:t>
            </a:r>
          </a:p>
        </p:txBody>
      </p:sp>
      <p:sp>
        <p:nvSpPr>
          <p:cNvPr id="6" name="Slide Number Placeholder 5">
            <a:extLst>
              <a:ext uri="{FF2B5EF4-FFF2-40B4-BE49-F238E27FC236}">
                <a16:creationId xmlns:a16="http://schemas.microsoft.com/office/drawing/2014/main" id="{5A758777-8BE6-48EB-87FF-E7BD895FD554}"/>
              </a:ext>
            </a:extLst>
          </p:cNvPr>
          <p:cNvSpPr>
            <a:spLocks noGrp="1"/>
          </p:cNvSpPr>
          <p:nvPr>
            <p:ph type="sldNum" sz="quarter" idx="12"/>
          </p:nvPr>
        </p:nvSpPr>
        <p:spPr/>
        <p:txBody>
          <a:bodyPr/>
          <a:lstStyle/>
          <a:p>
            <a:fld id="{45FC3499-EBE7-4CB5-BC0F-9AD89AF3BE99}" type="slidenum">
              <a:rPr lang="en-US" smtClean="0"/>
              <a:t>‹#›</a:t>
            </a:fld>
            <a:endParaRPr lang="en-US"/>
          </a:p>
        </p:txBody>
      </p:sp>
    </p:spTree>
    <p:extLst>
      <p:ext uri="{BB962C8B-B14F-4D97-AF65-F5344CB8AC3E}">
        <p14:creationId xmlns:p14="http://schemas.microsoft.com/office/powerpoint/2010/main" val="177492127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9EBAA-41B5-4BE5-8D62-BECE6B563B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47B8DA-1845-4281-83ED-5C701849D5B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20802D-2ACB-4ED8-A5D3-0CE1CFEE812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D6B6D6F-6B3A-4504-A1A2-7AA9B9253EB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F7503BD-6B00-4DCE-BA4D-9D5C9CB702E7}"/>
              </a:ext>
            </a:extLst>
          </p:cNvPr>
          <p:cNvSpPr>
            <a:spLocks noGrp="1"/>
          </p:cNvSpPr>
          <p:nvPr>
            <p:ph type="ftr" sz="quarter" idx="11"/>
          </p:nvPr>
        </p:nvSpPr>
        <p:spPr/>
        <p:txBody>
          <a:bodyPr/>
          <a:lstStyle/>
          <a:p>
            <a:r>
              <a:rPr lang="en-US"/>
              <a:t>Ask Questions : http://aka.ms/cosmos-qa</a:t>
            </a:r>
          </a:p>
        </p:txBody>
      </p:sp>
      <p:sp>
        <p:nvSpPr>
          <p:cNvPr id="7" name="Slide Number Placeholder 6">
            <a:extLst>
              <a:ext uri="{FF2B5EF4-FFF2-40B4-BE49-F238E27FC236}">
                <a16:creationId xmlns:a16="http://schemas.microsoft.com/office/drawing/2014/main" id="{C93CD151-76AB-44BC-B8F8-3F36AE40309F}"/>
              </a:ext>
            </a:extLst>
          </p:cNvPr>
          <p:cNvSpPr>
            <a:spLocks noGrp="1"/>
          </p:cNvSpPr>
          <p:nvPr>
            <p:ph type="sldNum" sz="quarter" idx="12"/>
          </p:nvPr>
        </p:nvSpPr>
        <p:spPr/>
        <p:txBody>
          <a:bodyPr/>
          <a:lstStyle/>
          <a:p>
            <a:fld id="{45FC3499-EBE7-4CB5-BC0F-9AD89AF3BE99}" type="slidenum">
              <a:rPr lang="en-US" smtClean="0"/>
              <a:t>‹#›</a:t>
            </a:fld>
            <a:endParaRPr lang="en-US"/>
          </a:p>
        </p:txBody>
      </p:sp>
    </p:spTree>
    <p:extLst>
      <p:ext uri="{BB962C8B-B14F-4D97-AF65-F5344CB8AC3E}">
        <p14:creationId xmlns:p14="http://schemas.microsoft.com/office/powerpoint/2010/main" val="82424814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7109B-6AE9-4FAA-ADCB-4B66B87D634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535266-5E33-4799-AAA9-4C9339359FF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D80D088-CE06-4A19-941E-8ACFFADE60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B5C3DE8-418F-424B-B7C7-60D11C4F2AC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D880B3E-5911-4F50-A077-93BD0907383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E7F3E8A-4245-415E-80FA-B246BFCC3BC9}"/>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53C3D721-D480-474E-A5C3-D94D85E6CAD3}"/>
              </a:ext>
            </a:extLst>
          </p:cNvPr>
          <p:cNvSpPr>
            <a:spLocks noGrp="1"/>
          </p:cNvSpPr>
          <p:nvPr>
            <p:ph type="ftr" sz="quarter" idx="11"/>
          </p:nvPr>
        </p:nvSpPr>
        <p:spPr/>
        <p:txBody>
          <a:bodyPr/>
          <a:lstStyle/>
          <a:p>
            <a:r>
              <a:rPr lang="en-US"/>
              <a:t>Ask Questions : http://aka.ms/cosmos-qa</a:t>
            </a:r>
          </a:p>
        </p:txBody>
      </p:sp>
      <p:sp>
        <p:nvSpPr>
          <p:cNvPr id="9" name="Slide Number Placeholder 8">
            <a:extLst>
              <a:ext uri="{FF2B5EF4-FFF2-40B4-BE49-F238E27FC236}">
                <a16:creationId xmlns:a16="http://schemas.microsoft.com/office/drawing/2014/main" id="{20EA9A68-EBAC-4364-B874-F7859B6D51C5}"/>
              </a:ext>
            </a:extLst>
          </p:cNvPr>
          <p:cNvSpPr>
            <a:spLocks noGrp="1"/>
          </p:cNvSpPr>
          <p:nvPr>
            <p:ph type="sldNum" sz="quarter" idx="12"/>
          </p:nvPr>
        </p:nvSpPr>
        <p:spPr/>
        <p:txBody>
          <a:bodyPr/>
          <a:lstStyle/>
          <a:p>
            <a:fld id="{45FC3499-EBE7-4CB5-BC0F-9AD89AF3BE99}" type="slidenum">
              <a:rPr lang="en-US" smtClean="0"/>
              <a:t>‹#›</a:t>
            </a:fld>
            <a:endParaRPr lang="en-US"/>
          </a:p>
        </p:txBody>
      </p:sp>
    </p:spTree>
    <p:extLst>
      <p:ext uri="{BB962C8B-B14F-4D97-AF65-F5344CB8AC3E}">
        <p14:creationId xmlns:p14="http://schemas.microsoft.com/office/powerpoint/2010/main" val="160140872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5714B-AC5A-411D-9A36-BA5940193C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4C448F1-CEF5-4958-A952-3512E776990D}"/>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A5FD0A6-873E-4A3F-9DAA-30204F06C82E}"/>
              </a:ext>
            </a:extLst>
          </p:cNvPr>
          <p:cNvSpPr>
            <a:spLocks noGrp="1"/>
          </p:cNvSpPr>
          <p:nvPr>
            <p:ph type="ftr" sz="quarter" idx="11"/>
          </p:nvPr>
        </p:nvSpPr>
        <p:spPr/>
        <p:txBody>
          <a:bodyPr/>
          <a:lstStyle/>
          <a:p>
            <a:r>
              <a:rPr lang="en-US"/>
              <a:t>Ask Questions : http://aka.ms/cosmos-qa</a:t>
            </a:r>
          </a:p>
        </p:txBody>
      </p:sp>
      <p:sp>
        <p:nvSpPr>
          <p:cNvPr id="5" name="Slide Number Placeholder 4">
            <a:extLst>
              <a:ext uri="{FF2B5EF4-FFF2-40B4-BE49-F238E27FC236}">
                <a16:creationId xmlns:a16="http://schemas.microsoft.com/office/drawing/2014/main" id="{AB7E16C1-0993-4E3C-8FE7-5C5F25109946}"/>
              </a:ext>
            </a:extLst>
          </p:cNvPr>
          <p:cNvSpPr>
            <a:spLocks noGrp="1"/>
          </p:cNvSpPr>
          <p:nvPr>
            <p:ph type="sldNum" sz="quarter" idx="12"/>
          </p:nvPr>
        </p:nvSpPr>
        <p:spPr/>
        <p:txBody>
          <a:bodyPr/>
          <a:lstStyle/>
          <a:p>
            <a:fld id="{45FC3499-EBE7-4CB5-BC0F-9AD89AF3BE99}" type="slidenum">
              <a:rPr lang="en-US" smtClean="0"/>
              <a:t>‹#›</a:t>
            </a:fld>
            <a:endParaRPr lang="en-US"/>
          </a:p>
        </p:txBody>
      </p:sp>
    </p:spTree>
    <p:extLst>
      <p:ext uri="{BB962C8B-B14F-4D97-AF65-F5344CB8AC3E}">
        <p14:creationId xmlns:p14="http://schemas.microsoft.com/office/powerpoint/2010/main" val="42673166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D65650-D6EC-4918-BDE5-CEBA194F21AF}"/>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880E0783-AE57-4918-98A4-96637775AAB7}"/>
              </a:ext>
            </a:extLst>
          </p:cNvPr>
          <p:cNvSpPr>
            <a:spLocks noGrp="1"/>
          </p:cNvSpPr>
          <p:nvPr>
            <p:ph type="ftr" sz="quarter" idx="11"/>
          </p:nvPr>
        </p:nvSpPr>
        <p:spPr/>
        <p:txBody>
          <a:bodyPr/>
          <a:lstStyle/>
          <a:p>
            <a:r>
              <a:rPr lang="en-US"/>
              <a:t>Ask Questions : http://aka.ms/cosmos-qa</a:t>
            </a:r>
          </a:p>
        </p:txBody>
      </p:sp>
      <p:sp>
        <p:nvSpPr>
          <p:cNvPr id="4" name="Slide Number Placeholder 3">
            <a:extLst>
              <a:ext uri="{FF2B5EF4-FFF2-40B4-BE49-F238E27FC236}">
                <a16:creationId xmlns:a16="http://schemas.microsoft.com/office/drawing/2014/main" id="{954375F5-3B61-475F-9F63-5016D7B2F2E4}"/>
              </a:ext>
            </a:extLst>
          </p:cNvPr>
          <p:cNvSpPr>
            <a:spLocks noGrp="1"/>
          </p:cNvSpPr>
          <p:nvPr>
            <p:ph type="sldNum" sz="quarter" idx="12"/>
          </p:nvPr>
        </p:nvSpPr>
        <p:spPr/>
        <p:txBody>
          <a:bodyPr/>
          <a:lstStyle/>
          <a:p>
            <a:fld id="{45FC3499-EBE7-4CB5-BC0F-9AD89AF3BE99}" type="slidenum">
              <a:rPr lang="en-US" smtClean="0"/>
              <a:t>‹#›</a:t>
            </a:fld>
            <a:endParaRPr lang="en-US"/>
          </a:p>
        </p:txBody>
      </p:sp>
    </p:spTree>
    <p:extLst>
      <p:ext uri="{BB962C8B-B14F-4D97-AF65-F5344CB8AC3E}">
        <p14:creationId xmlns:p14="http://schemas.microsoft.com/office/powerpoint/2010/main" val="277464026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0720-57C9-4501-AD3D-69C993C737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E2AACFF-DB97-4C76-ADD2-0A04B6BD2E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1FA7E0-EA0C-42BF-B0AB-6ED6C67A36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3EB6A4-2B27-4361-8E46-25F3663AE57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8EAB190-4AD1-435E-86D7-6EC445777B8C}"/>
              </a:ext>
            </a:extLst>
          </p:cNvPr>
          <p:cNvSpPr>
            <a:spLocks noGrp="1"/>
          </p:cNvSpPr>
          <p:nvPr>
            <p:ph type="ftr" sz="quarter" idx="11"/>
          </p:nvPr>
        </p:nvSpPr>
        <p:spPr/>
        <p:txBody>
          <a:bodyPr/>
          <a:lstStyle/>
          <a:p>
            <a:r>
              <a:rPr lang="en-US"/>
              <a:t>Ask Questions : http://aka.ms/cosmos-qa</a:t>
            </a:r>
          </a:p>
        </p:txBody>
      </p:sp>
      <p:sp>
        <p:nvSpPr>
          <p:cNvPr id="7" name="Slide Number Placeholder 6">
            <a:extLst>
              <a:ext uri="{FF2B5EF4-FFF2-40B4-BE49-F238E27FC236}">
                <a16:creationId xmlns:a16="http://schemas.microsoft.com/office/drawing/2014/main" id="{9437C694-C699-400D-BC81-CF5690F1CFBC}"/>
              </a:ext>
            </a:extLst>
          </p:cNvPr>
          <p:cNvSpPr>
            <a:spLocks noGrp="1"/>
          </p:cNvSpPr>
          <p:nvPr>
            <p:ph type="sldNum" sz="quarter" idx="12"/>
          </p:nvPr>
        </p:nvSpPr>
        <p:spPr/>
        <p:txBody>
          <a:bodyPr/>
          <a:lstStyle/>
          <a:p>
            <a:fld id="{45FC3499-EBE7-4CB5-BC0F-9AD89AF3BE99}" type="slidenum">
              <a:rPr lang="en-US" smtClean="0"/>
              <a:t>‹#›</a:t>
            </a:fld>
            <a:endParaRPr lang="en-US"/>
          </a:p>
        </p:txBody>
      </p:sp>
    </p:spTree>
    <p:extLst>
      <p:ext uri="{BB962C8B-B14F-4D97-AF65-F5344CB8AC3E}">
        <p14:creationId xmlns:p14="http://schemas.microsoft.com/office/powerpoint/2010/main" val="33750670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392300"/>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1078353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DD30C7-822E-424C-9213-A292C8F90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11B383B-103F-4B10-BFBD-D258D46890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A2DDE55-6581-469C-928E-3DDE1607A6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7CE43B-E028-442D-998C-964551A9742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D4EEC96A-A105-4E92-9681-6672CA54F32A}"/>
              </a:ext>
            </a:extLst>
          </p:cNvPr>
          <p:cNvSpPr>
            <a:spLocks noGrp="1"/>
          </p:cNvSpPr>
          <p:nvPr>
            <p:ph type="ftr" sz="quarter" idx="11"/>
          </p:nvPr>
        </p:nvSpPr>
        <p:spPr/>
        <p:txBody>
          <a:bodyPr/>
          <a:lstStyle/>
          <a:p>
            <a:r>
              <a:rPr lang="en-US"/>
              <a:t>Ask Questions : http://aka.ms/cosmos-qa</a:t>
            </a:r>
          </a:p>
        </p:txBody>
      </p:sp>
      <p:sp>
        <p:nvSpPr>
          <p:cNvPr id="7" name="Slide Number Placeholder 6">
            <a:extLst>
              <a:ext uri="{FF2B5EF4-FFF2-40B4-BE49-F238E27FC236}">
                <a16:creationId xmlns:a16="http://schemas.microsoft.com/office/drawing/2014/main" id="{8F0E9CAC-F0CC-43D2-AA37-5DD8CDE2021B}"/>
              </a:ext>
            </a:extLst>
          </p:cNvPr>
          <p:cNvSpPr>
            <a:spLocks noGrp="1"/>
          </p:cNvSpPr>
          <p:nvPr>
            <p:ph type="sldNum" sz="quarter" idx="12"/>
          </p:nvPr>
        </p:nvSpPr>
        <p:spPr/>
        <p:txBody>
          <a:bodyPr/>
          <a:lstStyle/>
          <a:p>
            <a:fld id="{45FC3499-EBE7-4CB5-BC0F-9AD89AF3BE99}" type="slidenum">
              <a:rPr lang="en-US" smtClean="0"/>
              <a:t>‹#›</a:t>
            </a:fld>
            <a:endParaRPr lang="en-US"/>
          </a:p>
        </p:txBody>
      </p:sp>
    </p:spTree>
    <p:extLst>
      <p:ext uri="{BB962C8B-B14F-4D97-AF65-F5344CB8AC3E}">
        <p14:creationId xmlns:p14="http://schemas.microsoft.com/office/powerpoint/2010/main" val="364379451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C4206-F2B2-4462-B57C-8CC590513D3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8584F80-49F0-4FA8-9DE6-3718C52CDA3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F42873-158B-4683-8179-FB3AC23FD32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4521F7D-A76C-42C0-8D13-E835C7EC69CE}"/>
              </a:ext>
            </a:extLst>
          </p:cNvPr>
          <p:cNvSpPr>
            <a:spLocks noGrp="1"/>
          </p:cNvSpPr>
          <p:nvPr>
            <p:ph type="ftr" sz="quarter" idx="11"/>
          </p:nvPr>
        </p:nvSpPr>
        <p:spPr/>
        <p:txBody>
          <a:bodyPr/>
          <a:lstStyle/>
          <a:p>
            <a:r>
              <a:rPr lang="en-US"/>
              <a:t>Ask Questions : http://aka.ms/cosmos-qa</a:t>
            </a:r>
          </a:p>
        </p:txBody>
      </p:sp>
      <p:sp>
        <p:nvSpPr>
          <p:cNvPr id="6" name="Slide Number Placeholder 5">
            <a:extLst>
              <a:ext uri="{FF2B5EF4-FFF2-40B4-BE49-F238E27FC236}">
                <a16:creationId xmlns:a16="http://schemas.microsoft.com/office/drawing/2014/main" id="{9B54B477-F78B-48A6-8629-286F82EA316C}"/>
              </a:ext>
            </a:extLst>
          </p:cNvPr>
          <p:cNvSpPr>
            <a:spLocks noGrp="1"/>
          </p:cNvSpPr>
          <p:nvPr>
            <p:ph type="sldNum" sz="quarter" idx="12"/>
          </p:nvPr>
        </p:nvSpPr>
        <p:spPr/>
        <p:txBody>
          <a:bodyPr/>
          <a:lstStyle/>
          <a:p>
            <a:fld id="{45FC3499-EBE7-4CB5-BC0F-9AD89AF3BE99}" type="slidenum">
              <a:rPr lang="en-US" smtClean="0"/>
              <a:t>‹#›</a:t>
            </a:fld>
            <a:endParaRPr lang="en-US"/>
          </a:p>
        </p:txBody>
      </p:sp>
    </p:spTree>
    <p:extLst>
      <p:ext uri="{BB962C8B-B14F-4D97-AF65-F5344CB8AC3E}">
        <p14:creationId xmlns:p14="http://schemas.microsoft.com/office/powerpoint/2010/main" val="248154944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1E138F-BA0F-410A-81F2-41A3A59F1CC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84E37CD-F451-4D21-BBF1-1EAE7947D9A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AAE9AC-3457-48C0-AC1D-ED794C1AF98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CA1BDFD-F5C6-49F3-8259-3B058EA27AC2}"/>
              </a:ext>
            </a:extLst>
          </p:cNvPr>
          <p:cNvSpPr>
            <a:spLocks noGrp="1"/>
          </p:cNvSpPr>
          <p:nvPr>
            <p:ph type="ftr" sz="quarter" idx="11"/>
          </p:nvPr>
        </p:nvSpPr>
        <p:spPr/>
        <p:txBody>
          <a:bodyPr/>
          <a:lstStyle/>
          <a:p>
            <a:r>
              <a:rPr lang="en-US"/>
              <a:t>Ask Questions : http://aka.ms/cosmos-qa</a:t>
            </a:r>
          </a:p>
        </p:txBody>
      </p:sp>
      <p:sp>
        <p:nvSpPr>
          <p:cNvPr id="6" name="Slide Number Placeholder 5">
            <a:extLst>
              <a:ext uri="{FF2B5EF4-FFF2-40B4-BE49-F238E27FC236}">
                <a16:creationId xmlns:a16="http://schemas.microsoft.com/office/drawing/2014/main" id="{55AB7740-552D-4875-AFB5-2CAF683E688B}"/>
              </a:ext>
            </a:extLst>
          </p:cNvPr>
          <p:cNvSpPr>
            <a:spLocks noGrp="1"/>
          </p:cNvSpPr>
          <p:nvPr>
            <p:ph type="sldNum" sz="quarter" idx="12"/>
          </p:nvPr>
        </p:nvSpPr>
        <p:spPr/>
        <p:txBody>
          <a:bodyPr/>
          <a:lstStyle/>
          <a:p>
            <a:fld id="{45FC3499-EBE7-4CB5-BC0F-9AD89AF3BE99}" type="slidenum">
              <a:rPr lang="en-US" smtClean="0"/>
              <a:t>‹#›</a:t>
            </a:fld>
            <a:endParaRPr lang="en-US"/>
          </a:p>
        </p:txBody>
      </p:sp>
    </p:spTree>
    <p:extLst>
      <p:ext uri="{BB962C8B-B14F-4D97-AF65-F5344CB8AC3E}">
        <p14:creationId xmlns:p14="http://schemas.microsoft.com/office/powerpoint/2010/main" val="168137899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4211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3_Title Slide">
    <p:bg bwMode="gray">
      <p:bgRef idx="1001">
        <a:schemeClr val="bg2"/>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81554F9-C402-420F-BE47-B4066E88E3B7}"/>
              </a:ext>
            </a:extLst>
          </p:cNvPr>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pic>
        <p:nvPicPr>
          <p:cNvPr id="3" name="Picture 2">
            <a:extLst>
              <a:ext uri="{FF2B5EF4-FFF2-40B4-BE49-F238E27FC236}">
                <a16:creationId xmlns:a16="http://schemas.microsoft.com/office/drawing/2014/main" id="{44CB9D2F-F5F8-42D4-BF59-2CA4DB9E49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6C5A0B1-2BDC-4805-909D-0A060D505BA1}"/>
              </a:ext>
              <a:ext uri="{C183D7F6-B498-43B3-948B-1728B52AA6E4}">
                <adec:decorative xmlns:adec="http://schemas.microsoft.com/office/drawing/2017/decorative" val="1"/>
              </a:ext>
            </a:extLst>
          </p:cNvPr>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4">
            <a:extLst>
              <a:ext uri="{FF2B5EF4-FFF2-40B4-BE49-F238E27FC236}">
                <a16:creationId xmlns:a16="http://schemas.microsoft.com/office/drawing/2014/main" id="{29BBA674-B9FC-4DBF-A40F-F694B1C5CE91}"/>
              </a:ext>
            </a:extLst>
          </p:cNvPr>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
        <p:nvSpPr>
          <p:cNvPr id="4" name="Content Placeholder 3">
            <a:extLst>
              <a:ext uri="{FF2B5EF4-FFF2-40B4-BE49-F238E27FC236}">
                <a16:creationId xmlns:a16="http://schemas.microsoft.com/office/drawing/2014/main" id="{51CFF06C-7FCB-40D4-8777-175860A65AD0}"/>
              </a:ext>
            </a:extLst>
          </p:cNvPr>
          <p:cNvSpPr>
            <a:spLocks noGrp="1"/>
          </p:cNvSpPr>
          <p:nvPr>
            <p:ph sz="quarter" idx="13"/>
          </p:nvPr>
        </p:nvSpPr>
        <p:spPr>
          <a:xfrm>
            <a:off x="269875" y="5475288"/>
            <a:ext cx="66294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4192671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9605231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3211066"/>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0879053"/>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1290603"/>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5215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5126A-183E-4DBE-A964-38B7812D4F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A6018C-29A2-4426-B923-2118E4A3A8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72E423-2FB0-42AA-9AFC-57F67141C697}"/>
              </a:ext>
            </a:extLst>
          </p:cNvPr>
          <p:cNvSpPr>
            <a:spLocks noGrp="1"/>
          </p:cNvSpPr>
          <p:nvPr>
            <p:ph type="dt" sz="half" idx="10"/>
          </p:nvPr>
        </p:nvSpPr>
        <p:spPr/>
        <p:txBody>
          <a:bodyPr/>
          <a:lstStyle/>
          <a:p>
            <a:fld id="{6FA56076-D6D8-465C-9FFB-187164EA930C}" type="datetimeFigureOut">
              <a:rPr lang="en-US" smtClean="0"/>
              <a:t>10/28/2022</a:t>
            </a:fld>
            <a:endParaRPr lang="en-US"/>
          </a:p>
        </p:txBody>
      </p:sp>
      <p:sp>
        <p:nvSpPr>
          <p:cNvPr id="5" name="Footer Placeholder 4">
            <a:extLst>
              <a:ext uri="{FF2B5EF4-FFF2-40B4-BE49-F238E27FC236}">
                <a16:creationId xmlns:a16="http://schemas.microsoft.com/office/drawing/2014/main" id="{03B68AC8-3F03-4B19-BEFD-F4DEC8736F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8F48BD-1901-4873-B0B9-FFD92DF81B71}"/>
              </a:ext>
            </a:extLst>
          </p:cNvPr>
          <p:cNvSpPr>
            <a:spLocks noGrp="1"/>
          </p:cNvSpPr>
          <p:nvPr>
            <p:ph type="sldNum" sz="quarter" idx="12"/>
          </p:nvPr>
        </p:nvSpPr>
        <p:spPr/>
        <p:txBody>
          <a:bodyPr/>
          <a:lstStyle/>
          <a:p>
            <a:fld id="{562CAA73-975C-4931-8338-DEDD7C16A9DE}" type="slidenum">
              <a:rPr lang="en-US" smtClean="0"/>
              <a:t>‹#›</a:t>
            </a:fld>
            <a:endParaRPr lang="en-US"/>
          </a:p>
        </p:txBody>
      </p:sp>
    </p:spTree>
    <p:extLst>
      <p:ext uri="{BB962C8B-B14F-4D97-AF65-F5344CB8AC3E}">
        <p14:creationId xmlns:p14="http://schemas.microsoft.com/office/powerpoint/2010/main" val="3277570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3DF97655-232A-4F03-A246-2347041B7B96}"/>
              </a:ext>
            </a:extLst>
          </p:cNvPr>
          <p:cNvSpPr>
            <a:spLocks noGrp="1"/>
          </p:cNvSpPr>
          <p:nvPr>
            <p:ph sz="quarter" idx="11"/>
          </p:nvPr>
        </p:nvSpPr>
        <p:spPr>
          <a:xfrm>
            <a:off x="419100" y="3429000"/>
            <a:ext cx="1879600" cy="553998"/>
          </a:xfrm>
        </p:spPr>
        <p:txBody>
          <a:bodyPr/>
          <a:lstStyle>
            <a:lvl1pPr marL="0" indent="0">
              <a:buNone/>
              <a:defRPr/>
            </a:lvl1pPr>
          </a:lstStyle>
          <a:p>
            <a:pPr lvl="0"/>
            <a:endParaRPr lang="en-US" dirty="0"/>
          </a:p>
        </p:txBody>
      </p:sp>
      <p:sp>
        <p:nvSpPr>
          <p:cNvPr id="6" name="Content Placeholder 4">
            <a:extLst>
              <a:ext uri="{FF2B5EF4-FFF2-40B4-BE49-F238E27FC236}">
                <a16:creationId xmlns:a16="http://schemas.microsoft.com/office/drawing/2014/main" id="{1E4C054B-BBAD-4C64-9448-90600BFCA870}"/>
              </a:ext>
            </a:extLst>
          </p:cNvPr>
          <p:cNvSpPr>
            <a:spLocks noGrp="1"/>
          </p:cNvSpPr>
          <p:nvPr>
            <p:ph sz="quarter" idx="12"/>
          </p:nvPr>
        </p:nvSpPr>
        <p:spPr>
          <a:xfrm>
            <a:off x="419100" y="5114825"/>
            <a:ext cx="1879600" cy="55399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4DBAC85A-8D03-4A28-8F5F-F7665B02A0BA}"/>
              </a:ext>
            </a:extLst>
          </p:cNvPr>
          <p:cNvSpPr>
            <a:spLocks noGrp="1"/>
          </p:cNvSpPr>
          <p:nvPr>
            <p:ph sz="quarter" idx="13"/>
          </p:nvPr>
        </p:nvSpPr>
        <p:spPr>
          <a:xfrm>
            <a:off x="2476500" y="3429000"/>
            <a:ext cx="1879600" cy="55399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78997188-65A1-40D4-AC1F-69E24E9D5540}"/>
              </a:ext>
            </a:extLst>
          </p:cNvPr>
          <p:cNvSpPr>
            <a:spLocks noGrp="1"/>
          </p:cNvSpPr>
          <p:nvPr>
            <p:ph sz="quarter" idx="14"/>
          </p:nvPr>
        </p:nvSpPr>
        <p:spPr>
          <a:xfrm>
            <a:off x="2476500" y="5114825"/>
            <a:ext cx="1879600" cy="553998"/>
          </a:xfrm>
        </p:spPr>
        <p:txBody>
          <a:bodyPr/>
          <a:lstStyle>
            <a:lvl1pPr marL="0" indent="0">
              <a:buNone/>
              <a:defRPr/>
            </a:lvl1pPr>
          </a:lstStyle>
          <a:p>
            <a:pPr lvl="0"/>
            <a:endParaRPr lang="en-US" dirty="0"/>
          </a:p>
        </p:txBody>
      </p:sp>
      <p:sp>
        <p:nvSpPr>
          <p:cNvPr id="9" name="Content Placeholder 4">
            <a:extLst>
              <a:ext uri="{FF2B5EF4-FFF2-40B4-BE49-F238E27FC236}">
                <a16:creationId xmlns:a16="http://schemas.microsoft.com/office/drawing/2014/main" id="{B779F471-77E8-4387-89A3-7CFE4EC189C7}"/>
              </a:ext>
            </a:extLst>
          </p:cNvPr>
          <p:cNvSpPr>
            <a:spLocks noGrp="1"/>
          </p:cNvSpPr>
          <p:nvPr>
            <p:ph sz="quarter" idx="15"/>
          </p:nvPr>
        </p:nvSpPr>
        <p:spPr>
          <a:xfrm>
            <a:off x="4533900" y="3429000"/>
            <a:ext cx="1879600" cy="553998"/>
          </a:xfrm>
        </p:spPr>
        <p:txBody>
          <a:bodyPr/>
          <a:lstStyle>
            <a:lvl1pPr marL="0" indent="0">
              <a:buNone/>
              <a:defRPr/>
            </a:lvl1pPr>
          </a:lstStyle>
          <a:p>
            <a:pPr lvl="0"/>
            <a:endParaRPr lang="en-US" dirty="0"/>
          </a:p>
        </p:txBody>
      </p:sp>
      <p:sp>
        <p:nvSpPr>
          <p:cNvPr id="10" name="Content Placeholder 4">
            <a:extLst>
              <a:ext uri="{FF2B5EF4-FFF2-40B4-BE49-F238E27FC236}">
                <a16:creationId xmlns:a16="http://schemas.microsoft.com/office/drawing/2014/main" id="{D6E6C8F1-9FC8-4E83-A8D1-BD0D258A4C73}"/>
              </a:ext>
            </a:extLst>
          </p:cNvPr>
          <p:cNvSpPr>
            <a:spLocks noGrp="1"/>
          </p:cNvSpPr>
          <p:nvPr>
            <p:ph sz="quarter" idx="16"/>
          </p:nvPr>
        </p:nvSpPr>
        <p:spPr>
          <a:xfrm>
            <a:off x="4533900" y="5114825"/>
            <a:ext cx="1879600" cy="553998"/>
          </a:xfrm>
        </p:spPr>
        <p:txBody>
          <a:bodyPr/>
          <a:lstStyle>
            <a:lvl1pPr marL="0" indent="0">
              <a:buNone/>
              <a:defRPr/>
            </a:lvl1pPr>
          </a:lstStyle>
          <a:p>
            <a:pPr lvl="0"/>
            <a:endParaRPr lang="en-US" dirty="0"/>
          </a:p>
        </p:txBody>
      </p:sp>
      <p:sp>
        <p:nvSpPr>
          <p:cNvPr id="11" name="Content Placeholder 4">
            <a:extLst>
              <a:ext uri="{FF2B5EF4-FFF2-40B4-BE49-F238E27FC236}">
                <a16:creationId xmlns:a16="http://schemas.microsoft.com/office/drawing/2014/main" id="{80AC08DB-100C-44BB-B723-D6BCB1F12E12}"/>
              </a:ext>
            </a:extLst>
          </p:cNvPr>
          <p:cNvSpPr>
            <a:spLocks noGrp="1"/>
          </p:cNvSpPr>
          <p:nvPr>
            <p:ph sz="quarter" idx="17"/>
          </p:nvPr>
        </p:nvSpPr>
        <p:spPr>
          <a:xfrm>
            <a:off x="6591300" y="3429000"/>
            <a:ext cx="1879600" cy="553998"/>
          </a:xfrm>
        </p:spPr>
        <p:txBody>
          <a:bodyPr/>
          <a:lstStyle>
            <a:lvl1pPr marL="0" indent="0">
              <a:buNone/>
              <a:defRPr/>
            </a:lvl1pPr>
          </a:lstStyle>
          <a:p>
            <a:pPr lvl="0"/>
            <a:endParaRPr lang="en-US" dirty="0"/>
          </a:p>
        </p:txBody>
      </p:sp>
      <p:sp>
        <p:nvSpPr>
          <p:cNvPr id="12" name="Content Placeholder 4">
            <a:extLst>
              <a:ext uri="{FF2B5EF4-FFF2-40B4-BE49-F238E27FC236}">
                <a16:creationId xmlns:a16="http://schemas.microsoft.com/office/drawing/2014/main" id="{64E8702B-7CE7-45DB-9D79-7F20930ED9A3}"/>
              </a:ext>
            </a:extLst>
          </p:cNvPr>
          <p:cNvSpPr>
            <a:spLocks noGrp="1"/>
          </p:cNvSpPr>
          <p:nvPr>
            <p:ph sz="quarter" idx="18"/>
          </p:nvPr>
        </p:nvSpPr>
        <p:spPr>
          <a:xfrm>
            <a:off x="6591300" y="5114825"/>
            <a:ext cx="1879600" cy="553998"/>
          </a:xfrm>
        </p:spPr>
        <p:txBody>
          <a:bodyPr/>
          <a:lstStyle>
            <a:lvl1pPr marL="0" indent="0">
              <a:buNone/>
              <a:defRPr/>
            </a:lvl1pPr>
          </a:lstStyle>
          <a:p>
            <a:pPr lvl="0"/>
            <a:endParaRPr lang="en-US" dirty="0"/>
          </a:p>
        </p:txBody>
      </p:sp>
      <p:sp>
        <p:nvSpPr>
          <p:cNvPr id="13" name="Content Placeholder 4">
            <a:extLst>
              <a:ext uri="{FF2B5EF4-FFF2-40B4-BE49-F238E27FC236}">
                <a16:creationId xmlns:a16="http://schemas.microsoft.com/office/drawing/2014/main" id="{11D79C8D-D2C4-4659-9590-AF8738F9F701}"/>
              </a:ext>
            </a:extLst>
          </p:cNvPr>
          <p:cNvSpPr>
            <a:spLocks noGrp="1"/>
          </p:cNvSpPr>
          <p:nvPr>
            <p:ph sz="quarter" idx="19"/>
          </p:nvPr>
        </p:nvSpPr>
        <p:spPr>
          <a:xfrm>
            <a:off x="8648700" y="3429000"/>
            <a:ext cx="1879600" cy="553998"/>
          </a:xfrm>
        </p:spPr>
        <p:txBody>
          <a:bodyPr/>
          <a:lstStyle>
            <a:lvl1pPr marL="0" indent="0">
              <a:buNone/>
              <a:defRPr/>
            </a:lvl1pPr>
          </a:lstStyle>
          <a:p>
            <a:pPr lvl="0"/>
            <a:endParaRPr lang="en-US" dirty="0"/>
          </a:p>
        </p:txBody>
      </p:sp>
      <p:sp>
        <p:nvSpPr>
          <p:cNvPr id="14" name="Content Placeholder 4">
            <a:extLst>
              <a:ext uri="{FF2B5EF4-FFF2-40B4-BE49-F238E27FC236}">
                <a16:creationId xmlns:a16="http://schemas.microsoft.com/office/drawing/2014/main" id="{ADDEA001-C95C-4700-AE7C-AAF7908FBC99}"/>
              </a:ext>
            </a:extLst>
          </p:cNvPr>
          <p:cNvSpPr>
            <a:spLocks noGrp="1"/>
          </p:cNvSpPr>
          <p:nvPr>
            <p:ph sz="quarter" idx="20"/>
          </p:nvPr>
        </p:nvSpPr>
        <p:spPr>
          <a:xfrm>
            <a:off x="8648700" y="5114825"/>
            <a:ext cx="1879600" cy="553998"/>
          </a:xfrm>
        </p:spPr>
        <p:txBody>
          <a:bodyPr/>
          <a:lstStyle>
            <a:lvl1pPr marL="0" indent="0">
              <a:buNone/>
              <a:defRPr/>
            </a:lvl1pPr>
          </a:lstStyle>
          <a:p>
            <a:pPr lvl="0"/>
            <a:endParaRPr lang="en-US" dirty="0"/>
          </a:p>
        </p:txBody>
      </p:sp>
      <p:sp>
        <p:nvSpPr>
          <p:cNvPr id="15" name="Content Placeholder 4">
            <a:extLst>
              <a:ext uri="{FF2B5EF4-FFF2-40B4-BE49-F238E27FC236}">
                <a16:creationId xmlns:a16="http://schemas.microsoft.com/office/drawing/2014/main" id="{82BBC915-B06D-4CA1-8A1F-344BCC01D903}"/>
              </a:ext>
            </a:extLst>
          </p:cNvPr>
          <p:cNvSpPr>
            <a:spLocks noGrp="1"/>
          </p:cNvSpPr>
          <p:nvPr>
            <p:ph sz="quarter" idx="21"/>
          </p:nvPr>
        </p:nvSpPr>
        <p:spPr>
          <a:xfrm>
            <a:off x="10706100" y="3429000"/>
            <a:ext cx="1308100" cy="553998"/>
          </a:xfrm>
        </p:spPr>
        <p:txBody>
          <a:bodyPr/>
          <a:lstStyle>
            <a:lvl1pPr marL="0" indent="0">
              <a:buNone/>
              <a:defRPr/>
            </a:lvl1pPr>
          </a:lstStyle>
          <a:p>
            <a:pPr lvl="0"/>
            <a:endParaRPr lang="en-US" dirty="0"/>
          </a:p>
        </p:txBody>
      </p:sp>
      <p:sp>
        <p:nvSpPr>
          <p:cNvPr id="16" name="Content Placeholder 4">
            <a:extLst>
              <a:ext uri="{FF2B5EF4-FFF2-40B4-BE49-F238E27FC236}">
                <a16:creationId xmlns:a16="http://schemas.microsoft.com/office/drawing/2014/main" id="{B0BABD40-F441-4D48-B859-9177DA3658C5}"/>
              </a:ext>
            </a:extLst>
          </p:cNvPr>
          <p:cNvSpPr>
            <a:spLocks noGrp="1"/>
          </p:cNvSpPr>
          <p:nvPr>
            <p:ph sz="quarter" idx="22"/>
          </p:nvPr>
        </p:nvSpPr>
        <p:spPr>
          <a:xfrm>
            <a:off x="10706100" y="5114825"/>
            <a:ext cx="13081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81229980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648495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223609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73672"/>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3031722"/>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368543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38F7D5C-478E-48A1-B41F-5EFEF5DC0294}"/>
              </a:ext>
            </a:extLst>
          </p:cNvPr>
          <p:cNvSpPr>
            <a:spLocks noGrp="1"/>
          </p:cNvSpPr>
          <p:nvPr>
            <p:ph sz="quarter" idx="10"/>
          </p:nvPr>
        </p:nvSpPr>
        <p:spPr>
          <a:xfrm>
            <a:off x="381000" y="2578100"/>
            <a:ext cx="2019300" cy="553998"/>
          </a:xfrm>
        </p:spPr>
        <p:txBody>
          <a:bodyPr/>
          <a:lstStyle>
            <a:lvl1pPr marL="0" indent="0">
              <a:buNone/>
              <a:defRPr/>
            </a:lvl1pPr>
          </a:lstStyle>
          <a:p>
            <a:pPr lvl="0"/>
            <a:endParaRPr lang="en-US" dirty="0"/>
          </a:p>
        </p:txBody>
      </p:sp>
      <p:sp>
        <p:nvSpPr>
          <p:cNvPr id="5" name="Content Placeholder 3">
            <a:extLst>
              <a:ext uri="{FF2B5EF4-FFF2-40B4-BE49-F238E27FC236}">
                <a16:creationId xmlns:a16="http://schemas.microsoft.com/office/drawing/2014/main" id="{C8B1C7F8-AA4C-4887-8D41-6FD7AC575FCF}"/>
              </a:ext>
            </a:extLst>
          </p:cNvPr>
          <p:cNvSpPr>
            <a:spLocks noGrp="1"/>
          </p:cNvSpPr>
          <p:nvPr>
            <p:ph sz="quarter" idx="11"/>
          </p:nvPr>
        </p:nvSpPr>
        <p:spPr>
          <a:xfrm>
            <a:off x="381000" y="4396423"/>
            <a:ext cx="2019300" cy="553998"/>
          </a:xfrm>
        </p:spPr>
        <p:txBody>
          <a:bodyPr/>
          <a:lstStyle>
            <a:lvl1pPr marL="0" indent="0">
              <a:buNone/>
              <a:defRPr/>
            </a:lvl1pPr>
          </a:lstStyle>
          <a:p>
            <a:pPr lvl="0"/>
            <a:endParaRPr lang="en-US" dirty="0"/>
          </a:p>
        </p:txBody>
      </p:sp>
      <p:sp>
        <p:nvSpPr>
          <p:cNvPr id="6" name="Content Placeholder 3">
            <a:extLst>
              <a:ext uri="{FF2B5EF4-FFF2-40B4-BE49-F238E27FC236}">
                <a16:creationId xmlns:a16="http://schemas.microsoft.com/office/drawing/2014/main" id="{6DF204E7-D5CA-4A83-BBF9-CF501673ACBE}"/>
              </a:ext>
            </a:extLst>
          </p:cNvPr>
          <p:cNvSpPr>
            <a:spLocks noGrp="1"/>
          </p:cNvSpPr>
          <p:nvPr>
            <p:ph sz="quarter" idx="12"/>
          </p:nvPr>
        </p:nvSpPr>
        <p:spPr>
          <a:xfrm>
            <a:off x="2552700" y="2578100"/>
            <a:ext cx="2019300" cy="553998"/>
          </a:xfrm>
        </p:spPr>
        <p:txBody>
          <a:bodyPr/>
          <a:lstStyle>
            <a:lvl1pPr marL="0" indent="0">
              <a:buNone/>
              <a:defRPr/>
            </a:lvl1pPr>
          </a:lstStyle>
          <a:p>
            <a:pPr lvl="0"/>
            <a:endParaRPr lang="en-US" dirty="0"/>
          </a:p>
        </p:txBody>
      </p:sp>
      <p:sp>
        <p:nvSpPr>
          <p:cNvPr id="7" name="Content Placeholder 3">
            <a:extLst>
              <a:ext uri="{FF2B5EF4-FFF2-40B4-BE49-F238E27FC236}">
                <a16:creationId xmlns:a16="http://schemas.microsoft.com/office/drawing/2014/main" id="{2E51C439-EE9C-4325-ABA8-549C62598CED}"/>
              </a:ext>
            </a:extLst>
          </p:cNvPr>
          <p:cNvSpPr>
            <a:spLocks noGrp="1"/>
          </p:cNvSpPr>
          <p:nvPr>
            <p:ph sz="quarter" idx="13"/>
          </p:nvPr>
        </p:nvSpPr>
        <p:spPr>
          <a:xfrm>
            <a:off x="2552700" y="4396423"/>
            <a:ext cx="2019300" cy="553998"/>
          </a:xfrm>
        </p:spPr>
        <p:txBody>
          <a:bodyPr/>
          <a:lstStyle>
            <a:lvl1pPr marL="0" indent="0">
              <a:buNone/>
              <a:defRPr/>
            </a:lvl1pPr>
          </a:lstStyle>
          <a:p>
            <a:pPr lvl="0"/>
            <a:endParaRPr lang="en-US" dirty="0"/>
          </a:p>
        </p:txBody>
      </p:sp>
      <p:sp>
        <p:nvSpPr>
          <p:cNvPr id="8" name="Content Placeholder 3">
            <a:extLst>
              <a:ext uri="{FF2B5EF4-FFF2-40B4-BE49-F238E27FC236}">
                <a16:creationId xmlns:a16="http://schemas.microsoft.com/office/drawing/2014/main" id="{F0D07559-D433-49A5-B944-76C34757520B}"/>
              </a:ext>
            </a:extLst>
          </p:cNvPr>
          <p:cNvSpPr>
            <a:spLocks noGrp="1"/>
          </p:cNvSpPr>
          <p:nvPr>
            <p:ph sz="quarter" idx="14"/>
          </p:nvPr>
        </p:nvSpPr>
        <p:spPr>
          <a:xfrm>
            <a:off x="4813300" y="2578100"/>
            <a:ext cx="2019300" cy="553998"/>
          </a:xfrm>
        </p:spPr>
        <p:txBody>
          <a:bodyPr/>
          <a:lstStyle>
            <a:lvl1pPr marL="0" indent="0">
              <a:buNone/>
              <a:defRPr/>
            </a:lvl1pPr>
          </a:lstStyle>
          <a:p>
            <a:pPr lvl="0"/>
            <a:endParaRPr lang="en-US" dirty="0"/>
          </a:p>
        </p:txBody>
      </p:sp>
      <p:sp>
        <p:nvSpPr>
          <p:cNvPr id="9" name="Content Placeholder 3">
            <a:extLst>
              <a:ext uri="{FF2B5EF4-FFF2-40B4-BE49-F238E27FC236}">
                <a16:creationId xmlns:a16="http://schemas.microsoft.com/office/drawing/2014/main" id="{32307921-EFFE-4F58-B9D5-8D94D5FCD4D0}"/>
              </a:ext>
            </a:extLst>
          </p:cNvPr>
          <p:cNvSpPr>
            <a:spLocks noGrp="1"/>
          </p:cNvSpPr>
          <p:nvPr>
            <p:ph sz="quarter" idx="15"/>
          </p:nvPr>
        </p:nvSpPr>
        <p:spPr>
          <a:xfrm>
            <a:off x="4813300" y="4396423"/>
            <a:ext cx="2019300" cy="553998"/>
          </a:xfrm>
        </p:spPr>
        <p:txBody>
          <a:bodyPr/>
          <a:lstStyle>
            <a:lvl1pPr marL="0" indent="0">
              <a:buNone/>
              <a:defRPr/>
            </a:lvl1pPr>
          </a:lstStyle>
          <a:p>
            <a:pPr lvl="0"/>
            <a:endParaRPr lang="en-US" dirty="0"/>
          </a:p>
        </p:txBody>
      </p:sp>
      <p:sp>
        <p:nvSpPr>
          <p:cNvPr id="10" name="Content Placeholder 3">
            <a:extLst>
              <a:ext uri="{FF2B5EF4-FFF2-40B4-BE49-F238E27FC236}">
                <a16:creationId xmlns:a16="http://schemas.microsoft.com/office/drawing/2014/main" id="{96246170-70E8-4A4C-8F29-BFA68A29821E}"/>
              </a:ext>
            </a:extLst>
          </p:cNvPr>
          <p:cNvSpPr>
            <a:spLocks noGrp="1"/>
          </p:cNvSpPr>
          <p:nvPr>
            <p:ph sz="quarter" idx="16"/>
          </p:nvPr>
        </p:nvSpPr>
        <p:spPr>
          <a:xfrm>
            <a:off x="6946900" y="2578100"/>
            <a:ext cx="2019300" cy="553998"/>
          </a:xfrm>
        </p:spPr>
        <p:txBody>
          <a:bodyPr/>
          <a:lstStyle>
            <a:lvl1pPr marL="0" indent="0">
              <a:buNone/>
              <a:defRPr/>
            </a:lvl1pPr>
          </a:lstStyle>
          <a:p>
            <a:pPr lvl="0"/>
            <a:endParaRPr lang="en-US" dirty="0"/>
          </a:p>
        </p:txBody>
      </p:sp>
      <p:sp>
        <p:nvSpPr>
          <p:cNvPr id="11" name="Content Placeholder 3">
            <a:extLst>
              <a:ext uri="{FF2B5EF4-FFF2-40B4-BE49-F238E27FC236}">
                <a16:creationId xmlns:a16="http://schemas.microsoft.com/office/drawing/2014/main" id="{71017912-1DAA-4584-A76D-4567938769DA}"/>
              </a:ext>
            </a:extLst>
          </p:cNvPr>
          <p:cNvSpPr>
            <a:spLocks noGrp="1"/>
          </p:cNvSpPr>
          <p:nvPr>
            <p:ph sz="quarter" idx="17"/>
          </p:nvPr>
        </p:nvSpPr>
        <p:spPr>
          <a:xfrm>
            <a:off x="6946900" y="4396423"/>
            <a:ext cx="2019300" cy="553998"/>
          </a:xfrm>
        </p:spPr>
        <p:txBody>
          <a:bodyPr/>
          <a:lstStyle>
            <a:lvl1pPr marL="0" indent="0">
              <a:buNone/>
              <a:defRPr/>
            </a:lvl1pPr>
          </a:lstStyle>
          <a:p>
            <a:pPr lvl="0"/>
            <a:endParaRPr lang="en-US" dirty="0"/>
          </a:p>
        </p:txBody>
      </p:sp>
      <p:sp>
        <p:nvSpPr>
          <p:cNvPr id="12" name="Content Placeholder 3">
            <a:extLst>
              <a:ext uri="{FF2B5EF4-FFF2-40B4-BE49-F238E27FC236}">
                <a16:creationId xmlns:a16="http://schemas.microsoft.com/office/drawing/2014/main" id="{CB0ABC8F-0DAE-4E06-8740-5FB40825C7C5}"/>
              </a:ext>
            </a:extLst>
          </p:cNvPr>
          <p:cNvSpPr>
            <a:spLocks noGrp="1"/>
          </p:cNvSpPr>
          <p:nvPr>
            <p:ph sz="quarter" idx="18"/>
          </p:nvPr>
        </p:nvSpPr>
        <p:spPr>
          <a:xfrm>
            <a:off x="9207500" y="2578100"/>
            <a:ext cx="2019300" cy="553998"/>
          </a:xfrm>
        </p:spPr>
        <p:txBody>
          <a:bodyPr/>
          <a:lstStyle>
            <a:lvl1pPr marL="0" indent="0">
              <a:buNone/>
              <a:defRPr/>
            </a:lvl1pPr>
          </a:lstStyle>
          <a:p>
            <a:pPr lvl="0"/>
            <a:endParaRPr lang="en-US" dirty="0"/>
          </a:p>
        </p:txBody>
      </p:sp>
      <p:sp>
        <p:nvSpPr>
          <p:cNvPr id="13" name="Content Placeholder 3">
            <a:extLst>
              <a:ext uri="{FF2B5EF4-FFF2-40B4-BE49-F238E27FC236}">
                <a16:creationId xmlns:a16="http://schemas.microsoft.com/office/drawing/2014/main" id="{AC8FF807-6F94-47C7-83F9-79F56A2D7C4A}"/>
              </a:ext>
            </a:extLst>
          </p:cNvPr>
          <p:cNvSpPr>
            <a:spLocks noGrp="1"/>
          </p:cNvSpPr>
          <p:nvPr>
            <p:ph sz="quarter" idx="19"/>
          </p:nvPr>
        </p:nvSpPr>
        <p:spPr>
          <a:xfrm>
            <a:off x="9207500" y="4396423"/>
            <a:ext cx="20193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84399579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10165583"/>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4_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27" name="Content Placeholder 26">
            <a:extLst>
              <a:ext uri="{FF2B5EF4-FFF2-40B4-BE49-F238E27FC236}">
                <a16:creationId xmlns:a16="http://schemas.microsoft.com/office/drawing/2014/main" id="{E3020BAA-42BF-428F-9C48-4E22E4E7D21C}"/>
              </a:ext>
            </a:extLst>
          </p:cNvPr>
          <p:cNvSpPr>
            <a:spLocks noGrp="1"/>
          </p:cNvSpPr>
          <p:nvPr>
            <p:ph sz="quarter" idx="10"/>
          </p:nvPr>
        </p:nvSpPr>
        <p:spPr>
          <a:xfrm>
            <a:off x="1089024" y="3005138"/>
            <a:ext cx="2895141" cy="546445"/>
          </a:xfrm>
        </p:spPr>
        <p:txBody>
          <a:bodyPr/>
          <a:lstStyle>
            <a:lvl1pPr marL="0" indent="0">
              <a:buNone/>
              <a:defRPr/>
            </a:lvl1pPr>
          </a:lstStyle>
          <a:p>
            <a:pPr lvl="0"/>
            <a:endParaRPr lang="en-US" dirty="0"/>
          </a:p>
        </p:txBody>
      </p:sp>
      <p:sp>
        <p:nvSpPr>
          <p:cNvPr id="28" name="Content Placeholder 26">
            <a:extLst>
              <a:ext uri="{FF2B5EF4-FFF2-40B4-BE49-F238E27FC236}">
                <a16:creationId xmlns:a16="http://schemas.microsoft.com/office/drawing/2014/main" id="{AB1B0802-1FA0-4391-9BF2-3CD29E2ED2E2}"/>
              </a:ext>
            </a:extLst>
          </p:cNvPr>
          <p:cNvSpPr>
            <a:spLocks noGrp="1"/>
          </p:cNvSpPr>
          <p:nvPr>
            <p:ph sz="quarter" idx="11"/>
          </p:nvPr>
        </p:nvSpPr>
        <p:spPr>
          <a:xfrm>
            <a:off x="1089024" y="3678457"/>
            <a:ext cx="2895141" cy="546445"/>
          </a:xfrm>
        </p:spPr>
        <p:txBody>
          <a:bodyPr/>
          <a:lstStyle>
            <a:lvl1pPr marL="0" indent="0">
              <a:buNone/>
              <a:defRPr/>
            </a:lvl1pPr>
          </a:lstStyle>
          <a:p>
            <a:pPr lvl="0"/>
            <a:endParaRPr lang="en-US" dirty="0"/>
          </a:p>
        </p:txBody>
      </p:sp>
      <p:sp>
        <p:nvSpPr>
          <p:cNvPr id="29" name="Content Placeholder 26">
            <a:extLst>
              <a:ext uri="{FF2B5EF4-FFF2-40B4-BE49-F238E27FC236}">
                <a16:creationId xmlns:a16="http://schemas.microsoft.com/office/drawing/2014/main" id="{A06CF8F0-AC94-4303-8C52-991C88E92768}"/>
              </a:ext>
            </a:extLst>
          </p:cNvPr>
          <p:cNvSpPr>
            <a:spLocks noGrp="1"/>
          </p:cNvSpPr>
          <p:nvPr>
            <p:ph sz="quarter" idx="12"/>
          </p:nvPr>
        </p:nvSpPr>
        <p:spPr>
          <a:xfrm>
            <a:off x="1089023" y="4350864"/>
            <a:ext cx="2895141" cy="546445"/>
          </a:xfrm>
        </p:spPr>
        <p:txBody>
          <a:bodyPr/>
          <a:lstStyle>
            <a:lvl1pPr marL="0" indent="0">
              <a:buNone/>
              <a:defRPr/>
            </a:lvl1pPr>
          </a:lstStyle>
          <a:p>
            <a:pPr lvl="0"/>
            <a:endParaRPr lang="en-US" dirty="0"/>
          </a:p>
        </p:txBody>
      </p:sp>
      <p:sp>
        <p:nvSpPr>
          <p:cNvPr id="30" name="Content Placeholder 26">
            <a:extLst>
              <a:ext uri="{FF2B5EF4-FFF2-40B4-BE49-F238E27FC236}">
                <a16:creationId xmlns:a16="http://schemas.microsoft.com/office/drawing/2014/main" id="{0BEAB24D-3267-46D5-85B5-252A94608845}"/>
              </a:ext>
            </a:extLst>
          </p:cNvPr>
          <p:cNvSpPr>
            <a:spLocks noGrp="1"/>
          </p:cNvSpPr>
          <p:nvPr>
            <p:ph sz="quarter" idx="13"/>
          </p:nvPr>
        </p:nvSpPr>
        <p:spPr>
          <a:xfrm>
            <a:off x="1089022" y="4998182"/>
            <a:ext cx="2895141" cy="546445"/>
          </a:xfrm>
        </p:spPr>
        <p:txBody>
          <a:bodyPr/>
          <a:lstStyle>
            <a:lvl1pPr marL="0" indent="0">
              <a:buNone/>
              <a:defRPr/>
            </a:lvl1pPr>
          </a:lstStyle>
          <a:p>
            <a:pPr lvl="0"/>
            <a:endParaRPr lang="en-US" dirty="0"/>
          </a:p>
        </p:txBody>
      </p:sp>
      <p:sp>
        <p:nvSpPr>
          <p:cNvPr id="31" name="Content Placeholder 26">
            <a:extLst>
              <a:ext uri="{FF2B5EF4-FFF2-40B4-BE49-F238E27FC236}">
                <a16:creationId xmlns:a16="http://schemas.microsoft.com/office/drawing/2014/main" id="{E7A7F7E4-CE1E-4AC8-B667-891BF988192A}"/>
              </a:ext>
            </a:extLst>
          </p:cNvPr>
          <p:cNvSpPr>
            <a:spLocks noGrp="1"/>
          </p:cNvSpPr>
          <p:nvPr>
            <p:ph sz="quarter" idx="14"/>
          </p:nvPr>
        </p:nvSpPr>
        <p:spPr>
          <a:xfrm>
            <a:off x="1089021" y="5734290"/>
            <a:ext cx="2895141" cy="546445"/>
          </a:xfrm>
        </p:spPr>
        <p:txBody>
          <a:bodyPr/>
          <a:lstStyle>
            <a:lvl1pPr marL="0" indent="0">
              <a:buNone/>
              <a:defRPr/>
            </a:lvl1pPr>
          </a:lstStyle>
          <a:p>
            <a:pPr lvl="0"/>
            <a:endParaRPr lang="en-US" dirty="0"/>
          </a:p>
        </p:txBody>
      </p:sp>
      <p:sp>
        <p:nvSpPr>
          <p:cNvPr id="32" name="Content Placeholder 26">
            <a:extLst>
              <a:ext uri="{FF2B5EF4-FFF2-40B4-BE49-F238E27FC236}">
                <a16:creationId xmlns:a16="http://schemas.microsoft.com/office/drawing/2014/main" id="{AF44C35B-E696-4032-BD23-B8C65217BD97}"/>
              </a:ext>
            </a:extLst>
          </p:cNvPr>
          <p:cNvSpPr>
            <a:spLocks noGrp="1"/>
          </p:cNvSpPr>
          <p:nvPr>
            <p:ph sz="quarter" idx="15"/>
          </p:nvPr>
        </p:nvSpPr>
        <p:spPr>
          <a:xfrm>
            <a:off x="4154217" y="3005138"/>
            <a:ext cx="2895141" cy="546445"/>
          </a:xfrm>
        </p:spPr>
        <p:txBody>
          <a:bodyPr/>
          <a:lstStyle>
            <a:lvl1pPr marL="0" indent="0">
              <a:buNone/>
              <a:defRPr/>
            </a:lvl1pPr>
          </a:lstStyle>
          <a:p>
            <a:pPr lvl="0"/>
            <a:endParaRPr lang="en-US" dirty="0"/>
          </a:p>
        </p:txBody>
      </p:sp>
      <p:sp>
        <p:nvSpPr>
          <p:cNvPr id="33" name="Content Placeholder 26">
            <a:extLst>
              <a:ext uri="{FF2B5EF4-FFF2-40B4-BE49-F238E27FC236}">
                <a16:creationId xmlns:a16="http://schemas.microsoft.com/office/drawing/2014/main" id="{C13A830D-2C3E-4B70-9EB3-76FE83BF81BC}"/>
              </a:ext>
            </a:extLst>
          </p:cNvPr>
          <p:cNvSpPr>
            <a:spLocks noGrp="1"/>
          </p:cNvSpPr>
          <p:nvPr>
            <p:ph sz="quarter" idx="16"/>
          </p:nvPr>
        </p:nvSpPr>
        <p:spPr>
          <a:xfrm>
            <a:off x="4154217" y="3710709"/>
            <a:ext cx="2895141" cy="546445"/>
          </a:xfrm>
        </p:spPr>
        <p:txBody>
          <a:bodyPr/>
          <a:lstStyle>
            <a:lvl1pPr marL="0" indent="0">
              <a:buNone/>
              <a:defRPr/>
            </a:lvl1pPr>
          </a:lstStyle>
          <a:p>
            <a:pPr lvl="0"/>
            <a:endParaRPr lang="en-US" dirty="0"/>
          </a:p>
        </p:txBody>
      </p:sp>
      <p:sp>
        <p:nvSpPr>
          <p:cNvPr id="14" name="Rectangle 13">
            <a:extLst>
              <a:ext uri="{FF2B5EF4-FFF2-40B4-BE49-F238E27FC236}">
                <a16:creationId xmlns:a16="http://schemas.microsoft.com/office/drawing/2014/main" id="{0A6432AB-D77A-4770-92CB-C249C0910DC0}"/>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4" name="Table 33">
            <a:extLst>
              <a:ext uri="{FF2B5EF4-FFF2-40B4-BE49-F238E27FC236}">
                <a16:creationId xmlns:a16="http://schemas.microsoft.com/office/drawing/2014/main" id="{5C8D782B-57D6-4717-96C8-251588476D30}"/>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242354516"/>
              </p:ext>
            </p:extLst>
          </p:nvPr>
        </p:nvGraphicFramePr>
        <p:xfrm>
          <a:off x="2186360" y="3399691"/>
          <a:ext cx="728306" cy="1913022"/>
        </p:xfrm>
        <a:graphic>
          <a:graphicData uri="http://schemas.openxmlformats.org/drawingml/2006/table">
            <a:tbl>
              <a:tblPr firstRow="1" bandRow="1">
                <a:tableStyleId>{5940675A-B579-460E-94D1-54222C63F5DA}</a:tableStyleId>
              </a:tblPr>
              <a:tblGrid>
                <a:gridCol w="728306">
                  <a:extLst>
                    <a:ext uri="{9D8B030D-6E8A-4147-A177-3AD203B41FA5}">
                      <a16:colId xmlns:a16="http://schemas.microsoft.com/office/drawing/2014/main" val="887149463"/>
                    </a:ext>
                  </a:extLst>
                </a:gridCol>
              </a:tblGrid>
              <a:tr h="637674">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6907394"/>
                  </a:ext>
                </a:extLst>
              </a:tr>
              <a:tr h="637674">
                <a:tc>
                  <a:txBody>
                    <a:bodyPr/>
                    <a:lstStyle/>
                    <a:p>
                      <a:endParaRPr lang="en-US" sz="100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59904714"/>
                  </a:ext>
                </a:extLst>
              </a:tr>
              <a:tr h="637674">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77403164"/>
                  </a:ext>
                </a:extLst>
              </a:tr>
            </a:tbl>
          </a:graphicData>
        </a:graphic>
      </p:graphicFrame>
      <p:graphicFrame>
        <p:nvGraphicFramePr>
          <p:cNvPr id="35" name="Table 34">
            <a:extLst>
              <a:ext uri="{FF2B5EF4-FFF2-40B4-BE49-F238E27FC236}">
                <a16:creationId xmlns:a16="http://schemas.microsoft.com/office/drawing/2014/main" id="{5C572045-DA06-4F9D-8C66-297501A3884E}"/>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645108298"/>
              </p:ext>
            </p:extLst>
          </p:nvPr>
        </p:nvGraphicFramePr>
        <p:xfrm>
          <a:off x="4532567" y="3399691"/>
          <a:ext cx="728306" cy="1913023"/>
        </p:xfrm>
        <a:graphic>
          <a:graphicData uri="http://schemas.openxmlformats.org/drawingml/2006/table">
            <a:tbl>
              <a:tblPr firstRow="1" bandRow="1">
                <a:tableStyleId>{5940675A-B579-460E-94D1-54222C63F5DA}</a:tableStyleId>
              </a:tblPr>
              <a:tblGrid>
                <a:gridCol w="728306">
                  <a:extLst>
                    <a:ext uri="{9D8B030D-6E8A-4147-A177-3AD203B41FA5}">
                      <a16:colId xmlns:a16="http://schemas.microsoft.com/office/drawing/2014/main" val="887149463"/>
                    </a:ext>
                  </a:extLst>
                </a:gridCol>
              </a:tblGrid>
              <a:tr h="1913023">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6907394"/>
                  </a:ext>
                </a:extLst>
              </a:tr>
            </a:tbl>
          </a:graphicData>
        </a:graphic>
      </p:graphicFrame>
      <p:graphicFrame>
        <p:nvGraphicFramePr>
          <p:cNvPr id="36" name="Table 35">
            <a:extLst>
              <a:ext uri="{FF2B5EF4-FFF2-40B4-BE49-F238E27FC236}">
                <a16:creationId xmlns:a16="http://schemas.microsoft.com/office/drawing/2014/main" id="{4131D2E5-028A-42A3-B995-759473793972}"/>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487385405"/>
              </p:ext>
            </p:extLst>
          </p:nvPr>
        </p:nvGraphicFramePr>
        <p:xfrm>
          <a:off x="9277334" y="3399692"/>
          <a:ext cx="728306" cy="1913023"/>
        </p:xfrm>
        <a:graphic>
          <a:graphicData uri="http://schemas.openxmlformats.org/drawingml/2006/table">
            <a:tbl>
              <a:tblPr firstRow="1" bandRow="1">
                <a:tableStyleId>{5940675A-B579-460E-94D1-54222C63F5DA}</a:tableStyleId>
              </a:tblPr>
              <a:tblGrid>
                <a:gridCol w="728306">
                  <a:extLst>
                    <a:ext uri="{9D8B030D-6E8A-4147-A177-3AD203B41FA5}">
                      <a16:colId xmlns:a16="http://schemas.microsoft.com/office/drawing/2014/main" val="887149463"/>
                    </a:ext>
                  </a:extLst>
                </a:gridCol>
              </a:tblGrid>
              <a:tr h="273289">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6907394"/>
                  </a:ext>
                </a:extLst>
              </a:tr>
              <a:tr h="273289">
                <a:tc>
                  <a:txBody>
                    <a:bodyPr/>
                    <a:lstStyle/>
                    <a:p>
                      <a:endParaRPr lang="en-US" sz="100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99083638"/>
                  </a:ext>
                </a:extLst>
              </a:tr>
              <a:tr h="273289">
                <a:tc>
                  <a:txBody>
                    <a:bodyPr/>
                    <a:lstStyle/>
                    <a:p>
                      <a:endParaRPr lang="en-US" sz="100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76042609"/>
                  </a:ext>
                </a:extLst>
              </a:tr>
              <a:tr h="273289">
                <a:tc>
                  <a:txBody>
                    <a:bodyPr/>
                    <a:lstStyle/>
                    <a:p>
                      <a:endParaRPr lang="en-US" sz="100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91973422"/>
                  </a:ext>
                </a:extLst>
              </a:tr>
              <a:tr h="273289">
                <a:tc>
                  <a:txBody>
                    <a:bodyPr/>
                    <a:lstStyle/>
                    <a:p>
                      <a:endParaRPr lang="en-US" sz="100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5457509"/>
                  </a:ext>
                </a:extLst>
              </a:tr>
              <a:tr h="273289">
                <a:tc>
                  <a:txBody>
                    <a:bodyPr/>
                    <a:lstStyle/>
                    <a:p>
                      <a:endParaRPr lang="en-US" sz="100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32604794"/>
                  </a:ext>
                </a:extLst>
              </a:tr>
              <a:tr h="273289">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0741359"/>
                  </a:ext>
                </a:extLst>
              </a:tr>
            </a:tbl>
          </a:graphicData>
        </a:graphic>
      </p:graphicFrame>
    </p:spTree>
    <p:extLst>
      <p:ext uri="{BB962C8B-B14F-4D97-AF65-F5344CB8AC3E}">
        <p14:creationId xmlns:p14="http://schemas.microsoft.com/office/powerpoint/2010/main" val="324619583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3_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25" name="Rectangle 24">
            <a:extLst>
              <a:ext uri="{FF2B5EF4-FFF2-40B4-BE49-F238E27FC236}">
                <a16:creationId xmlns:a16="http://schemas.microsoft.com/office/drawing/2014/main" id="{1A352862-568F-4E3B-9FC9-99CBB4C59374}"/>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ontent Placeholder 16">
            <a:extLst>
              <a:ext uri="{FF2B5EF4-FFF2-40B4-BE49-F238E27FC236}">
                <a16:creationId xmlns:a16="http://schemas.microsoft.com/office/drawing/2014/main" id="{6EDE8874-9CF0-4C3F-927E-068C77047CFF}"/>
              </a:ext>
            </a:extLst>
          </p:cNvPr>
          <p:cNvSpPr>
            <a:spLocks noGrp="1"/>
          </p:cNvSpPr>
          <p:nvPr>
            <p:ph sz="quarter" idx="10"/>
          </p:nvPr>
        </p:nvSpPr>
        <p:spPr>
          <a:xfrm>
            <a:off x="728663" y="2786063"/>
            <a:ext cx="2210480" cy="553997"/>
          </a:xfrm>
        </p:spPr>
        <p:txBody>
          <a:bodyPr/>
          <a:lstStyle>
            <a:lvl1pPr marL="0" indent="0">
              <a:buNone/>
              <a:defRPr/>
            </a:lvl1pPr>
          </a:lstStyle>
          <a:p>
            <a:pPr lvl="0"/>
            <a:endParaRPr lang="en-US" dirty="0"/>
          </a:p>
        </p:txBody>
      </p:sp>
      <p:sp>
        <p:nvSpPr>
          <p:cNvPr id="18" name="Content Placeholder 16">
            <a:extLst>
              <a:ext uri="{FF2B5EF4-FFF2-40B4-BE49-F238E27FC236}">
                <a16:creationId xmlns:a16="http://schemas.microsoft.com/office/drawing/2014/main" id="{0C7F1084-EBD7-45DB-8E76-D7F111640C7E}"/>
              </a:ext>
            </a:extLst>
          </p:cNvPr>
          <p:cNvSpPr>
            <a:spLocks noGrp="1"/>
          </p:cNvSpPr>
          <p:nvPr>
            <p:ph sz="quarter" idx="11"/>
          </p:nvPr>
        </p:nvSpPr>
        <p:spPr>
          <a:xfrm>
            <a:off x="728663" y="3475063"/>
            <a:ext cx="2210480" cy="553997"/>
          </a:xfrm>
        </p:spPr>
        <p:txBody>
          <a:bodyPr/>
          <a:lstStyle>
            <a:lvl1pPr marL="0" indent="0">
              <a:buNone/>
              <a:defRPr/>
            </a:lvl1pPr>
          </a:lstStyle>
          <a:p>
            <a:pPr lvl="0"/>
            <a:endParaRPr lang="en-US" dirty="0"/>
          </a:p>
        </p:txBody>
      </p:sp>
      <p:sp>
        <p:nvSpPr>
          <p:cNvPr id="19" name="Content Placeholder 16">
            <a:extLst>
              <a:ext uri="{FF2B5EF4-FFF2-40B4-BE49-F238E27FC236}">
                <a16:creationId xmlns:a16="http://schemas.microsoft.com/office/drawing/2014/main" id="{DE636111-B5B3-4CCA-8830-E499D3543EB5}"/>
              </a:ext>
            </a:extLst>
          </p:cNvPr>
          <p:cNvSpPr>
            <a:spLocks noGrp="1"/>
          </p:cNvSpPr>
          <p:nvPr>
            <p:ph sz="quarter" idx="12"/>
          </p:nvPr>
        </p:nvSpPr>
        <p:spPr>
          <a:xfrm>
            <a:off x="728663" y="4210851"/>
            <a:ext cx="2210480" cy="553997"/>
          </a:xfrm>
        </p:spPr>
        <p:txBody>
          <a:bodyPr/>
          <a:lstStyle>
            <a:lvl1pPr marL="0" indent="0">
              <a:buNone/>
              <a:defRPr/>
            </a:lvl1pPr>
          </a:lstStyle>
          <a:p>
            <a:pPr lvl="0"/>
            <a:endParaRPr lang="en-US" dirty="0"/>
          </a:p>
        </p:txBody>
      </p:sp>
      <p:sp>
        <p:nvSpPr>
          <p:cNvPr id="20" name="Content Placeholder 16">
            <a:extLst>
              <a:ext uri="{FF2B5EF4-FFF2-40B4-BE49-F238E27FC236}">
                <a16:creationId xmlns:a16="http://schemas.microsoft.com/office/drawing/2014/main" id="{E120F6AB-EF27-40F5-8B87-987C2EE90243}"/>
              </a:ext>
            </a:extLst>
          </p:cNvPr>
          <p:cNvSpPr>
            <a:spLocks noGrp="1"/>
          </p:cNvSpPr>
          <p:nvPr>
            <p:ph sz="quarter" idx="13"/>
          </p:nvPr>
        </p:nvSpPr>
        <p:spPr>
          <a:xfrm>
            <a:off x="728663" y="4936947"/>
            <a:ext cx="2210480" cy="553997"/>
          </a:xfrm>
        </p:spPr>
        <p:txBody>
          <a:bodyPr/>
          <a:lstStyle>
            <a:lvl1pPr marL="0" indent="0">
              <a:buNone/>
              <a:defRPr/>
            </a:lvl1pPr>
          </a:lstStyle>
          <a:p>
            <a:pPr lvl="0"/>
            <a:endParaRPr lang="en-US" dirty="0"/>
          </a:p>
        </p:txBody>
      </p:sp>
      <p:sp>
        <p:nvSpPr>
          <p:cNvPr id="21" name="Content Placeholder 16">
            <a:extLst>
              <a:ext uri="{FF2B5EF4-FFF2-40B4-BE49-F238E27FC236}">
                <a16:creationId xmlns:a16="http://schemas.microsoft.com/office/drawing/2014/main" id="{1EFEF8E9-7F53-430C-8F60-AD9CD86F852D}"/>
              </a:ext>
            </a:extLst>
          </p:cNvPr>
          <p:cNvSpPr>
            <a:spLocks noGrp="1"/>
          </p:cNvSpPr>
          <p:nvPr>
            <p:ph sz="quarter" idx="14"/>
          </p:nvPr>
        </p:nvSpPr>
        <p:spPr>
          <a:xfrm>
            <a:off x="3151923" y="2809816"/>
            <a:ext cx="2210480" cy="553997"/>
          </a:xfrm>
        </p:spPr>
        <p:txBody>
          <a:bodyPr/>
          <a:lstStyle>
            <a:lvl1pPr marL="0" indent="0">
              <a:buNone/>
              <a:defRPr/>
            </a:lvl1pPr>
          </a:lstStyle>
          <a:p>
            <a:pPr lvl="0"/>
            <a:endParaRPr lang="en-US" dirty="0"/>
          </a:p>
        </p:txBody>
      </p:sp>
      <p:sp>
        <p:nvSpPr>
          <p:cNvPr id="22" name="Content Placeholder 16">
            <a:extLst>
              <a:ext uri="{FF2B5EF4-FFF2-40B4-BE49-F238E27FC236}">
                <a16:creationId xmlns:a16="http://schemas.microsoft.com/office/drawing/2014/main" id="{EEF78A30-DE33-412F-B7E3-1F43AE54CBA2}"/>
              </a:ext>
            </a:extLst>
          </p:cNvPr>
          <p:cNvSpPr>
            <a:spLocks noGrp="1"/>
          </p:cNvSpPr>
          <p:nvPr>
            <p:ph sz="quarter" idx="15"/>
          </p:nvPr>
        </p:nvSpPr>
        <p:spPr>
          <a:xfrm>
            <a:off x="3151923" y="3498816"/>
            <a:ext cx="2210480" cy="553997"/>
          </a:xfrm>
        </p:spPr>
        <p:txBody>
          <a:bodyPr/>
          <a:lstStyle>
            <a:lvl1pPr marL="0" indent="0">
              <a:buNone/>
              <a:defRPr/>
            </a:lvl1pPr>
          </a:lstStyle>
          <a:p>
            <a:pPr lvl="0"/>
            <a:endParaRPr lang="en-US" dirty="0"/>
          </a:p>
        </p:txBody>
      </p:sp>
      <p:sp>
        <p:nvSpPr>
          <p:cNvPr id="23" name="Content Placeholder 16">
            <a:extLst>
              <a:ext uri="{FF2B5EF4-FFF2-40B4-BE49-F238E27FC236}">
                <a16:creationId xmlns:a16="http://schemas.microsoft.com/office/drawing/2014/main" id="{DB216172-FD9C-42BD-8260-988C41C62BC8}"/>
              </a:ext>
            </a:extLst>
          </p:cNvPr>
          <p:cNvSpPr>
            <a:spLocks noGrp="1"/>
          </p:cNvSpPr>
          <p:nvPr>
            <p:ph sz="quarter" idx="16"/>
          </p:nvPr>
        </p:nvSpPr>
        <p:spPr>
          <a:xfrm>
            <a:off x="3151923" y="4234604"/>
            <a:ext cx="2210480" cy="553997"/>
          </a:xfrm>
        </p:spPr>
        <p:txBody>
          <a:bodyPr/>
          <a:lstStyle>
            <a:lvl1pPr marL="0" indent="0">
              <a:buNone/>
              <a:defRPr/>
            </a:lvl1pPr>
          </a:lstStyle>
          <a:p>
            <a:pPr lvl="0"/>
            <a:endParaRPr lang="en-US" dirty="0"/>
          </a:p>
        </p:txBody>
      </p:sp>
      <p:sp>
        <p:nvSpPr>
          <p:cNvPr id="24" name="Content Placeholder 16">
            <a:extLst>
              <a:ext uri="{FF2B5EF4-FFF2-40B4-BE49-F238E27FC236}">
                <a16:creationId xmlns:a16="http://schemas.microsoft.com/office/drawing/2014/main" id="{1CEA7404-D71D-428B-8144-5905D75BD0B4}"/>
              </a:ext>
            </a:extLst>
          </p:cNvPr>
          <p:cNvSpPr>
            <a:spLocks noGrp="1"/>
          </p:cNvSpPr>
          <p:nvPr>
            <p:ph sz="quarter" idx="17"/>
          </p:nvPr>
        </p:nvSpPr>
        <p:spPr>
          <a:xfrm>
            <a:off x="3151923" y="4960700"/>
            <a:ext cx="2210480" cy="553997"/>
          </a:xfrm>
        </p:spPr>
        <p:txBody>
          <a:bodyPr/>
          <a:lstStyle>
            <a:lvl1pPr marL="0" indent="0">
              <a:buNone/>
              <a:defRPr/>
            </a:lvl1pPr>
          </a:lstStyle>
          <a:p>
            <a:pPr lvl="0"/>
            <a:endParaRPr lang="en-US" dirty="0"/>
          </a:p>
        </p:txBody>
      </p:sp>
      <p:graphicFrame>
        <p:nvGraphicFramePr>
          <p:cNvPr id="26" name="Table 25">
            <a:extLst>
              <a:ext uri="{FF2B5EF4-FFF2-40B4-BE49-F238E27FC236}">
                <a16:creationId xmlns:a16="http://schemas.microsoft.com/office/drawing/2014/main" id="{844122B6-F736-4DF5-B4D8-ECC35E224D93}"/>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2336917961"/>
              </p:ext>
            </p:extLst>
          </p:nvPr>
        </p:nvGraphicFramePr>
        <p:xfrm>
          <a:off x="2186360" y="3399691"/>
          <a:ext cx="728306" cy="1913022"/>
        </p:xfrm>
        <a:graphic>
          <a:graphicData uri="http://schemas.openxmlformats.org/drawingml/2006/table">
            <a:tbl>
              <a:tblPr firstRow="1" bandRow="1">
                <a:tableStyleId>{5940675A-B579-460E-94D1-54222C63F5DA}</a:tableStyleId>
              </a:tblPr>
              <a:tblGrid>
                <a:gridCol w="728306">
                  <a:extLst>
                    <a:ext uri="{9D8B030D-6E8A-4147-A177-3AD203B41FA5}">
                      <a16:colId xmlns:a16="http://schemas.microsoft.com/office/drawing/2014/main" val="887149463"/>
                    </a:ext>
                  </a:extLst>
                </a:gridCol>
              </a:tblGrid>
              <a:tr h="637674">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6907394"/>
                  </a:ext>
                </a:extLst>
              </a:tr>
              <a:tr h="637674">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59904714"/>
                  </a:ext>
                </a:extLst>
              </a:tr>
              <a:tr h="637674">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77403164"/>
                  </a:ext>
                </a:extLst>
              </a:tr>
            </a:tbl>
          </a:graphicData>
        </a:graphic>
      </p:graphicFrame>
      <p:graphicFrame>
        <p:nvGraphicFramePr>
          <p:cNvPr id="27" name="Table 26">
            <a:extLst>
              <a:ext uri="{FF2B5EF4-FFF2-40B4-BE49-F238E27FC236}">
                <a16:creationId xmlns:a16="http://schemas.microsoft.com/office/drawing/2014/main" id="{2F0E8D88-94C2-417A-8E8E-F0D2B2B0CF05}"/>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868227598"/>
              </p:ext>
            </p:extLst>
          </p:nvPr>
        </p:nvGraphicFramePr>
        <p:xfrm>
          <a:off x="4532567" y="3399691"/>
          <a:ext cx="728306" cy="1913023"/>
        </p:xfrm>
        <a:graphic>
          <a:graphicData uri="http://schemas.openxmlformats.org/drawingml/2006/table">
            <a:tbl>
              <a:tblPr firstRow="1" bandRow="1">
                <a:tableStyleId>{5940675A-B579-460E-94D1-54222C63F5DA}</a:tableStyleId>
              </a:tblPr>
              <a:tblGrid>
                <a:gridCol w="728306">
                  <a:extLst>
                    <a:ext uri="{9D8B030D-6E8A-4147-A177-3AD203B41FA5}">
                      <a16:colId xmlns:a16="http://schemas.microsoft.com/office/drawing/2014/main" val="887149463"/>
                    </a:ext>
                  </a:extLst>
                </a:gridCol>
              </a:tblGrid>
              <a:tr h="1913023">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6907394"/>
                  </a:ext>
                </a:extLst>
              </a:tr>
            </a:tbl>
          </a:graphicData>
        </a:graphic>
      </p:graphicFrame>
      <p:graphicFrame>
        <p:nvGraphicFramePr>
          <p:cNvPr id="28" name="Table 27">
            <a:extLst>
              <a:ext uri="{FF2B5EF4-FFF2-40B4-BE49-F238E27FC236}">
                <a16:creationId xmlns:a16="http://schemas.microsoft.com/office/drawing/2014/main" id="{0095076F-B8F5-4F51-94A9-9078EDFB04C1}"/>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332502339"/>
              </p:ext>
            </p:extLst>
          </p:nvPr>
        </p:nvGraphicFramePr>
        <p:xfrm>
          <a:off x="9277334" y="3399692"/>
          <a:ext cx="728306" cy="1913023"/>
        </p:xfrm>
        <a:graphic>
          <a:graphicData uri="http://schemas.openxmlformats.org/drawingml/2006/table">
            <a:tbl>
              <a:tblPr firstRow="1" bandRow="1">
                <a:tableStyleId>{5940675A-B579-460E-94D1-54222C63F5DA}</a:tableStyleId>
              </a:tblPr>
              <a:tblGrid>
                <a:gridCol w="728306">
                  <a:extLst>
                    <a:ext uri="{9D8B030D-6E8A-4147-A177-3AD203B41FA5}">
                      <a16:colId xmlns:a16="http://schemas.microsoft.com/office/drawing/2014/main" val="887149463"/>
                    </a:ext>
                  </a:extLst>
                </a:gridCol>
              </a:tblGrid>
              <a:tr h="273289">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6907394"/>
                  </a:ext>
                </a:extLst>
              </a:tr>
              <a:tr h="273289">
                <a:tc>
                  <a:txBody>
                    <a:bodyPr/>
                    <a:lstStyle/>
                    <a:p>
                      <a:endParaRPr lang="en-US" sz="100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99083638"/>
                  </a:ext>
                </a:extLst>
              </a:tr>
              <a:tr h="273289">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76042609"/>
                  </a:ext>
                </a:extLst>
              </a:tr>
              <a:tr h="273289">
                <a:tc>
                  <a:txBody>
                    <a:bodyPr/>
                    <a:lstStyle/>
                    <a:p>
                      <a:endParaRPr lang="en-US" sz="100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91973422"/>
                  </a:ext>
                </a:extLst>
              </a:tr>
              <a:tr h="273289">
                <a:tc>
                  <a:txBody>
                    <a:bodyPr/>
                    <a:lstStyle/>
                    <a:p>
                      <a:endParaRPr lang="en-US" sz="100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5457509"/>
                  </a:ext>
                </a:extLst>
              </a:tr>
              <a:tr h="273289">
                <a:tc>
                  <a:txBody>
                    <a:bodyPr/>
                    <a:lstStyle/>
                    <a:p>
                      <a:endParaRPr lang="en-US" sz="100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32604794"/>
                  </a:ext>
                </a:extLst>
              </a:tr>
              <a:tr h="273289">
                <a:tc>
                  <a:txBody>
                    <a:bodyPr/>
                    <a:lstStyle/>
                    <a:p>
                      <a:endParaRPr lang="en-US" sz="1000" dirty="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0741359"/>
                  </a:ext>
                </a:extLst>
              </a:tr>
            </a:tbl>
          </a:graphicData>
        </a:graphic>
      </p:graphicFrame>
    </p:spTree>
    <p:extLst>
      <p:ext uri="{BB962C8B-B14F-4D97-AF65-F5344CB8AC3E}">
        <p14:creationId xmlns:p14="http://schemas.microsoft.com/office/powerpoint/2010/main" val="112201509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569136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_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64203020-E267-4B2A-B6CF-281EACA49B41}"/>
              </a:ext>
            </a:extLst>
          </p:cNvPr>
          <p:cNvSpPr>
            <a:spLocks noGrp="1"/>
          </p:cNvSpPr>
          <p:nvPr>
            <p:ph sz="quarter" idx="10"/>
          </p:nvPr>
        </p:nvSpPr>
        <p:spPr>
          <a:xfrm>
            <a:off x="520700" y="1689100"/>
            <a:ext cx="2349500" cy="553998"/>
          </a:xfrm>
        </p:spPr>
        <p:txBody>
          <a:bodyPr/>
          <a:lstStyle>
            <a:lvl1pPr marL="0" indent="0">
              <a:buNone/>
              <a:defRPr/>
            </a:lvl1pPr>
          </a:lstStyle>
          <a:p>
            <a:pPr lvl="0"/>
            <a:endParaRPr lang="en-US" dirty="0"/>
          </a:p>
        </p:txBody>
      </p:sp>
      <p:sp>
        <p:nvSpPr>
          <p:cNvPr id="6" name="Content Placeholder 4">
            <a:extLst>
              <a:ext uri="{FF2B5EF4-FFF2-40B4-BE49-F238E27FC236}">
                <a16:creationId xmlns:a16="http://schemas.microsoft.com/office/drawing/2014/main" id="{BE7468C4-B66D-4B45-AC0F-D00061E7CC78}"/>
              </a:ext>
            </a:extLst>
          </p:cNvPr>
          <p:cNvSpPr>
            <a:spLocks noGrp="1"/>
          </p:cNvSpPr>
          <p:nvPr>
            <p:ph sz="quarter" idx="11"/>
          </p:nvPr>
        </p:nvSpPr>
        <p:spPr>
          <a:xfrm>
            <a:off x="520700" y="2466023"/>
            <a:ext cx="2349500" cy="55399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BEECB98D-B515-49AA-B915-C312514C08E7}"/>
              </a:ext>
            </a:extLst>
          </p:cNvPr>
          <p:cNvSpPr>
            <a:spLocks noGrp="1"/>
          </p:cNvSpPr>
          <p:nvPr>
            <p:ph sz="quarter" idx="12"/>
          </p:nvPr>
        </p:nvSpPr>
        <p:spPr>
          <a:xfrm>
            <a:off x="520700" y="3223245"/>
            <a:ext cx="2349500" cy="55399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9470E261-58AF-4752-B6FB-9FB73634CC43}"/>
              </a:ext>
            </a:extLst>
          </p:cNvPr>
          <p:cNvSpPr>
            <a:spLocks noGrp="1"/>
          </p:cNvSpPr>
          <p:nvPr>
            <p:ph sz="quarter" idx="13"/>
          </p:nvPr>
        </p:nvSpPr>
        <p:spPr>
          <a:xfrm>
            <a:off x="520700" y="4000168"/>
            <a:ext cx="2349500" cy="553998"/>
          </a:xfrm>
        </p:spPr>
        <p:txBody>
          <a:bodyPr/>
          <a:lstStyle>
            <a:lvl1pPr marL="0" indent="0">
              <a:buNone/>
              <a:defRPr/>
            </a:lvl1pPr>
          </a:lstStyle>
          <a:p>
            <a:pPr lvl="0"/>
            <a:endParaRPr lang="en-US" dirty="0"/>
          </a:p>
        </p:txBody>
      </p:sp>
      <p:sp>
        <p:nvSpPr>
          <p:cNvPr id="9" name="Content Placeholder 4">
            <a:extLst>
              <a:ext uri="{FF2B5EF4-FFF2-40B4-BE49-F238E27FC236}">
                <a16:creationId xmlns:a16="http://schemas.microsoft.com/office/drawing/2014/main" id="{E6F33301-2135-4915-BDD2-F3064E7CC9B4}"/>
              </a:ext>
            </a:extLst>
          </p:cNvPr>
          <p:cNvSpPr>
            <a:spLocks noGrp="1"/>
          </p:cNvSpPr>
          <p:nvPr>
            <p:ph sz="quarter" idx="14"/>
          </p:nvPr>
        </p:nvSpPr>
        <p:spPr>
          <a:xfrm>
            <a:off x="520700" y="4777091"/>
            <a:ext cx="2349500" cy="553998"/>
          </a:xfrm>
        </p:spPr>
        <p:txBody>
          <a:bodyPr/>
          <a:lstStyle>
            <a:lvl1pPr marL="0" indent="0">
              <a:buNone/>
              <a:defRPr/>
            </a:lvl1pPr>
          </a:lstStyle>
          <a:p>
            <a:pPr lvl="0"/>
            <a:endParaRPr lang="en-US" dirty="0"/>
          </a:p>
        </p:txBody>
      </p:sp>
      <p:sp>
        <p:nvSpPr>
          <p:cNvPr id="10" name="Content Placeholder 4">
            <a:extLst>
              <a:ext uri="{FF2B5EF4-FFF2-40B4-BE49-F238E27FC236}">
                <a16:creationId xmlns:a16="http://schemas.microsoft.com/office/drawing/2014/main" id="{8630F0BB-B0B2-49D2-AE60-57E3F766C2C1}"/>
              </a:ext>
            </a:extLst>
          </p:cNvPr>
          <p:cNvSpPr>
            <a:spLocks noGrp="1"/>
          </p:cNvSpPr>
          <p:nvPr>
            <p:ph sz="quarter" idx="15"/>
          </p:nvPr>
        </p:nvSpPr>
        <p:spPr>
          <a:xfrm>
            <a:off x="520700" y="5554014"/>
            <a:ext cx="23495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07614916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14" name="Content Placeholder 13">
            <a:extLst>
              <a:ext uri="{FF2B5EF4-FFF2-40B4-BE49-F238E27FC236}">
                <a16:creationId xmlns:a16="http://schemas.microsoft.com/office/drawing/2014/main" id="{382C0EF9-5216-438B-BF53-EB2DD19CECE4}"/>
              </a:ext>
            </a:extLst>
          </p:cNvPr>
          <p:cNvSpPr>
            <a:spLocks noGrp="1"/>
          </p:cNvSpPr>
          <p:nvPr>
            <p:ph sz="quarter" idx="10"/>
          </p:nvPr>
        </p:nvSpPr>
        <p:spPr>
          <a:xfrm>
            <a:off x="269240" y="2088840"/>
            <a:ext cx="1889760" cy="578159"/>
          </a:xfrm>
        </p:spPr>
        <p:txBody>
          <a:bodyPr/>
          <a:lstStyle>
            <a:lvl1pPr marL="0" indent="0">
              <a:buNone/>
              <a:defRPr/>
            </a:lvl1pPr>
          </a:lstStyle>
          <a:p>
            <a:pPr lvl="0"/>
            <a:endParaRPr lang="en-US" dirty="0"/>
          </a:p>
        </p:txBody>
      </p:sp>
      <p:sp>
        <p:nvSpPr>
          <p:cNvPr id="15" name="Content Placeholder 13">
            <a:extLst>
              <a:ext uri="{FF2B5EF4-FFF2-40B4-BE49-F238E27FC236}">
                <a16:creationId xmlns:a16="http://schemas.microsoft.com/office/drawing/2014/main" id="{56AA61E0-4005-4F87-9EB3-6520CCAFDF77}"/>
              </a:ext>
            </a:extLst>
          </p:cNvPr>
          <p:cNvSpPr>
            <a:spLocks noGrp="1"/>
          </p:cNvSpPr>
          <p:nvPr>
            <p:ph sz="quarter" idx="11"/>
          </p:nvPr>
        </p:nvSpPr>
        <p:spPr>
          <a:xfrm>
            <a:off x="269240" y="2760934"/>
            <a:ext cx="1889760" cy="578159"/>
          </a:xfrm>
        </p:spPr>
        <p:txBody>
          <a:bodyPr/>
          <a:lstStyle>
            <a:lvl1pPr marL="0" indent="0">
              <a:buNone/>
              <a:defRPr/>
            </a:lvl1pPr>
          </a:lstStyle>
          <a:p>
            <a:pPr lvl="0"/>
            <a:endParaRPr lang="en-US" dirty="0"/>
          </a:p>
        </p:txBody>
      </p:sp>
      <p:sp>
        <p:nvSpPr>
          <p:cNvPr id="16" name="Content Placeholder 13">
            <a:extLst>
              <a:ext uri="{FF2B5EF4-FFF2-40B4-BE49-F238E27FC236}">
                <a16:creationId xmlns:a16="http://schemas.microsoft.com/office/drawing/2014/main" id="{16225F62-2777-4351-864F-4727E8139343}"/>
              </a:ext>
            </a:extLst>
          </p:cNvPr>
          <p:cNvSpPr>
            <a:spLocks noGrp="1"/>
          </p:cNvSpPr>
          <p:nvPr>
            <p:ph sz="quarter" idx="12"/>
          </p:nvPr>
        </p:nvSpPr>
        <p:spPr>
          <a:xfrm>
            <a:off x="269240" y="3504676"/>
            <a:ext cx="1889760" cy="578159"/>
          </a:xfrm>
        </p:spPr>
        <p:txBody>
          <a:bodyPr/>
          <a:lstStyle>
            <a:lvl1pPr marL="0" indent="0">
              <a:buNone/>
              <a:defRPr/>
            </a:lvl1pPr>
          </a:lstStyle>
          <a:p>
            <a:pPr lvl="0"/>
            <a:endParaRPr lang="en-US" dirty="0"/>
          </a:p>
        </p:txBody>
      </p:sp>
      <p:sp>
        <p:nvSpPr>
          <p:cNvPr id="17" name="Content Placeholder 13">
            <a:extLst>
              <a:ext uri="{FF2B5EF4-FFF2-40B4-BE49-F238E27FC236}">
                <a16:creationId xmlns:a16="http://schemas.microsoft.com/office/drawing/2014/main" id="{4122B630-A70B-41DF-9793-3DCCC5D2E662}"/>
              </a:ext>
            </a:extLst>
          </p:cNvPr>
          <p:cNvSpPr>
            <a:spLocks noGrp="1"/>
          </p:cNvSpPr>
          <p:nvPr>
            <p:ph sz="quarter" idx="13"/>
          </p:nvPr>
        </p:nvSpPr>
        <p:spPr>
          <a:xfrm>
            <a:off x="269240" y="4176770"/>
            <a:ext cx="1889760" cy="578159"/>
          </a:xfrm>
        </p:spPr>
        <p:txBody>
          <a:bodyPr/>
          <a:lstStyle>
            <a:lvl1pPr marL="0" indent="0">
              <a:buNone/>
              <a:defRPr/>
            </a:lvl1pPr>
          </a:lstStyle>
          <a:p>
            <a:pPr lvl="0"/>
            <a:endParaRPr lang="en-US" dirty="0"/>
          </a:p>
        </p:txBody>
      </p:sp>
      <p:sp>
        <p:nvSpPr>
          <p:cNvPr id="18" name="Content Placeholder 13">
            <a:extLst>
              <a:ext uri="{FF2B5EF4-FFF2-40B4-BE49-F238E27FC236}">
                <a16:creationId xmlns:a16="http://schemas.microsoft.com/office/drawing/2014/main" id="{FD8D8D15-3907-43E2-8330-C4B85AE07D7B}"/>
              </a:ext>
            </a:extLst>
          </p:cNvPr>
          <p:cNvSpPr>
            <a:spLocks noGrp="1"/>
          </p:cNvSpPr>
          <p:nvPr>
            <p:ph sz="quarter" idx="14"/>
          </p:nvPr>
        </p:nvSpPr>
        <p:spPr>
          <a:xfrm>
            <a:off x="269240" y="4849872"/>
            <a:ext cx="1889760" cy="578159"/>
          </a:xfrm>
        </p:spPr>
        <p:txBody>
          <a:bodyPr/>
          <a:lstStyle>
            <a:lvl1pPr marL="0" indent="0">
              <a:buNone/>
              <a:defRPr/>
            </a:lvl1pPr>
          </a:lstStyle>
          <a:p>
            <a:pPr lvl="0"/>
            <a:endParaRPr lang="en-US" dirty="0"/>
          </a:p>
        </p:txBody>
      </p:sp>
      <p:sp>
        <p:nvSpPr>
          <p:cNvPr id="19" name="Content Placeholder 13">
            <a:extLst>
              <a:ext uri="{FF2B5EF4-FFF2-40B4-BE49-F238E27FC236}">
                <a16:creationId xmlns:a16="http://schemas.microsoft.com/office/drawing/2014/main" id="{CB75D6BE-5681-409A-9CE8-1D697724B285}"/>
              </a:ext>
            </a:extLst>
          </p:cNvPr>
          <p:cNvSpPr>
            <a:spLocks noGrp="1"/>
          </p:cNvSpPr>
          <p:nvPr>
            <p:ph sz="quarter" idx="15"/>
          </p:nvPr>
        </p:nvSpPr>
        <p:spPr>
          <a:xfrm>
            <a:off x="269240" y="5521966"/>
            <a:ext cx="1889760" cy="578159"/>
          </a:xfrm>
        </p:spPr>
        <p:txBody>
          <a:bodyPr/>
          <a:lstStyle>
            <a:lvl1pPr marL="0" indent="0">
              <a:buNone/>
              <a:defRPr/>
            </a:lvl1pPr>
          </a:lstStyle>
          <a:p>
            <a:pPr lvl="0"/>
            <a:endParaRPr lang="en-US" dirty="0"/>
          </a:p>
        </p:txBody>
      </p:sp>
      <p:sp>
        <p:nvSpPr>
          <p:cNvPr id="20" name="Content Placeholder 13">
            <a:extLst>
              <a:ext uri="{FF2B5EF4-FFF2-40B4-BE49-F238E27FC236}">
                <a16:creationId xmlns:a16="http://schemas.microsoft.com/office/drawing/2014/main" id="{B1AADBAA-2CF3-4994-9892-334DA7F1FFAA}"/>
              </a:ext>
            </a:extLst>
          </p:cNvPr>
          <p:cNvSpPr>
            <a:spLocks noGrp="1"/>
          </p:cNvSpPr>
          <p:nvPr>
            <p:ph sz="quarter" idx="16"/>
          </p:nvPr>
        </p:nvSpPr>
        <p:spPr>
          <a:xfrm>
            <a:off x="2313513" y="2088840"/>
            <a:ext cx="1889760" cy="578159"/>
          </a:xfrm>
        </p:spPr>
        <p:txBody>
          <a:bodyPr/>
          <a:lstStyle>
            <a:lvl1pPr marL="0" indent="0">
              <a:buNone/>
              <a:defRPr/>
            </a:lvl1pPr>
          </a:lstStyle>
          <a:p>
            <a:pPr lvl="0"/>
            <a:endParaRPr lang="en-US" dirty="0"/>
          </a:p>
        </p:txBody>
      </p:sp>
      <p:sp>
        <p:nvSpPr>
          <p:cNvPr id="21" name="Content Placeholder 13">
            <a:extLst>
              <a:ext uri="{FF2B5EF4-FFF2-40B4-BE49-F238E27FC236}">
                <a16:creationId xmlns:a16="http://schemas.microsoft.com/office/drawing/2014/main" id="{EE130FDE-F9CE-4EE9-82BF-E32E14049924}"/>
              </a:ext>
            </a:extLst>
          </p:cNvPr>
          <p:cNvSpPr>
            <a:spLocks noGrp="1"/>
          </p:cNvSpPr>
          <p:nvPr>
            <p:ph sz="quarter" idx="17"/>
          </p:nvPr>
        </p:nvSpPr>
        <p:spPr>
          <a:xfrm>
            <a:off x="2313513" y="2760934"/>
            <a:ext cx="1889760" cy="578159"/>
          </a:xfrm>
        </p:spPr>
        <p:txBody>
          <a:bodyPr/>
          <a:lstStyle>
            <a:lvl1pPr marL="0" indent="0">
              <a:buNone/>
              <a:defRPr/>
            </a:lvl1pPr>
          </a:lstStyle>
          <a:p>
            <a:pPr lvl="0"/>
            <a:endParaRPr lang="en-US" dirty="0"/>
          </a:p>
        </p:txBody>
      </p:sp>
      <p:sp>
        <p:nvSpPr>
          <p:cNvPr id="22" name="Content Placeholder 13">
            <a:extLst>
              <a:ext uri="{FF2B5EF4-FFF2-40B4-BE49-F238E27FC236}">
                <a16:creationId xmlns:a16="http://schemas.microsoft.com/office/drawing/2014/main" id="{3C1085C9-A8DC-4AAC-A9A1-0F64A1542130}"/>
              </a:ext>
            </a:extLst>
          </p:cNvPr>
          <p:cNvSpPr>
            <a:spLocks noGrp="1"/>
          </p:cNvSpPr>
          <p:nvPr>
            <p:ph sz="quarter" idx="18"/>
          </p:nvPr>
        </p:nvSpPr>
        <p:spPr>
          <a:xfrm>
            <a:off x="2313513" y="3504676"/>
            <a:ext cx="1889760" cy="578159"/>
          </a:xfrm>
        </p:spPr>
        <p:txBody>
          <a:bodyPr/>
          <a:lstStyle>
            <a:lvl1pPr marL="0" indent="0">
              <a:buNone/>
              <a:defRPr/>
            </a:lvl1pPr>
          </a:lstStyle>
          <a:p>
            <a:pPr lvl="0"/>
            <a:endParaRPr lang="en-US" dirty="0"/>
          </a:p>
        </p:txBody>
      </p:sp>
      <p:sp>
        <p:nvSpPr>
          <p:cNvPr id="23" name="Content Placeholder 13">
            <a:extLst>
              <a:ext uri="{FF2B5EF4-FFF2-40B4-BE49-F238E27FC236}">
                <a16:creationId xmlns:a16="http://schemas.microsoft.com/office/drawing/2014/main" id="{8774F013-5603-4308-BFD4-CE1AF6EF4F2F}"/>
              </a:ext>
            </a:extLst>
          </p:cNvPr>
          <p:cNvSpPr>
            <a:spLocks noGrp="1"/>
          </p:cNvSpPr>
          <p:nvPr>
            <p:ph sz="quarter" idx="19"/>
          </p:nvPr>
        </p:nvSpPr>
        <p:spPr>
          <a:xfrm>
            <a:off x="2313513" y="4176770"/>
            <a:ext cx="1889760" cy="578159"/>
          </a:xfrm>
        </p:spPr>
        <p:txBody>
          <a:bodyPr/>
          <a:lstStyle>
            <a:lvl1pPr marL="0" indent="0">
              <a:buNone/>
              <a:defRPr/>
            </a:lvl1pPr>
          </a:lstStyle>
          <a:p>
            <a:pPr lvl="0"/>
            <a:endParaRPr lang="en-US" dirty="0"/>
          </a:p>
        </p:txBody>
      </p:sp>
      <p:sp>
        <p:nvSpPr>
          <p:cNvPr id="24" name="Content Placeholder 13">
            <a:extLst>
              <a:ext uri="{FF2B5EF4-FFF2-40B4-BE49-F238E27FC236}">
                <a16:creationId xmlns:a16="http://schemas.microsoft.com/office/drawing/2014/main" id="{5FC3B550-DE53-46BA-8CFF-95891FBF9842}"/>
              </a:ext>
            </a:extLst>
          </p:cNvPr>
          <p:cNvSpPr>
            <a:spLocks noGrp="1"/>
          </p:cNvSpPr>
          <p:nvPr>
            <p:ph sz="quarter" idx="20"/>
          </p:nvPr>
        </p:nvSpPr>
        <p:spPr>
          <a:xfrm>
            <a:off x="2313513" y="4849872"/>
            <a:ext cx="1889760" cy="578159"/>
          </a:xfrm>
        </p:spPr>
        <p:txBody>
          <a:bodyPr/>
          <a:lstStyle>
            <a:lvl1pPr marL="0" indent="0">
              <a:buNone/>
              <a:defRPr/>
            </a:lvl1pPr>
          </a:lstStyle>
          <a:p>
            <a:pPr lvl="0"/>
            <a:endParaRPr lang="en-US" dirty="0"/>
          </a:p>
        </p:txBody>
      </p:sp>
      <p:sp>
        <p:nvSpPr>
          <p:cNvPr id="25" name="Content Placeholder 13">
            <a:extLst>
              <a:ext uri="{FF2B5EF4-FFF2-40B4-BE49-F238E27FC236}">
                <a16:creationId xmlns:a16="http://schemas.microsoft.com/office/drawing/2014/main" id="{763854D6-EA64-4923-8409-ACB7A7FB50D7}"/>
              </a:ext>
            </a:extLst>
          </p:cNvPr>
          <p:cNvSpPr>
            <a:spLocks noGrp="1"/>
          </p:cNvSpPr>
          <p:nvPr>
            <p:ph sz="quarter" idx="21"/>
          </p:nvPr>
        </p:nvSpPr>
        <p:spPr>
          <a:xfrm>
            <a:off x="2313513" y="5521966"/>
            <a:ext cx="1889760" cy="578159"/>
          </a:xfrm>
        </p:spPr>
        <p:txBody>
          <a:bodyPr/>
          <a:lstStyle>
            <a:lvl1pPr marL="0" indent="0">
              <a:buNone/>
              <a:defRPr/>
            </a:lvl1pPr>
          </a:lstStyle>
          <a:p>
            <a:pPr lvl="0"/>
            <a:endParaRPr lang="en-US" dirty="0"/>
          </a:p>
        </p:txBody>
      </p:sp>
      <p:sp>
        <p:nvSpPr>
          <p:cNvPr id="26" name="Content Placeholder 13">
            <a:extLst>
              <a:ext uri="{FF2B5EF4-FFF2-40B4-BE49-F238E27FC236}">
                <a16:creationId xmlns:a16="http://schemas.microsoft.com/office/drawing/2014/main" id="{DA08F4E8-3020-44D9-A87F-F84DD0E45D6E}"/>
              </a:ext>
            </a:extLst>
          </p:cNvPr>
          <p:cNvSpPr>
            <a:spLocks noGrp="1"/>
          </p:cNvSpPr>
          <p:nvPr>
            <p:ph sz="quarter" idx="22"/>
          </p:nvPr>
        </p:nvSpPr>
        <p:spPr>
          <a:xfrm>
            <a:off x="4326249" y="2119275"/>
            <a:ext cx="1889760" cy="578159"/>
          </a:xfrm>
        </p:spPr>
        <p:txBody>
          <a:bodyPr/>
          <a:lstStyle>
            <a:lvl1pPr marL="0" indent="0">
              <a:buNone/>
              <a:defRPr/>
            </a:lvl1pPr>
          </a:lstStyle>
          <a:p>
            <a:pPr lvl="0"/>
            <a:endParaRPr lang="en-US" dirty="0"/>
          </a:p>
        </p:txBody>
      </p:sp>
      <p:sp>
        <p:nvSpPr>
          <p:cNvPr id="27" name="Content Placeholder 13">
            <a:extLst>
              <a:ext uri="{FF2B5EF4-FFF2-40B4-BE49-F238E27FC236}">
                <a16:creationId xmlns:a16="http://schemas.microsoft.com/office/drawing/2014/main" id="{FAFA1A9E-7AF3-4EDB-B19A-E143C57A3B29}"/>
              </a:ext>
            </a:extLst>
          </p:cNvPr>
          <p:cNvSpPr>
            <a:spLocks noGrp="1"/>
          </p:cNvSpPr>
          <p:nvPr>
            <p:ph sz="quarter" idx="23"/>
          </p:nvPr>
        </p:nvSpPr>
        <p:spPr>
          <a:xfrm>
            <a:off x="4326249" y="2791369"/>
            <a:ext cx="1889760" cy="578159"/>
          </a:xfrm>
        </p:spPr>
        <p:txBody>
          <a:bodyPr/>
          <a:lstStyle>
            <a:lvl1pPr marL="0" indent="0">
              <a:buNone/>
              <a:defRPr/>
            </a:lvl1pPr>
          </a:lstStyle>
          <a:p>
            <a:pPr lvl="0"/>
            <a:endParaRPr lang="en-US" dirty="0"/>
          </a:p>
        </p:txBody>
      </p:sp>
      <p:sp>
        <p:nvSpPr>
          <p:cNvPr id="28" name="Content Placeholder 13">
            <a:extLst>
              <a:ext uri="{FF2B5EF4-FFF2-40B4-BE49-F238E27FC236}">
                <a16:creationId xmlns:a16="http://schemas.microsoft.com/office/drawing/2014/main" id="{FC5AAEA9-D2CF-4E57-BC77-63A987169AE3}"/>
              </a:ext>
            </a:extLst>
          </p:cNvPr>
          <p:cNvSpPr>
            <a:spLocks noGrp="1"/>
          </p:cNvSpPr>
          <p:nvPr>
            <p:ph sz="quarter" idx="24"/>
          </p:nvPr>
        </p:nvSpPr>
        <p:spPr>
          <a:xfrm>
            <a:off x="4326249" y="3535111"/>
            <a:ext cx="1889760" cy="578159"/>
          </a:xfrm>
        </p:spPr>
        <p:txBody>
          <a:bodyPr/>
          <a:lstStyle>
            <a:lvl1pPr marL="0" indent="0">
              <a:buNone/>
              <a:defRPr/>
            </a:lvl1pPr>
          </a:lstStyle>
          <a:p>
            <a:pPr lvl="0"/>
            <a:endParaRPr lang="en-US" dirty="0"/>
          </a:p>
        </p:txBody>
      </p:sp>
      <p:sp>
        <p:nvSpPr>
          <p:cNvPr id="29" name="Content Placeholder 13">
            <a:extLst>
              <a:ext uri="{FF2B5EF4-FFF2-40B4-BE49-F238E27FC236}">
                <a16:creationId xmlns:a16="http://schemas.microsoft.com/office/drawing/2014/main" id="{A45C3412-5732-4E2D-B810-1C54136FA381}"/>
              </a:ext>
            </a:extLst>
          </p:cNvPr>
          <p:cNvSpPr>
            <a:spLocks noGrp="1"/>
          </p:cNvSpPr>
          <p:nvPr>
            <p:ph sz="quarter" idx="25"/>
          </p:nvPr>
        </p:nvSpPr>
        <p:spPr>
          <a:xfrm>
            <a:off x="4326249" y="4207205"/>
            <a:ext cx="1889760" cy="578159"/>
          </a:xfrm>
        </p:spPr>
        <p:txBody>
          <a:bodyPr/>
          <a:lstStyle>
            <a:lvl1pPr marL="0" indent="0">
              <a:buNone/>
              <a:defRPr/>
            </a:lvl1pPr>
          </a:lstStyle>
          <a:p>
            <a:pPr lvl="0"/>
            <a:endParaRPr lang="en-US" dirty="0"/>
          </a:p>
        </p:txBody>
      </p:sp>
      <p:sp>
        <p:nvSpPr>
          <p:cNvPr id="30" name="Content Placeholder 13">
            <a:extLst>
              <a:ext uri="{FF2B5EF4-FFF2-40B4-BE49-F238E27FC236}">
                <a16:creationId xmlns:a16="http://schemas.microsoft.com/office/drawing/2014/main" id="{8AC9978F-3858-46BB-B526-C13C1C72F5F3}"/>
              </a:ext>
            </a:extLst>
          </p:cNvPr>
          <p:cNvSpPr>
            <a:spLocks noGrp="1"/>
          </p:cNvSpPr>
          <p:nvPr>
            <p:ph sz="quarter" idx="26"/>
          </p:nvPr>
        </p:nvSpPr>
        <p:spPr>
          <a:xfrm>
            <a:off x="4326249" y="4880307"/>
            <a:ext cx="1889760" cy="578159"/>
          </a:xfrm>
        </p:spPr>
        <p:txBody>
          <a:bodyPr/>
          <a:lstStyle>
            <a:lvl1pPr marL="0" indent="0">
              <a:buNone/>
              <a:defRPr/>
            </a:lvl1pPr>
          </a:lstStyle>
          <a:p>
            <a:pPr lvl="0"/>
            <a:endParaRPr lang="en-US" dirty="0"/>
          </a:p>
        </p:txBody>
      </p:sp>
      <p:sp>
        <p:nvSpPr>
          <p:cNvPr id="31" name="Content Placeholder 13">
            <a:extLst>
              <a:ext uri="{FF2B5EF4-FFF2-40B4-BE49-F238E27FC236}">
                <a16:creationId xmlns:a16="http://schemas.microsoft.com/office/drawing/2014/main" id="{0C59109E-A539-405A-9689-1E6F28062E26}"/>
              </a:ext>
            </a:extLst>
          </p:cNvPr>
          <p:cNvSpPr>
            <a:spLocks noGrp="1"/>
          </p:cNvSpPr>
          <p:nvPr>
            <p:ph sz="quarter" idx="27"/>
          </p:nvPr>
        </p:nvSpPr>
        <p:spPr>
          <a:xfrm>
            <a:off x="4326249" y="5552401"/>
            <a:ext cx="1889760" cy="578159"/>
          </a:xfrm>
        </p:spPr>
        <p:txBody>
          <a:bodyPr/>
          <a:lstStyle>
            <a:lvl1pPr marL="0" indent="0">
              <a:buNone/>
              <a:defRPr/>
            </a:lvl1pPr>
          </a:lstStyle>
          <a:p>
            <a:pPr lvl="0"/>
            <a:endParaRPr lang="en-US" dirty="0"/>
          </a:p>
        </p:txBody>
      </p:sp>
      <p:sp>
        <p:nvSpPr>
          <p:cNvPr id="32" name="Content Placeholder 13">
            <a:extLst>
              <a:ext uri="{FF2B5EF4-FFF2-40B4-BE49-F238E27FC236}">
                <a16:creationId xmlns:a16="http://schemas.microsoft.com/office/drawing/2014/main" id="{1805027B-52EB-42BE-B27D-AA65FED289FF}"/>
              </a:ext>
            </a:extLst>
          </p:cNvPr>
          <p:cNvSpPr>
            <a:spLocks noGrp="1"/>
          </p:cNvSpPr>
          <p:nvPr>
            <p:ph sz="quarter" idx="28"/>
          </p:nvPr>
        </p:nvSpPr>
        <p:spPr>
          <a:xfrm>
            <a:off x="6393809" y="2101540"/>
            <a:ext cx="1889760" cy="578159"/>
          </a:xfrm>
        </p:spPr>
        <p:txBody>
          <a:bodyPr/>
          <a:lstStyle>
            <a:lvl1pPr marL="0" indent="0">
              <a:buNone/>
              <a:defRPr/>
            </a:lvl1pPr>
          </a:lstStyle>
          <a:p>
            <a:pPr lvl="0"/>
            <a:endParaRPr lang="en-US" dirty="0"/>
          </a:p>
        </p:txBody>
      </p:sp>
      <p:sp>
        <p:nvSpPr>
          <p:cNvPr id="33" name="Content Placeholder 13">
            <a:extLst>
              <a:ext uri="{FF2B5EF4-FFF2-40B4-BE49-F238E27FC236}">
                <a16:creationId xmlns:a16="http://schemas.microsoft.com/office/drawing/2014/main" id="{1AC3D5F7-47D6-4C64-B09A-59F0C960EC9C}"/>
              </a:ext>
            </a:extLst>
          </p:cNvPr>
          <p:cNvSpPr>
            <a:spLocks noGrp="1"/>
          </p:cNvSpPr>
          <p:nvPr>
            <p:ph sz="quarter" idx="29"/>
          </p:nvPr>
        </p:nvSpPr>
        <p:spPr>
          <a:xfrm>
            <a:off x="6393809" y="2773634"/>
            <a:ext cx="1889760" cy="578159"/>
          </a:xfrm>
        </p:spPr>
        <p:txBody>
          <a:bodyPr/>
          <a:lstStyle>
            <a:lvl1pPr marL="0" indent="0">
              <a:buNone/>
              <a:defRPr/>
            </a:lvl1pPr>
          </a:lstStyle>
          <a:p>
            <a:pPr lvl="0"/>
            <a:endParaRPr lang="en-US" dirty="0"/>
          </a:p>
        </p:txBody>
      </p:sp>
      <p:sp>
        <p:nvSpPr>
          <p:cNvPr id="34" name="Content Placeholder 13">
            <a:extLst>
              <a:ext uri="{FF2B5EF4-FFF2-40B4-BE49-F238E27FC236}">
                <a16:creationId xmlns:a16="http://schemas.microsoft.com/office/drawing/2014/main" id="{CB085B5B-47FA-4130-9382-81DA8A7DD83D}"/>
              </a:ext>
            </a:extLst>
          </p:cNvPr>
          <p:cNvSpPr>
            <a:spLocks noGrp="1"/>
          </p:cNvSpPr>
          <p:nvPr>
            <p:ph sz="quarter" idx="30"/>
          </p:nvPr>
        </p:nvSpPr>
        <p:spPr>
          <a:xfrm>
            <a:off x="6393809" y="3517376"/>
            <a:ext cx="1889760" cy="578159"/>
          </a:xfrm>
        </p:spPr>
        <p:txBody>
          <a:bodyPr/>
          <a:lstStyle>
            <a:lvl1pPr marL="0" indent="0">
              <a:buNone/>
              <a:defRPr/>
            </a:lvl1pPr>
          </a:lstStyle>
          <a:p>
            <a:pPr lvl="0"/>
            <a:endParaRPr lang="en-US" dirty="0"/>
          </a:p>
        </p:txBody>
      </p:sp>
      <p:sp>
        <p:nvSpPr>
          <p:cNvPr id="35" name="Content Placeholder 13">
            <a:extLst>
              <a:ext uri="{FF2B5EF4-FFF2-40B4-BE49-F238E27FC236}">
                <a16:creationId xmlns:a16="http://schemas.microsoft.com/office/drawing/2014/main" id="{4FFA5289-E256-4293-A60A-AB2BDB3D7040}"/>
              </a:ext>
            </a:extLst>
          </p:cNvPr>
          <p:cNvSpPr>
            <a:spLocks noGrp="1"/>
          </p:cNvSpPr>
          <p:nvPr>
            <p:ph sz="quarter" idx="31"/>
          </p:nvPr>
        </p:nvSpPr>
        <p:spPr>
          <a:xfrm>
            <a:off x="6393809" y="4189470"/>
            <a:ext cx="1889760" cy="578159"/>
          </a:xfrm>
        </p:spPr>
        <p:txBody>
          <a:bodyPr/>
          <a:lstStyle>
            <a:lvl1pPr marL="0" indent="0">
              <a:buNone/>
              <a:defRPr/>
            </a:lvl1pPr>
          </a:lstStyle>
          <a:p>
            <a:pPr lvl="0"/>
            <a:endParaRPr lang="en-US" dirty="0"/>
          </a:p>
        </p:txBody>
      </p:sp>
      <p:sp>
        <p:nvSpPr>
          <p:cNvPr id="36" name="Content Placeholder 13">
            <a:extLst>
              <a:ext uri="{FF2B5EF4-FFF2-40B4-BE49-F238E27FC236}">
                <a16:creationId xmlns:a16="http://schemas.microsoft.com/office/drawing/2014/main" id="{FEF6E484-DFD6-4EA7-8892-803D9D47B884}"/>
              </a:ext>
            </a:extLst>
          </p:cNvPr>
          <p:cNvSpPr>
            <a:spLocks noGrp="1"/>
          </p:cNvSpPr>
          <p:nvPr>
            <p:ph sz="quarter" idx="32"/>
          </p:nvPr>
        </p:nvSpPr>
        <p:spPr>
          <a:xfrm>
            <a:off x="6393809" y="4862572"/>
            <a:ext cx="1889760" cy="578159"/>
          </a:xfrm>
        </p:spPr>
        <p:txBody>
          <a:bodyPr/>
          <a:lstStyle>
            <a:lvl1pPr marL="0" indent="0">
              <a:buNone/>
              <a:defRPr/>
            </a:lvl1pPr>
          </a:lstStyle>
          <a:p>
            <a:pPr lvl="0"/>
            <a:endParaRPr lang="en-US" dirty="0"/>
          </a:p>
        </p:txBody>
      </p:sp>
      <p:sp>
        <p:nvSpPr>
          <p:cNvPr id="37" name="Content Placeholder 13">
            <a:extLst>
              <a:ext uri="{FF2B5EF4-FFF2-40B4-BE49-F238E27FC236}">
                <a16:creationId xmlns:a16="http://schemas.microsoft.com/office/drawing/2014/main" id="{BA66C0E1-4F53-41F6-A101-509BC5BADBF5}"/>
              </a:ext>
            </a:extLst>
          </p:cNvPr>
          <p:cNvSpPr>
            <a:spLocks noGrp="1"/>
          </p:cNvSpPr>
          <p:nvPr>
            <p:ph sz="quarter" idx="33"/>
          </p:nvPr>
        </p:nvSpPr>
        <p:spPr>
          <a:xfrm>
            <a:off x="6393809" y="5534666"/>
            <a:ext cx="1889760" cy="578159"/>
          </a:xfrm>
        </p:spPr>
        <p:txBody>
          <a:bodyPr/>
          <a:lstStyle>
            <a:lvl1pPr marL="0" indent="0">
              <a:buNone/>
              <a:defRPr/>
            </a:lvl1pPr>
          </a:lstStyle>
          <a:p>
            <a:pPr lvl="0"/>
            <a:endParaRPr lang="en-US" dirty="0"/>
          </a:p>
        </p:txBody>
      </p:sp>
      <p:sp>
        <p:nvSpPr>
          <p:cNvPr id="43" name="Rectangle 42">
            <a:extLst>
              <a:ext uri="{FF2B5EF4-FFF2-40B4-BE49-F238E27FC236}">
                <a16:creationId xmlns:a16="http://schemas.microsoft.com/office/drawing/2014/main" id="{CF3FF33B-6B70-4F06-A3E4-CF2CC5BC0256}"/>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6137143"/>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2314280"/>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8_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9947E898-0856-40CB-AB31-BEEEEA0A4134}"/>
              </a:ext>
            </a:extLst>
          </p:cNvPr>
          <p:cNvSpPr>
            <a:spLocks noGrp="1"/>
          </p:cNvSpPr>
          <p:nvPr>
            <p:ph sz="quarter" idx="12"/>
          </p:nvPr>
        </p:nvSpPr>
        <p:spPr>
          <a:xfrm>
            <a:off x="6537325" y="1692274"/>
            <a:ext cx="5091113" cy="4083685"/>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3559963900"/>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7_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C1DC5D16-E5EA-4470-97FE-C2AC44999B11}"/>
              </a:ext>
            </a:extLst>
          </p:cNvPr>
          <p:cNvSpPr>
            <a:spLocks noGrp="1"/>
          </p:cNvSpPr>
          <p:nvPr>
            <p:ph sz="quarter" idx="12"/>
          </p:nvPr>
        </p:nvSpPr>
        <p:spPr>
          <a:xfrm>
            <a:off x="6619875" y="1878013"/>
            <a:ext cx="4157663" cy="553998"/>
          </a:xfrm>
        </p:spPr>
        <p:txBody>
          <a:bodyPr/>
          <a:lstStyle>
            <a:lvl1pPr marL="0" indent="0">
              <a:buNone/>
              <a:defRPr/>
            </a:lvl1pPr>
          </a:lstStyle>
          <a:p>
            <a:pPr lvl="0"/>
            <a:endParaRPr lang="en-US" dirty="0"/>
          </a:p>
        </p:txBody>
      </p:sp>
      <p:sp>
        <p:nvSpPr>
          <p:cNvPr id="7" name="Content Placeholder 6">
            <a:extLst>
              <a:ext uri="{FF2B5EF4-FFF2-40B4-BE49-F238E27FC236}">
                <a16:creationId xmlns:a16="http://schemas.microsoft.com/office/drawing/2014/main" id="{3F9CDD9B-D86B-434C-BDAA-3423D4E8E7EC}"/>
              </a:ext>
            </a:extLst>
          </p:cNvPr>
          <p:cNvSpPr>
            <a:spLocks noGrp="1"/>
          </p:cNvSpPr>
          <p:nvPr>
            <p:ph sz="quarter" idx="13"/>
          </p:nvPr>
        </p:nvSpPr>
        <p:spPr>
          <a:xfrm>
            <a:off x="6619875" y="3230563"/>
            <a:ext cx="4352925"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332764599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6_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78512438-1ABD-46B1-8287-587481D2C99C}"/>
              </a:ext>
            </a:extLst>
          </p:cNvPr>
          <p:cNvSpPr>
            <a:spLocks noGrp="1"/>
          </p:cNvSpPr>
          <p:nvPr>
            <p:ph sz="quarter" idx="12"/>
          </p:nvPr>
        </p:nvSpPr>
        <p:spPr>
          <a:xfrm>
            <a:off x="6340475" y="5157788"/>
            <a:ext cx="1925638" cy="553998"/>
          </a:xfrm>
        </p:spPr>
        <p:txBody>
          <a:bodyPr/>
          <a:lstStyle>
            <a:lvl1pPr marL="0" indent="0">
              <a:buNone/>
              <a:defRPr/>
            </a:lvl1pPr>
          </a:lstStyle>
          <a:p>
            <a:pPr lvl="0"/>
            <a:endParaRPr lang="en-US" dirty="0"/>
          </a:p>
        </p:txBody>
      </p:sp>
      <p:sp>
        <p:nvSpPr>
          <p:cNvPr id="8" name="Content Placeholder 5">
            <a:extLst>
              <a:ext uri="{FF2B5EF4-FFF2-40B4-BE49-F238E27FC236}">
                <a16:creationId xmlns:a16="http://schemas.microsoft.com/office/drawing/2014/main" id="{F1865F2F-2AF7-4461-B0D4-68C24AC56EA3}"/>
              </a:ext>
            </a:extLst>
          </p:cNvPr>
          <p:cNvSpPr>
            <a:spLocks noGrp="1"/>
          </p:cNvSpPr>
          <p:nvPr>
            <p:ph sz="quarter" idx="13"/>
          </p:nvPr>
        </p:nvSpPr>
        <p:spPr>
          <a:xfrm>
            <a:off x="6340475" y="5804937"/>
            <a:ext cx="1925638" cy="553998"/>
          </a:xfrm>
        </p:spPr>
        <p:txBody>
          <a:bodyPr/>
          <a:lstStyle>
            <a:lvl1pPr marL="0" indent="0">
              <a:buNone/>
              <a:defRPr/>
            </a:lvl1pPr>
          </a:lstStyle>
          <a:p>
            <a:pPr lvl="0"/>
            <a:endParaRPr lang="en-US" dirty="0"/>
          </a:p>
        </p:txBody>
      </p:sp>
      <p:sp>
        <p:nvSpPr>
          <p:cNvPr id="9" name="Content Placeholder 5">
            <a:extLst>
              <a:ext uri="{FF2B5EF4-FFF2-40B4-BE49-F238E27FC236}">
                <a16:creationId xmlns:a16="http://schemas.microsoft.com/office/drawing/2014/main" id="{62DB18E6-45F4-40D8-A76F-BB9BA405A056}"/>
              </a:ext>
            </a:extLst>
          </p:cNvPr>
          <p:cNvSpPr>
            <a:spLocks noGrp="1"/>
          </p:cNvSpPr>
          <p:nvPr>
            <p:ph sz="quarter" idx="14"/>
          </p:nvPr>
        </p:nvSpPr>
        <p:spPr>
          <a:xfrm>
            <a:off x="8649925" y="5157788"/>
            <a:ext cx="1925638"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3980588007"/>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_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Arrow Connector 4">
            <a:extLst>
              <a:ext uri="{FF2B5EF4-FFF2-40B4-BE49-F238E27FC236}">
                <a16:creationId xmlns:a16="http://schemas.microsoft.com/office/drawing/2014/main" id="{3CA5CB43-4567-48A2-8796-C8FDC85524C6}"/>
              </a:ext>
              <a:ext uri="{C183D7F6-B498-43B3-948B-1728B52AA6E4}">
                <adec:decorative xmlns:adec="http://schemas.microsoft.com/office/drawing/2017/decorative" val="1"/>
              </a:ext>
            </a:extLst>
          </p:cNvPr>
          <p:cNvCxnSpPr>
            <a:cxnSpLocks/>
          </p:cNvCxnSpPr>
          <p:nvPr userDrawn="1"/>
        </p:nvCxnSpPr>
        <p:spPr>
          <a:xfrm>
            <a:off x="3334466" y="4318638"/>
            <a:ext cx="0" cy="882044"/>
          </a:xfrm>
          <a:prstGeom prst="straightConnector1">
            <a:avLst/>
          </a:prstGeom>
          <a:ln>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99E80060-E560-4276-B478-50AF1AC590AC}"/>
              </a:ext>
            </a:extLst>
          </p:cNvPr>
          <p:cNvSpPr>
            <a:spLocks noGrp="1"/>
          </p:cNvSpPr>
          <p:nvPr>
            <p:ph sz="quarter" idx="12"/>
          </p:nvPr>
        </p:nvSpPr>
        <p:spPr>
          <a:xfrm>
            <a:off x="6486525" y="1852613"/>
            <a:ext cx="5022850" cy="553998"/>
          </a:xfrm>
        </p:spPr>
        <p:txBody>
          <a:bodyPr/>
          <a:lstStyle>
            <a:lvl1pPr marL="0" indent="0">
              <a:buNone/>
              <a:defRPr/>
            </a:lvl1pPr>
          </a:lstStyle>
          <a:p>
            <a:pPr lvl="0"/>
            <a:endParaRPr lang="en-US" dirty="0"/>
          </a:p>
        </p:txBody>
      </p:sp>
      <p:sp>
        <p:nvSpPr>
          <p:cNvPr id="8" name="Content Placeholder 5">
            <a:extLst>
              <a:ext uri="{FF2B5EF4-FFF2-40B4-BE49-F238E27FC236}">
                <a16:creationId xmlns:a16="http://schemas.microsoft.com/office/drawing/2014/main" id="{6D06B69E-E007-432A-9980-F8DD835559C2}"/>
              </a:ext>
            </a:extLst>
          </p:cNvPr>
          <p:cNvSpPr>
            <a:spLocks noGrp="1"/>
          </p:cNvSpPr>
          <p:nvPr>
            <p:ph sz="quarter" idx="13"/>
          </p:nvPr>
        </p:nvSpPr>
        <p:spPr>
          <a:xfrm>
            <a:off x="6562906" y="2549605"/>
            <a:ext cx="5022850" cy="553998"/>
          </a:xfrm>
        </p:spPr>
        <p:txBody>
          <a:bodyPr/>
          <a:lstStyle>
            <a:lvl1pPr marL="0" indent="0">
              <a:buNone/>
              <a:defRPr/>
            </a:lvl1pPr>
          </a:lstStyle>
          <a:p>
            <a:pPr lvl="0"/>
            <a:endParaRPr lang="en-US" dirty="0"/>
          </a:p>
        </p:txBody>
      </p:sp>
      <p:sp>
        <p:nvSpPr>
          <p:cNvPr id="9" name="Content Placeholder 5">
            <a:extLst>
              <a:ext uri="{FF2B5EF4-FFF2-40B4-BE49-F238E27FC236}">
                <a16:creationId xmlns:a16="http://schemas.microsoft.com/office/drawing/2014/main" id="{D1150A7E-1D60-4259-A16E-F20E0742D0D1}"/>
              </a:ext>
            </a:extLst>
          </p:cNvPr>
          <p:cNvSpPr>
            <a:spLocks noGrp="1"/>
          </p:cNvSpPr>
          <p:nvPr>
            <p:ph sz="quarter" idx="14"/>
          </p:nvPr>
        </p:nvSpPr>
        <p:spPr>
          <a:xfrm>
            <a:off x="6562906" y="3371245"/>
            <a:ext cx="5022850" cy="553998"/>
          </a:xfrm>
        </p:spPr>
        <p:txBody>
          <a:bodyPr/>
          <a:lstStyle>
            <a:lvl1pPr marL="0" indent="0">
              <a:buNone/>
              <a:defRPr/>
            </a:lvl1pPr>
          </a:lstStyle>
          <a:p>
            <a:pPr lvl="0"/>
            <a:endParaRPr lang="en-US" dirty="0"/>
          </a:p>
        </p:txBody>
      </p:sp>
      <p:sp>
        <p:nvSpPr>
          <p:cNvPr id="11" name="Content Placeholder 5">
            <a:extLst>
              <a:ext uri="{FF2B5EF4-FFF2-40B4-BE49-F238E27FC236}">
                <a16:creationId xmlns:a16="http://schemas.microsoft.com/office/drawing/2014/main" id="{99C90596-C068-4B17-907F-759999E1DB26}"/>
              </a:ext>
            </a:extLst>
          </p:cNvPr>
          <p:cNvSpPr>
            <a:spLocks noGrp="1"/>
          </p:cNvSpPr>
          <p:nvPr>
            <p:ph sz="quarter" idx="15"/>
          </p:nvPr>
        </p:nvSpPr>
        <p:spPr>
          <a:xfrm>
            <a:off x="6562906" y="4187033"/>
            <a:ext cx="5022850" cy="553998"/>
          </a:xfrm>
        </p:spPr>
        <p:txBody>
          <a:bodyPr/>
          <a:lstStyle>
            <a:lvl1pPr marL="0" indent="0">
              <a:buNone/>
              <a:defRPr/>
            </a:lvl1pPr>
          </a:lstStyle>
          <a:p>
            <a:pPr lvl="0"/>
            <a:endParaRPr lang="en-US" dirty="0"/>
          </a:p>
        </p:txBody>
      </p:sp>
      <p:sp>
        <p:nvSpPr>
          <p:cNvPr id="12" name="Content Placeholder 5">
            <a:extLst>
              <a:ext uri="{FF2B5EF4-FFF2-40B4-BE49-F238E27FC236}">
                <a16:creationId xmlns:a16="http://schemas.microsoft.com/office/drawing/2014/main" id="{3C02725C-BE5E-40CD-999A-98DA6D19A012}"/>
              </a:ext>
            </a:extLst>
          </p:cNvPr>
          <p:cNvSpPr>
            <a:spLocks noGrp="1"/>
          </p:cNvSpPr>
          <p:nvPr>
            <p:ph sz="quarter" idx="16"/>
          </p:nvPr>
        </p:nvSpPr>
        <p:spPr>
          <a:xfrm>
            <a:off x="6562906" y="4923683"/>
            <a:ext cx="5022850" cy="553998"/>
          </a:xfrm>
        </p:spPr>
        <p:txBody>
          <a:bodyPr/>
          <a:lstStyle>
            <a:lvl1pPr marL="0" indent="0">
              <a:buNone/>
              <a:defRPr/>
            </a:lvl1pPr>
          </a:lstStyle>
          <a:p>
            <a:pPr lvl="0"/>
            <a:endParaRPr lang="en-US" dirty="0"/>
          </a:p>
        </p:txBody>
      </p:sp>
      <p:sp>
        <p:nvSpPr>
          <p:cNvPr id="13" name="TextBox 12">
            <a:extLst>
              <a:ext uri="{FF2B5EF4-FFF2-40B4-BE49-F238E27FC236}">
                <a16:creationId xmlns:a16="http://schemas.microsoft.com/office/drawing/2014/main" id="{8D25F986-D28A-42F3-8201-97C0A6BF73FE}"/>
              </a:ext>
              <a:ext uri="{C183D7F6-B498-43B3-948B-1728B52AA6E4}">
                <adec:decorative xmlns:adec="http://schemas.microsoft.com/office/drawing/2017/decorative" val="1"/>
              </a:ext>
            </a:extLst>
          </p:cNvPr>
          <p:cNvSpPr txBox="1"/>
          <p:nvPr userDrawn="1"/>
        </p:nvSpPr>
        <p:spPr>
          <a:xfrm>
            <a:off x="2690950" y="4572755"/>
            <a:ext cx="1662802" cy="304699"/>
          </a:xfrm>
          <a:prstGeom prst="rect">
            <a:avLst/>
          </a:prstGeom>
          <a:solidFill>
            <a:srgbClr val="F3F3F3"/>
          </a:solidFill>
        </p:spPr>
        <p:txBody>
          <a:bodyPr wrap="square" lIns="0" tIns="0" rIns="0" bIns="0" rtlCol="0">
            <a:spAutoFit/>
          </a:bodyPr>
          <a:lstStyle/>
          <a:p>
            <a:pPr algn="ctr">
              <a:lnSpc>
                <a:spcPct val="90000"/>
              </a:lnSpc>
              <a:spcAft>
                <a:spcPts val="600"/>
              </a:spcAft>
            </a:pPr>
            <a:r>
              <a:rPr lang="en-US" sz="1100" dirty="0">
                <a:noFill/>
                <a:latin typeface="Consolas" panose="020B0609020204030204" pitchFamily="49" charset="0"/>
              </a:rPr>
              <a:t>&gt;10,000 more queries</a:t>
            </a:r>
            <a:br>
              <a:rPr lang="en-US" sz="1100" dirty="0">
                <a:noFill/>
                <a:latin typeface="Consolas" panose="020B0609020204030204" pitchFamily="49" charset="0"/>
              </a:rPr>
            </a:br>
            <a:r>
              <a:rPr lang="en-US" sz="1100" dirty="0">
                <a:noFill/>
                <a:latin typeface="Consolas" panose="020B0609020204030204" pitchFamily="49" charset="0"/>
              </a:rPr>
              <a:t>per second</a:t>
            </a:r>
          </a:p>
        </p:txBody>
      </p:sp>
    </p:spTree>
    <p:extLst>
      <p:ext uri="{BB962C8B-B14F-4D97-AF65-F5344CB8AC3E}">
        <p14:creationId xmlns:p14="http://schemas.microsoft.com/office/powerpoint/2010/main" val="2451177713"/>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_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C748E2EE-6FFF-49FB-B619-F4894D02286D}"/>
              </a:ext>
            </a:extLst>
          </p:cNvPr>
          <p:cNvSpPr>
            <a:spLocks noGrp="1"/>
          </p:cNvSpPr>
          <p:nvPr>
            <p:ph sz="quarter" idx="12"/>
          </p:nvPr>
        </p:nvSpPr>
        <p:spPr>
          <a:xfrm>
            <a:off x="6681788" y="1951038"/>
            <a:ext cx="4046537" cy="553998"/>
          </a:xfrm>
        </p:spPr>
        <p:txBody>
          <a:bodyPr/>
          <a:lstStyle>
            <a:lvl1pPr marL="0" indent="0">
              <a:buNone/>
              <a:defRPr/>
            </a:lvl1pPr>
          </a:lstStyle>
          <a:p>
            <a:pPr lvl="0"/>
            <a:endParaRPr lang="en-US" dirty="0"/>
          </a:p>
        </p:txBody>
      </p:sp>
      <p:sp>
        <p:nvSpPr>
          <p:cNvPr id="8" name="Content Placeholder 5">
            <a:extLst>
              <a:ext uri="{FF2B5EF4-FFF2-40B4-BE49-F238E27FC236}">
                <a16:creationId xmlns:a16="http://schemas.microsoft.com/office/drawing/2014/main" id="{A21D1E4A-C595-4C9A-BB90-B88DFE10C2B5}"/>
              </a:ext>
            </a:extLst>
          </p:cNvPr>
          <p:cNvSpPr>
            <a:spLocks noGrp="1"/>
          </p:cNvSpPr>
          <p:nvPr>
            <p:ph sz="quarter" idx="13"/>
          </p:nvPr>
        </p:nvSpPr>
        <p:spPr>
          <a:xfrm>
            <a:off x="6681787" y="2850283"/>
            <a:ext cx="4046537" cy="553998"/>
          </a:xfrm>
        </p:spPr>
        <p:txBody>
          <a:bodyPr/>
          <a:lstStyle>
            <a:lvl1pPr marL="0" indent="0">
              <a:buNone/>
              <a:defRPr/>
            </a:lvl1pPr>
          </a:lstStyle>
          <a:p>
            <a:pPr lvl="0"/>
            <a:endParaRPr lang="en-US" dirty="0"/>
          </a:p>
        </p:txBody>
      </p:sp>
      <p:sp>
        <p:nvSpPr>
          <p:cNvPr id="9" name="Content Placeholder 5">
            <a:extLst>
              <a:ext uri="{FF2B5EF4-FFF2-40B4-BE49-F238E27FC236}">
                <a16:creationId xmlns:a16="http://schemas.microsoft.com/office/drawing/2014/main" id="{E868B0F1-F757-476F-9D08-F4782A9F011F}"/>
              </a:ext>
            </a:extLst>
          </p:cNvPr>
          <p:cNvSpPr>
            <a:spLocks noGrp="1"/>
          </p:cNvSpPr>
          <p:nvPr>
            <p:ph sz="quarter" idx="14"/>
          </p:nvPr>
        </p:nvSpPr>
        <p:spPr>
          <a:xfrm>
            <a:off x="6681787" y="3681514"/>
            <a:ext cx="4046537" cy="553998"/>
          </a:xfrm>
        </p:spPr>
        <p:txBody>
          <a:bodyPr/>
          <a:lstStyle>
            <a:lvl1pPr marL="0" indent="0">
              <a:buNone/>
              <a:defRPr/>
            </a:lvl1pPr>
          </a:lstStyle>
          <a:p>
            <a:pPr lvl="0"/>
            <a:endParaRPr lang="en-US" dirty="0"/>
          </a:p>
        </p:txBody>
      </p:sp>
      <p:sp>
        <p:nvSpPr>
          <p:cNvPr id="11" name="Content Placeholder 5">
            <a:extLst>
              <a:ext uri="{FF2B5EF4-FFF2-40B4-BE49-F238E27FC236}">
                <a16:creationId xmlns:a16="http://schemas.microsoft.com/office/drawing/2014/main" id="{E4121116-39F6-4B4A-B548-E21E0E706660}"/>
              </a:ext>
            </a:extLst>
          </p:cNvPr>
          <p:cNvSpPr>
            <a:spLocks noGrp="1"/>
          </p:cNvSpPr>
          <p:nvPr>
            <p:ph sz="quarter" idx="15"/>
          </p:nvPr>
        </p:nvSpPr>
        <p:spPr>
          <a:xfrm>
            <a:off x="6681786" y="4512745"/>
            <a:ext cx="4046537" cy="553998"/>
          </a:xfrm>
        </p:spPr>
        <p:txBody>
          <a:bodyPr/>
          <a:lstStyle>
            <a:lvl1pPr marL="0" indent="0">
              <a:buNone/>
              <a:defRPr/>
            </a:lvl1pPr>
          </a:lstStyle>
          <a:p>
            <a:pPr lvl="0"/>
            <a:endParaRPr lang="en-US" dirty="0"/>
          </a:p>
        </p:txBody>
      </p:sp>
      <p:sp>
        <p:nvSpPr>
          <p:cNvPr id="12" name="Content Placeholder 5">
            <a:extLst>
              <a:ext uri="{FF2B5EF4-FFF2-40B4-BE49-F238E27FC236}">
                <a16:creationId xmlns:a16="http://schemas.microsoft.com/office/drawing/2014/main" id="{4D6374CC-C984-4FDC-AF09-DA93927D3470}"/>
              </a:ext>
            </a:extLst>
          </p:cNvPr>
          <p:cNvSpPr>
            <a:spLocks noGrp="1"/>
          </p:cNvSpPr>
          <p:nvPr>
            <p:ph sz="quarter" idx="16"/>
          </p:nvPr>
        </p:nvSpPr>
        <p:spPr>
          <a:xfrm>
            <a:off x="6681786" y="5416419"/>
            <a:ext cx="4046537" cy="553998"/>
          </a:xfrm>
        </p:spPr>
        <p:txBody>
          <a:bodyPr/>
          <a:lstStyle>
            <a:lvl1pPr marL="0" indent="0">
              <a:buNone/>
              <a:defRPr/>
            </a:lvl1pPr>
          </a:lstStyle>
          <a:p>
            <a:pPr lvl="0"/>
            <a:endParaRPr lang="en-US" dirty="0"/>
          </a:p>
        </p:txBody>
      </p:sp>
      <p:cxnSp>
        <p:nvCxnSpPr>
          <p:cNvPr id="13" name="Straight Arrow Connector 12">
            <a:extLst>
              <a:ext uri="{FF2B5EF4-FFF2-40B4-BE49-F238E27FC236}">
                <a16:creationId xmlns:a16="http://schemas.microsoft.com/office/drawing/2014/main" id="{F9453C62-39F0-4756-8BE6-FE8A1FEF82CB}"/>
              </a:ext>
              <a:ext uri="{C183D7F6-B498-43B3-948B-1728B52AA6E4}">
                <adec:decorative xmlns:adec="http://schemas.microsoft.com/office/drawing/2017/decorative" val="1"/>
              </a:ext>
            </a:extLst>
          </p:cNvPr>
          <p:cNvCxnSpPr/>
          <p:nvPr userDrawn="1"/>
        </p:nvCxnSpPr>
        <p:spPr>
          <a:xfrm>
            <a:off x="3147216" y="4047795"/>
            <a:ext cx="0" cy="951154"/>
          </a:xfrm>
          <a:prstGeom prst="straightConnector1">
            <a:avLst/>
          </a:prstGeom>
          <a:ln>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494FBDC-5B78-43BD-997E-C5E3972DCE02}"/>
              </a:ext>
              <a:ext uri="{C183D7F6-B498-43B3-948B-1728B52AA6E4}">
                <adec:decorative xmlns:adec="http://schemas.microsoft.com/office/drawing/2017/decorative" val="1"/>
              </a:ext>
            </a:extLst>
          </p:cNvPr>
          <p:cNvSpPr txBox="1"/>
          <p:nvPr userDrawn="1"/>
        </p:nvSpPr>
        <p:spPr>
          <a:xfrm>
            <a:off x="2315815" y="4371022"/>
            <a:ext cx="1662802" cy="304699"/>
          </a:xfrm>
          <a:prstGeom prst="rect">
            <a:avLst/>
          </a:prstGeom>
          <a:solidFill>
            <a:srgbClr val="F3F3F3"/>
          </a:solidFill>
        </p:spPr>
        <p:txBody>
          <a:bodyPr wrap="square" lIns="0" tIns="0" rIns="0" bIns="0" rtlCol="0">
            <a:spAutoFit/>
          </a:bodyPr>
          <a:lstStyle/>
          <a:p>
            <a:pPr algn="ctr">
              <a:lnSpc>
                <a:spcPct val="90000"/>
              </a:lnSpc>
              <a:spcAft>
                <a:spcPts val="600"/>
              </a:spcAft>
            </a:pPr>
            <a:r>
              <a:rPr lang="en-US" sz="1100" dirty="0">
                <a:noFill/>
                <a:latin typeface="Consolas" panose="020B0609020204030204" pitchFamily="49" charset="0"/>
              </a:rPr>
              <a:t>&gt;10,000 more queries</a:t>
            </a:r>
            <a:br>
              <a:rPr lang="en-US" sz="1100" dirty="0">
                <a:noFill/>
                <a:latin typeface="Consolas" panose="020B0609020204030204" pitchFamily="49" charset="0"/>
              </a:rPr>
            </a:br>
            <a:r>
              <a:rPr lang="en-US" sz="1100" dirty="0">
                <a:noFill/>
                <a:latin typeface="Consolas" panose="020B0609020204030204" pitchFamily="49" charset="0"/>
              </a:rPr>
              <a:t>per second</a:t>
            </a:r>
          </a:p>
        </p:txBody>
      </p:sp>
    </p:spTree>
    <p:extLst>
      <p:ext uri="{BB962C8B-B14F-4D97-AF65-F5344CB8AC3E}">
        <p14:creationId xmlns:p14="http://schemas.microsoft.com/office/powerpoint/2010/main" val="195062684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3_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30887"/>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endParaRPr lang="en-US" dirty="0"/>
          </a:p>
        </p:txBody>
      </p:sp>
      <p:sp>
        <p:nvSpPr>
          <p:cNvPr id="5" name="Content Placeholder 4">
            <a:extLst>
              <a:ext uri="{FF2B5EF4-FFF2-40B4-BE49-F238E27FC236}">
                <a16:creationId xmlns:a16="http://schemas.microsoft.com/office/drawing/2014/main" id="{BA87D6A7-DB86-4959-BA89-A9DC84BB9ED6}"/>
              </a:ext>
            </a:extLst>
          </p:cNvPr>
          <p:cNvSpPr>
            <a:spLocks noGrp="1"/>
          </p:cNvSpPr>
          <p:nvPr>
            <p:ph sz="quarter" idx="12"/>
          </p:nvPr>
        </p:nvSpPr>
        <p:spPr>
          <a:xfrm>
            <a:off x="6743700" y="1584325"/>
            <a:ext cx="3619500" cy="55399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48BED050-A1BA-4E82-A6A7-22CFB3178BEB}"/>
              </a:ext>
            </a:extLst>
          </p:cNvPr>
          <p:cNvSpPr>
            <a:spLocks noGrp="1"/>
          </p:cNvSpPr>
          <p:nvPr>
            <p:ph sz="quarter" idx="13"/>
          </p:nvPr>
        </p:nvSpPr>
        <p:spPr>
          <a:xfrm>
            <a:off x="6769100" y="2270125"/>
            <a:ext cx="3619500" cy="55399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F6E8D85B-86BA-4FA3-885A-969FBD543BE3}"/>
              </a:ext>
            </a:extLst>
          </p:cNvPr>
          <p:cNvSpPr>
            <a:spLocks noGrp="1"/>
          </p:cNvSpPr>
          <p:nvPr>
            <p:ph sz="quarter" idx="14"/>
          </p:nvPr>
        </p:nvSpPr>
        <p:spPr>
          <a:xfrm>
            <a:off x="6769100" y="2955925"/>
            <a:ext cx="3619500" cy="553998"/>
          </a:xfrm>
        </p:spPr>
        <p:txBody>
          <a:bodyPr/>
          <a:lstStyle>
            <a:lvl1pPr marL="0" indent="0">
              <a:buNone/>
              <a:defRPr/>
            </a:lvl1pPr>
          </a:lstStyle>
          <a:p>
            <a:pPr lvl="0"/>
            <a:endParaRPr lang="en-US" dirty="0"/>
          </a:p>
        </p:txBody>
      </p:sp>
      <p:sp>
        <p:nvSpPr>
          <p:cNvPr id="9" name="Content Placeholder 4">
            <a:extLst>
              <a:ext uri="{FF2B5EF4-FFF2-40B4-BE49-F238E27FC236}">
                <a16:creationId xmlns:a16="http://schemas.microsoft.com/office/drawing/2014/main" id="{BF63CCE5-DAC4-4A9A-9CD7-12D860E98445}"/>
              </a:ext>
            </a:extLst>
          </p:cNvPr>
          <p:cNvSpPr>
            <a:spLocks noGrp="1"/>
          </p:cNvSpPr>
          <p:nvPr>
            <p:ph sz="quarter" idx="15"/>
          </p:nvPr>
        </p:nvSpPr>
        <p:spPr>
          <a:xfrm>
            <a:off x="6794500" y="3641725"/>
            <a:ext cx="3619500" cy="553998"/>
          </a:xfrm>
        </p:spPr>
        <p:txBody>
          <a:bodyPr/>
          <a:lstStyle>
            <a:lvl1pPr marL="0" indent="0">
              <a:buNone/>
              <a:defRPr/>
            </a:lvl1pPr>
          </a:lstStyle>
          <a:p>
            <a:pPr lvl="0"/>
            <a:endParaRPr lang="en-US" dirty="0"/>
          </a:p>
        </p:txBody>
      </p:sp>
      <p:sp>
        <p:nvSpPr>
          <p:cNvPr id="11" name="Content Placeholder 4">
            <a:extLst>
              <a:ext uri="{FF2B5EF4-FFF2-40B4-BE49-F238E27FC236}">
                <a16:creationId xmlns:a16="http://schemas.microsoft.com/office/drawing/2014/main" id="{2206B676-004F-474F-8D82-EF5A64278F42}"/>
              </a:ext>
            </a:extLst>
          </p:cNvPr>
          <p:cNvSpPr>
            <a:spLocks noGrp="1"/>
          </p:cNvSpPr>
          <p:nvPr>
            <p:ph sz="quarter" idx="16"/>
          </p:nvPr>
        </p:nvSpPr>
        <p:spPr>
          <a:xfrm>
            <a:off x="6756400" y="4409588"/>
            <a:ext cx="3619500" cy="553998"/>
          </a:xfrm>
        </p:spPr>
        <p:txBody>
          <a:bodyPr/>
          <a:lstStyle>
            <a:lvl1pPr marL="0" indent="0">
              <a:buNone/>
              <a:defRPr/>
            </a:lvl1pPr>
          </a:lstStyle>
          <a:p>
            <a:pPr lvl="0"/>
            <a:endParaRPr lang="en-US" dirty="0"/>
          </a:p>
        </p:txBody>
      </p:sp>
      <p:sp>
        <p:nvSpPr>
          <p:cNvPr id="12" name="Content Placeholder 4">
            <a:extLst>
              <a:ext uri="{FF2B5EF4-FFF2-40B4-BE49-F238E27FC236}">
                <a16:creationId xmlns:a16="http://schemas.microsoft.com/office/drawing/2014/main" id="{D01C5DFD-D241-4DC2-8298-01F1BC4DBC04}"/>
              </a:ext>
            </a:extLst>
          </p:cNvPr>
          <p:cNvSpPr>
            <a:spLocks noGrp="1"/>
          </p:cNvSpPr>
          <p:nvPr>
            <p:ph sz="quarter" idx="17"/>
          </p:nvPr>
        </p:nvSpPr>
        <p:spPr>
          <a:xfrm>
            <a:off x="6781800" y="5095388"/>
            <a:ext cx="36195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82756682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26" name="Rectangle 25">
            <a:extLst>
              <a:ext uri="{FF2B5EF4-FFF2-40B4-BE49-F238E27FC236}">
                <a16:creationId xmlns:a16="http://schemas.microsoft.com/office/drawing/2014/main" id="{40FECEC8-1249-4004-8316-9FB1CCD51B30}"/>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1681558"/>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endParaRPr lang="en-US" dirty="0"/>
          </a:p>
        </p:txBody>
      </p:sp>
      <p:sp>
        <p:nvSpPr>
          <p:cNvPr id="16" name="Content Placeholder 15">
            <a:extLst>
              <a:ext uri="{FF2B5EF4-FFF2-40B4-BE49-F238E27FC236}">
                <a16:creationId xmlns:a16="http://schemas.microsoft.com/office/drawing/2014/main" id="{41F67B66-52AC-4777-A3F7-E4104A6C6DBA}"/>
              </a:ext>
            </a:extLst>
          </p:cNvPr>
          <p:cNvSpPr>
            <a:spLocks noGrp="1"/>
          </p:cNvSpPr>
          <p:nvPr>
            <p:ph sz="quarter" idx="12"/>
          </p:nvPr>
        </p:nvSpPr>
        <p:spPr>
          <a:xfrm>
            <a:off x="7227888" y="2982913"/>
            <a:ext cx="3570287" cy="553998"/>
          </a:xfrm>
        </p:spPr>
        <p:txBody>
          <a:bodyPr/>
          <a:lstStyle>
            <a:lvl1pPr marL="0" indent="0">
              <a:buNone/>
              <a:defRPr/>
            </a:lvl1pPr>
          </a:lstStyle>
          <a:p>
            <a:pPr lvl="0"/>
            <a:endParaRPr lang="en-US" dirty="0"/>
          </a:p>
        </p:txBody>
      </p:sp>
      <p:sp>
        <p:nvSpPr>
          <p:cNvPr id="17" name="Content Placeholder 15">
            <a:extLst>
              <a:ext uri="{FF2B5EF4-FFF2-40B4-BE49-F238E27FC236}">
                <a16:creationId xmlns:a16="http://schemas.microsoft.com/office/drawing/2014/main" id="{53223E48-84B4-47A7-9124-85AB29821B09}"/>
              </a:ext>
            </a:extLst>
          </p:cNvPr>
          <p:cNvSpPr>
            <a:spLocks noGrp="1"/>
          </p:cNvSpPr>
          <p:nvPr>
            <p:ph sz="quarter" idx="13"/>
          </p:nvPr>
        </p:nvSpPr>
        <p:spPr>
          <a:xfrm>
            <a:off x="7227888" y="3704379"/>
            <a:ext cx="3570287" cy="553998"/>
          </a:xfrm>
        </p:spPr>
        <p:txBody>
          <a:bodyPr/>
          <a:lstStyle>
            <a:lvl1pPr marL="0" indent="0">
              <a:buNone/>
              <a:defRPr/>
            </a:lvl1pPr>
          </a:lstStyle>
          <a:p>
            <a:pPr lvl="0"/>
            <a:endParaRPr lang="en-US" dirty="0"/>
          </a:p>
        </p:txBody>
      </p:sp>
      <p:sp>
        <p:nvSpPr>
          <p:cNvPr id="18" name="Content Placeholder 15">
            <a:extLst>
              <a:ext uri="{FF2B5EF4-FFF2-40B4-BE49-F238E27FC236}">
                <a16:creationId xmlns:a16="http://schemas.microsoft.com/office/drawing/2014/main" id="{93D17F52-B6C8-4133-BA61-239790AF678B}"/>
              </a:ext>
            </a:extLst>
          </p:cNvPr>
          <p:cNvSpPr>
            <a:spLocks noGrp="1"/>
          </p:cNvSpPr>
          <p:nvPr>
            <p:ph sz="quarter" idx="14"/>
          </p:nvPr>
        </p:nvSpPr>
        <p:spPr>
          <a:xfrm>
            <a:off x="7227888" y="4486526"/>
            <a:ext cx="3570287" cy="553998"/>
          </a:xfrm>
        </p:spPr>
        <p:txBody>
          <a:bodyPr/>
          <a:lstStyle>
            <a:lvl1pPr marL="0" indent="0">
              <a:buNone/>
              <a:defRPr/>
            </a:lvl1pPr>
          </a:lstStyle>
          <a:p>
            <a:pPr lvl="0"/>
            <a:endParaRPr lang="en-US" dirty="0"/>
          </a:p>
        </p:txBody>
      </p:sp>
      <p:sp>
        <p:nvSpPr>
          <p:cNvPr id="19" name="Content Placeholder 15">
            <a:extLst>
              <a:ext uri="{FF2B5EF4-FFF2-40B4-BE49-F238E27FC236}">
                <a16:creationId xmlns:a16="http://schemas.microsoft.com/office/drawing/2014/main" id="{4AE6572E-16C6-4D59-8919-4F39C08BD7E0}"/>
              </a:ext>
            </a:extLst>
          </p:cNvPr>
          <p:cNvSpPr>
            <a:spLocks noGrp="1"/>
          </p:cNvSpPr>
          <p:nvPr>
            <p:ph sz="quarter" idx="15"/>
          </p:nvPr>
        </p:nvSpPr>
        <p:spPr>
          <a:xfrm>
            <a:off x="7218548" y="5293580"/>
            <a:ext cx="3570287" cy="553998"/>
          </a:xfrm>
        </p:spPr>
        <p:txBody>
          <a:bodyPr/>
          <a:lstStyle>
            <a:lvl1pPr marL="0" indent="0">
              <a:buNone/>
              <a:defRPr/>
            </a:lvl1pPr>
          </a:lstStyle>
          <a:p>
            <a:pPr lvl="0"/>
            <a:endParaRPr lang="en-US" dirty="0"/>
          </a:p>
        </p:txBody>
      </p:sp>
      <p:sp>
        <p:nvSpPr>
          <p:cNvPr id="20" name="Content Placeholder 15">
            <a:extLst>
              <a:ext uri="{FF2B5EF4-FFF2-40B4-BE49-F238E27FC236}">
                <a16:creationId xmlns:a16="http://schemas.microsoft.com/office/drawing/2014/main" id="{5058CBD6-3FB9-455E-88CC-744E7C6138B2}"/>
              </a:ext>
            </a:extLst>
          </p:cNvPr>
          <p:cNvSpPr>
            <a:spLocks noGrp="1"/>
          </p:cNvSpPr>
          <p:nvPr>
            <p:ph sz="quarter" idx="16"/>
          </p:nvPr>
        </p:nvSpPr>
        <p:spPr>
          <a:xfrm>
            <a:off x="7227887" y="5990139"/>
            <a:ext cx="3570287" cy="553998"/>
          </a:xfrm>
        </p:spPr>
        <p:txBody>
          <a:bodyPr/>
          <a:lstStyle>
            <a:lvl1pPr marL="0" indent="0">
              <a:buNone/>
              <a:defRPr/>
            </a:lvl1pPr>
          </a:lstStyle>
          <a:p>
            <a:pPr lvl="0"/>
            <a:endParaRPr lang="en-US" dirty="0"/>
          </a:p>
        </p:txBody>
      </p:sp>
      <p:sp>
        <p:nvSpPr>
          <p:cNvPr id="13" name="Content Placeholder 15">
            <a:extLst>
              <a:ext uri="{FF2B5EF4-FFF2-40B4-BE49-F238E27FC236}">
                <a16:creationId xmlns:a16="http://schemas.microsoft.com/office/drawing/2014/main" id="{2A8FAA3C-EC25-4B3B-8681-7C842F80867B}"/>
              </a:ext>
            </a:extLst>
          </p:cNvPr>
          <p:cNvSpPr>
            <a:spLocks noGrp="1"/>
          </p:cNvSpPr>
          <p:nvPr>
            <p:ph sz="quarter" idx="17"/>
          </p:nvPr>
        </p:nvSpPr>
        <p:spPr>
          <a:xfrm>
            <a:off x="7218547" y="2256082"/>
            <a:ext cx="3570287" cy="553998"/>
          </a:xfrm>
        </p:spPr>
        <p:txBody>
          <a:bodyPr/>
          <a:lstStyle>
            <a:lvl1pPr marL="0" indent="0">
              <a:buNone/>
              <a:defRPr/>
            </a:lvl1pPr>
          </a:lstStyle>
          <a:p>
            <a:pPr lvl="0"/>
            <a:endParaRPr lang="en-US" dirty="0"/>
          </a:p>
        </p:txBody>
      </p:sp>
      <p:sp>
        <p:nvSpPr>
          <p:cNvPr id="14" name="Content Placeholder 15">
            <a:extLst>
              <a:ext uri="{FF2B5EF4-FFF2-40B4-BE49-F238E27FC236}">
                <a16:creationId xmlns:a16="http://schemas.microsoft.com/office/drawing/2014/main" id="{0F38D229-5DAD-42D3-A4AF-8FAD96B1E3D4}"/>
              </a:ext>
            </a:extLst>
          </p:cNvPr>
          <p:cNvSpPr>
            <a:spLocks noGrp="1"/>
          </p:cNvSpPr>
          <p:nvPr>
            <p:ph sz="quarter" idx="18"/>
          </p:nvPr>
        </p:nvSpPr>
        <p:spPr>
          <a:xfrm>
            <a:off x="7218546" y="1529251"/>
            <a:ext cx="3570287"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414836269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1.1">
            <a:extLst>
              <a:ext uri="{FF2B5EF4-FFF2-40B4-BE49-F238E27FC236}">
                <a16:creationId xmlns:a16="http://schemas.microsoft.com/office/drawing/2014/main" id="{0692D27C-E9B1-4F10-A131-1F7A7CF8A999}"/>
              </a:ext>
            </a:extLst>
          </p:cNvPr>
          <p:cNvPicPr>
            <a:picLocks noChangeAspect="1"/>
          </p:cNvPicPr>
          <p:nvPr userDrawn="1"/>
        </p:nvPicPr>
        <p:blipFill>
          <a:blip r:embed="rId2"/>
          <a:stretch>
            <a:fillRect/>
          </a:stretch>
        </p:blipFill>
        <p:spPr>
          <a:xfrm>
            <a:off x="1731" y="-1867"/>
            <a:ext cx="12190271" cy="6859866"/>
          </a:xfrm>
          <a:prstGeom prst="rect">
            <a:avLst/>
          </a:prstGeom>
        </p:spPr>
      </p:pic>
      <p:sp>
        <p:nvSpPr>
          <p:cNvPr id="7" name="Rectangle 6">
            <a:hlinkClick r:id="" action="ppaction://hlinkshowjump?jump=nextslide"/>
            <a:extLst>
              <a:ext uri="{FF2B5EF4-FFF2-40B4-BE49-F238E27FC236}">
                <a16:creationId xmlns:a16="http://schemas.microsoft.com/office/drawing/2014/main" id="{368BB1AC-D993-4330-8948-9A957C5A17F1}"/>
              </a:ext>
            </a:extLst>
          </p:cNvPr>
          <p:cNvSpPr/>
          <p:nvPr userDrawn="1"/>
        </p:nvSpPr>
        <p:spPr>
          <a:xfrm>
            <a:off x="5209" y="-4665"/>
            <a:ext cx="12190272" cy="6862665"/>
          </a:xfrm>
          <a:prstGeom prst="rect">
            <a:avLst/>
          </a:prstGeom>
          <a:solidFill>
            <a:srgbClr val="000000">
              <a:alpha val="45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896021">
              <a:defRPr/>
            </a:pPr>
            <a:endParaRPr lang="en-US" sz="1728">
              <a:solidFill>
                <a:srgbClr val="F1EFED"/>
              </a:solidFill>
              <a:latin typeface="Segoe UI"/>
            </a:endParaRPr>
          </a:p>
        </p:txBody>
      </p:sp>
      <p:pic>
        <p:nvPicPr>
          <p:cNvPr id="8" name="MS logo white - EMF" descr="Microsoft logo white text version">
            <a:extLst>
              <a:ext uri="{FF2B5EF4-FFF2-40B4-BE49-F238E27FC236}">
                <a16:creationId xmlns:a16="http://schemas.microsoft.com/office/drawing/2014/main" id="{99B1E30F-0767-4576-9330-3013848CA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35090" y="436366"/>
            <a:ext cx="896425" cy="192014"/>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292820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3080809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4" y="1584156"/>
            <a:ext cx="5686789" cy="4984333"/>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endParaRPr lang="en-US" dirty="0"/>
          </a:p>
        </p:txBody>
      </p:sp>
      <p:sp>
        <p:nvSpPr>
          <p:cNvPr id="5" name="Content Placeholder 4">
            <a:extLst>
              <a:ext uri="{FF2B5EF4-FFF2-40B4-BE49-F238E27FC236}">
                <a16:creationId xmlns:a16="http://schemas.microsoft.com/office/drawing/2014/main" id="{F7497BD7-BBAC-447A-99BE-17F0F5B26D87}"/>
              </a:ext>
            </a:extLst>
          </p:cNvPr>
          <p:cNvSpPr>
            <a:spLocks noGrp="1"/>
          </p:cNvSpPr>
          <p:nvPr>
            <p:ph sz="quarter" idx="12"/>
          </p:nvPr>
        </p:nvSpPr>
        <p:spPr>
          <a:xfrm>
            <a:off x="6362700" y="4076700"/>
            <a:ext cx="47244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4074425983"/>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Text Placeholder 4">
            <a:extLst>
              <a:ext uri="{FF2B5EF4-FFF2-40B4-BE49-F238E27FC236}">
                <a16:creationId xmlns:a16="http://schemas.microsoft.com/office/drawing/2014/main" id="{4EC8EC2D-775A-4C5D-A565-2CA6D1D13B02}"/>
              </a:ext>
            </a:extLst>
          </p:cNvPr>
          <p:cNvSpPr>
            <a:spLocks noGrp="1"/>
          </p:cNvSpPr>
          <p:nvPr>
            <p:ph type="body" sz="quarter" idx="11"/>
          </p:nvPr>
        </p:nvSpPr>
        <p:spPr>
          <a:xfrm>
            <a:off x="3121025" y="2614613"/>
            <a:ext cx="3617913" cy="553998"/>
          </a:xfrm>
        </p:spPr>
        <p:txBody>
          <a:bodyPr/>
          <a:lstStyle/>
          <a:p>
            <a:pPr lvl="0"/>
            <a:endParaRPr lang="en-US" dirty="0"/>
          </a:p>
        </p:txBody>
      </p:sp>
    </p:spTree>
    <p:extLst>
      <p:ext uri="{BB962C8B-B14F-4D97-AF65-F5344CB8AC3E}">
        <p14:creationId xmlns:p14="http://schemas.microsoft.com/office/powerpoint/2010/main" val="84778234"/>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7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Table 6">
            <a:extLst>
              <a:ext uri="{FF2B5EF4-FFF2-40B4-BE49-F238E27FC236}">
                <a16:creationId xmlns:a16="http://schemas.microsoft.com/office/drawing/2014/main" id="{6729A52D-6519-4C96-A45A-BAE0864CF96F}"/>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375217211"/>
              </p:ext>
            </p:extLst>
          </p:nvPr>
        </p:nvGraphicFramePr>
        <p:xfrm>
          <a:off x="1380674" y="1575618"/>
          <a:ext cx="9430652" cy="4407875"/>
        </p:xfrm>
        <a:graphic>
          <a:graphicData uri="http://schemas.openxmlformats.org/drawingml/2006/table">
            <a:tbl>
              <a:tblPr firstRow="1" bandRow="1">
                <a:tableStyleId>{5940675A-B579-460E-94D1-54222C63F5DA}</a:tableStyleId>
              </a:tblPr>
              <a:tblGrid>
                <a:gridCol w="2810837">
                  <a:extLst>
                    <a:ext uri="{9D8B030D-6E8A-4147-A177-3AD203B41FA5}">
                      <a16:colId xmlns:a16="http://schemas.microsoft.com/office/drawing/2014/main" val="2670246503"/>
                    </a:ext>
                  </a:extLst>
                </a:gridCol>
                <a:gridCol w="846894">
                  <a:extLst>
                    <a:ext uri="{9D8B030D-6E8A-4147-A177-3AD203B41FA5}">
                      <a16:colId xmlns:a16="http://schemas.microsoft.com/office/drawing/2014/main" val="2840900199"/>
                    </a:ext>
                  </a:extLst>
                </a:gridCol>
                <a:gridCol w="5772921">
                  <a:extLst>
                    <a:ext uri="{9D8B030D-6E8A-4147-A177-3AD203B41FA5}">
                      <a16:colId xmlns:a16="http://schemas.microsoft.com/office/drawing/2014/main" val="1650129827"/>
                    </a:ext>
                  </a:extLst>
                </a:gridCol>
              </a:tblGrid>
              <a:tr h="457961">
                <a:tc>
                  <a:txBody>
                    <a:bodyPr/>
                    <a:lstStyle/>
                    <a:p>
                      <a:pPr algn="ctr"/>
                      <a:endParaRPr lang="en-US" sz="1400" dirty="0">
                        <a:solidFill>
                          <a:schemeClr val="bg1"/>
                        </a:solidFill>
                        <a:latin typeface="Segoe UI Semibold" panose="020B0702040204020203" pitchFamily="34" charset="0"/>
                        <a:cs typeface="Segoe UI Semibold" panose="020B0702040204020203" pitchFamily="34"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endParaRPr lang="en-US" sz="1400">
                        <a:solidFill>
                          <a:schemeClr val="bg1"/>
                        </a:solidFill>
                        <a:latin typeface="Segoe UI Semibold" panose="020B0702040204020203" pitchFamily="34" charset="0"/>
                        <a:cs typeface="Segoe UI Semibold" panose="020B0702040204020203" pitchFamily="34"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endParaRPr lang="en-US" sz="1400">
                        <a:solidFill>
                          <a:schemeClr val="bg1"/>
                        </a:solidFill>
                        <a:latin typeface="Segoe UI Semibold" panose="020B0702040204020203" pitchFamily="34" charset="0"/>
                        <a:cs typeface="Segoe UI Semibold" panose="020B0702040204020203" pitchFamily="34"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3070670819"/>
                  </a:ext>
                </a:extLst>
              </a:tr>
              <a:tr h="658319">
                <a:tc>
                  <a:txBody>
                    <a:bodyPr/>
                    <a:lstStyle/>
                    <a:p>
                      <a:pPr algn="ctr"/>
                      <a:endParaRPr lang="en-US" sz="1800" b="1" dirty="0">
                        <a:latin typeface="Segoe UI Semibold" panose="020B0702040204020203" pitchFamily="34" charset="0"/>
                        <a:cs typeface="Segoe UI Semibold" panose="020B0702040204020203" pitchFamily="34"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600" b="1">
                        <a:latin typeface="Consolas" panose="020B0609020204030204" pitchFamily="49"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endParaRPr lang="en-US" sz="1400"/>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50616045"/>
                  </a:ext>
                </a:extLst>
              </a:tr>
              <a:tr h="658319">
                <a:tc>
                  <a:txBody>
                    <a:bodyPr/>
                    <a:lstStyle/>
                    <a:p>
                      <a:pPr algn="ctr"/>
                      <a:endParaRPr lang="en-US" sz="1800" b="1" dirty="0">
                        <a:latin typeface="Segoe UI Semibold" panose="020B0702040204020203" pitchFamily="34" charset="0"/>
                        <a:cs typeface="Segoe UI Semibold" panose="020B0702040204020203" pitchFamily="34"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600" b="1">
                        <a:latin typeface="Consolas" panose="020B0609020204030204" pitchFamily="49"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endParaRPr lang="en-US" sz="1400" dirty="0"/>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85340728"/>
                  </a:ext>
                </a:extLst>
              </a:tr>
              <a:tr h="658319">
                <a:tc>
                  <a:txBody>
                    <a:bodyPr/>
                    <a:lstStyle/>
                    <a:p>
                      <a:pPr algn="ctr"/>
                      <a:endParaRPr lang="en-US" sz="1800" b="1" dirty="0">
                        <a:latin typeface="Segoe UI Semibold" panose="020B0702040204020203" pitchFamily="34" charset="0"/>
                        <a:cs typeface="Segoe UI Semibold" panose="020B0702040204020203" pitchFamily="34"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endParaRPr lang="en-US" sz="1600" b="1">
                        <a:latin typeface="Consolas" panose="020B0609020204030204" pitchFamily="49"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endParaRPr lang="en-US" sz="1400"/>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08530368"/>
                  </a:ext>
                </a:extLst>
              </a:tr>
              <a:tr h="658319">
                <a:tc>
                  <a:txBody>
                    <a:bodyPr/>
                    <a:lstStyle/>
                    <a:p>
                      <a:pPr algn="ctr"/>
                      <a:endParaRPr lang="en-US" sz="1800" b="1" dirty="0">
                        <a:latin typeface="Segoe UI Semibold" panose="020B0702040204020203" pitchFamily="34" charset="0"/>
                        <a:cs typeface="Segoe UI Semibold" panose="020B0702040204020203" pitchFamily="34"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600" b="1">
                        <a:latin typeface="Consolas" panose="020B0609020204030204" pitchFamily="49"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endParaRPr lang="en-US" sz="1400"/>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355582824"/>
                  </a:ext>
                </a:extLst>
              </a:tr>
              <a:tr h="658319">
                <a:tc>
                  <a:txBody>
                    <a:bodyPr/>
                    <a:lstStyle/>
                    <a:p>
                      <a:pPr algn="ctr"/>
                      <a:endParaRPr lang="en-US" sz="1800" b="1" dirty="0">
                        <a:latin typeface="Segoe UI Semibold" panose="020B0702040204020203" pitchFamily="34" charset="0"/>
                        <a:cs typeface="Segoe UI Semibold" panose="020B0702040204020203" pitchFamily="34"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600" b="1">
                        <a:latin typeface="Consolas" panose="020B0609020204030204" pitchFamily="49"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endParaRPr lang="en-US" sz="1400"/>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369059149"/>
                  </a:ext>
                </a:extLst>
              </a:tr>
              <a:tr h="658319">
                <a:tc>
                  <a:txBody>
                    <a:bodyPr/>
                    <a:lstStyle/>
                    <a:p>
                      <a:pPr algn="ctr"/>
                      <a:endParaRPr lang="en-US" sz="1800" b="1" dirty="0">
                        <a:latin typeface="Segoe UI Semibold" panose="020B0702040204020203" pitchFamily="34" charset="0"/>
                        <a:cs typeface="Segoe UI Semibold" panose="020B0702040204020203" pitchFamily="34"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endParaRPr lang="en-US" sz="1600" b="1">
                        <a:latin typeface="Consolas" panose="020B0609020204030204" pitchFamily="49" charset="0"/>
                      </a:endParaRPr>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endParaRPr lang="en-US" sz="1400" dirty="0"/>
                    </a:p>
                  </a:txBody>
                  <a:tcPr marL="45720" marR="4572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18429485"/>
                  </a:ext>
                </a:extLst>
              </a:tr>
            </a:tbl>
          </a:graphicData>
        </a:graphic>
      </p:graphicFrame>
    </p:spTree>
    <p:extLst>
      <p:ext uri="{BB962C8B-B14F-4D97-AF65-F5344CB8AC3E}">
        <p14:creationId xmlns:p14="http://schemas.microsoft.com/office/powerpoint/2010/main" val="2359881692"/>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20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6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5970E91A-4B05-4CFF-BB2B-AC127E8BB12C}"/>
              </a:ext>
            </a:extLst>
          </p:cNvPr>
          <p:cNvSpPr>
            <a:spLocks noGrp="1"/>
          </p:cNvSpPr>
          <p:nvPr>
            <p:ph sz="quarter" idx="11"/>
          </p:nvPr>
        </p:nvSpPr>
        <p:spPr>
          <a:xfrm>
            <a:off x="6973888" y="2571750"/>
            <a:ext cx="3522662" cy="55399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FB9D0C76-BABC-4F16-AD2C-1391F1341412}"/>
              </a:ext>
            </a:extLst>
          </p:cNvPr>
          <p:cNvSpPr>
            <a:spLocks noGrp="1"/>
          </p:cNvSpPr>
          <p:nvPr>
            <p:ph sz="quarter" idx="12"/>
          </p:nvPr>
        </p:nvSpPr>
        <p:spPr>
          <a:xfrm>
            <a:off x="6973888" y="3302854"/>
            <a:ext cx="3522662" cy="55399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C4FE0ED7-849D-46B9-8788-E285CE36F3C7}"/>
              </a:ext>
            </a:extLst>
          </p:cNvPr>
          <p:cNvSpPr>
            <a:spLocks noGrp="1"/>
          </p:cNvSpPr>
          <p:nvPr>
            <p:ph sz="quarter" idx="13"/>
          </p:nvPr>
        </p:nvSpPr>
        <p:spPr>
          <a:xfrm>
            <a:off x="6973888" y="4092086"/>
            <a:ext cx="3522662"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52774955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5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3A9FB37D-6680-40F2-93CD-3E0A9252FDB0}"/>
              </a:ext>
            </a:extLst>
          </p:cNvPr>
          <p:cNvSpPr>
            <a:spLocks noGrp="1"/>
          </p:cNvSpPr>
          <p:nvPr>
            <p:ph sz="quarter" idx="11"/>
          </p:nvPr>
        </p:nvSpPr>
        <p:spPr>
          <a:xfrm>
            <a:off x="695325" y="2951162"/>
            <a:ext cx="5241925" cy="2937573"/>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565B82C9-8805-4D90-B279-0876C5F896FB}"/>
              </a:ext>
            </a:extLst>
          </p:cNvPr>
          <p:cNvSpPr>
            <a:spLocks noGrp="1"/>
          </p:cNvSpPr>
          <p:nvPr>
            <p:ph sz="quarter" idx="12"/>
          </p:nvPr>
        </p:nvSpPr>
        <p:spPr>
          <a:xfrm>
            <a:off x="6443662" y="2926664"/>
            <a:ext cx="5241925" cy="2937573"/>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407767785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4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87C33F90-1770-4FE7-89DA-3558FF41D1A4}"/>
              </a:ext>
            </a:extLst>
          </p:cNvPr>
          <p:cNvSpPr>
            <a:spLocks noGrp="1"/>
          </p:cNvSpPr>
          <p:nvPr>
            <p:ph sz="quarter" idx="11"/>
          </p:nvPr>
        </p:nvSpPr>
        <p:spPr>
          <a:xfrm>
            <a:off x="390525" y="2767013"/>
            <a:ext cx="6083300" cy="55399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A1CABF4C-B736-4D21-93D1-31B630407E3D}"/>
              </a:ext>
            </a:extLst>
          </p:cNvPr>
          <p:cNvSpPr>
            <a:spLocks noGrp="1"/>
          </p:cNvSpPr>
          <p:nvPr>
            <p:ph sz="quarter" idx="12"/>
          </p:nvPr>
        </p:nvSpPr>
        <p:spPr>
          <a:xfrm>
            <a:off x="390525" y="3651505"/>
            <a:ext cx="6083300" cy="55399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EEE5D3FF-B078-4590-949E-DFB26A788E89}"/>
              </a:ext>
            </a:extLst>
          </p:cNvPr>
          <p:cNvSpPr>
            <a:spLocks noGrp="1"/>
          </p:cNvSpPr>
          <p:nvPr>
            <p:ph sz="quarter" idx="13"/>
          </p:nvPr>
        </p:nvSpPr>
        <p:spPr>
          <a:xfrm>
            <a:off x="390525" y="4644678"/>
            <a:ext cx="60833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806613002"/>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3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BA7DFB98-B0D6-42AF-A2EF-386213E6F9D7}"/>
              </a:ext>
            </a:extLst>
          </p:cNvPr>
          <p:cNvSpPr>
            <a:spLocks noGrp="1"/>
          </p:cNvSpPr>
          <p:nvPr>
            <p:ph sz="quarter" idx="11"/>
          </p:nvPr>
        </p:nvSpPr>
        <p:spPr>
          <a:xfrm>
            <a:off x="573088" y="2682875"/>
            <a:ext cx="5376862" cy="55399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B23D3164-86BB-420F-86E0-5E36C0A66E8A}"/>
              </a:ext>
            </a:extLst>
          </p:cNvPr>
          <p:cNvSpPr>
            <a:spLocks noGrp="1"/>
          </p:cNvSpPr>
          <p:nvPr>
            <p:ph sz="quarter" idx="12"/>
          </p:nvPr>
        </p:nvSpPr>
        <p:spPr>
          <a:xfrm>
            <a:off x="573088" y="3485296"/>
            <a:ext cx="5376862" cy="55399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AF9F8866-58B2-43E3-BDC6-2DE22D131750}"/>
              </a:ext>
            </a:extLst>
          </p:cNvPr>
          <p:cNvSpPr>
            <a:spLocks noGrp="1"/>
          </p:cNvSpPr>
          <p:nvPr>
            <p:ph sz="quarter" idx="13"/>
          </p:nvPr>
        </p:nvSpPr>
        <p:spPr>
          <a:xfrm>
            <a:off x="573088" y="4261576"/>
            <a:ext cx="5376862"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60099140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2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5118BAE7-71A0-47B1-AF47-F355B03206A2}"/>
              </a:ext>
            </a:extLst>
          </p:cNvPr>
          <p:cNvSpPr>
            <a:spLocks noGrp="1"/>
          </p:cNvSpPr>
          <p:nvPr>
            <p:ph sz="quarter" idx="11"/>
          </p:nvPr>
        </p:nvSpPr>
        <p:spPr>
          <a:xfrm>
            <a:off x="633413" y="2938463"/>
            <a:ext cx="687705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85427446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2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CBFB2472-CA07-402F-8548-06D1EF6F2D81}"/>
              </a:ext>
            </a:extLst>
          </p:cNvPr>
          <p:cNvSpPr>
            <a:spLocks noGrp="1"/>
          </p:cNvSpPr>
          <p:nvPr>
            <p:ph sz="quarter" idx="11"/>
          </p:nvPr>
        </p:nvSpPr>
        <p:spPr>
          <a:xfrm>
            <a:off x="549275" y="3024188"/>
            <a:ext cx="4460875"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00889696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9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31870C0D-2561-4B0D-84CB-ADE4E0BD319F}"/>
              </a:ext>
            </a:extLst>
          </p:cNvPr>
          <p:cNvSpPr>
            <a:spLocks noGrp="1"/>
          </p:cNvSpPr>
          <p:nvPr>
            <p:ph sz="quarter" idx="11"/>
          </p:nvPr>
        </p:nvSpPr>
        <p:spPr>
          <a:xfrm>
            <a:off x="6303963" y="2535238"/>
            <a:ext cx="5411787"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07159295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83745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8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6C5C6594-FCA6-42BC-AC2B-19B33CA0BBCA}"/>
              </a:ext>
            </a:extLst>
          </p:cNvPr>
          <p:cNvSpPr>
            <a:spLocks noGrp="1"/>
          </p:cNvSpPr>
          <p:nvPr>
            <p:ph sz="quarter" idx="11"/>
          </p:nvPr>
        </p:nvSpPr>
        <p:spPr>
          <a:xfrm>
            <a:off x="6559550" y="2925763"/>
            <a:ext cx="4132263"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53758649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7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109F12F4-484C-4448-9E1F-E14F0BA4E50A}"/>
              </a:ext>
            </a:extLst>
          </p:cNvPr>
          <p:cNvSpPr>
            <a:spLocks noGrp="1"/>
          </p:cNvSpPr>
          <p:nvPr>
            <p:ph sz="quarter" idx="11"/>
          </p:nvPr>
        </p:nvSpPr>
        <p:spPr>
          <a:xfrm>
            <a:off x="6351588" y="2693988"/>
            <a:ext cx="5267325" cy="2974836"/>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14142522"/>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6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2F7B52E2-3DFC-4A45-8BB3-F6F24A2DD2D5}"/>
              </a:ext>
            </a:extLst>
          </p:cNvPr>
          <p:cNvSpPr>
            <a:spLocks noGrp="1"/>
          </p:cNvSpPr>
          <p:nvPr>
            <p:ph sz="quarter" idx="11"/>
          </p:nvPr>
        </p:nvSpPr>
        <p:spPr>
          <a:xfrm>
            <a:off x="7375525" y="2706688"/>
            <a:ext cx="3170555" cy="49980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E2BF62B1-7A9A-4587-85BD-4C8E2F379351}"/>
              </a:ext>
            </a:extLst>
          </p:cNvPr>
          <p:cNvSpPr>
            <a:spLocks noGrp="1"/>
          </p:cNvSpPr>
          <p:nvPr>
            <p:ph sz="quarter" idx="12"/>
          </p:nvPr>
        </p:nvSpPr>
        <p:spPr>
          <a:xfrm>
            <a:off x="7375525" y="3291574"/>
            <a:ext cx="3170555" cy="49980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810E0603-1C10-4339-9BF5-1892E61DECBA}"/>
              </a:ext>
            </a:extLst>
          </p:cNvPr>
          <p:cNvSpPr>
            <a:spLocks noGrp="1"/>
          </p:cNvSpPr>
          <p:nvPr>
            <p:ph sz="quarter" idx="13"/>
          </p:nvPr>
        </p:nvSpPr>
        <p:spPr>
          <a:xfrm>
            <a:off x="7375525" y="3896174"/>
            <a:ext cx="3170555" cy="499808"/>
          </a:xfrm>
        </p:spPr>
        <p:txBody>
          <a:bodyPr/>
          <a:lstStyle>
            <a:lvl1pPr marL="0" indent="0">
              <a:buNone/>
              <a:defRPr/>
            </a:lvl1pPr>
          </a:lstStyle>
          <a:p>
            <a:pPr lvl="0"/>
            <a:endParaRPr lang="en-US" dirty="0"/>
          </a:p>
        </p:txBody>
      </p:sp>
      <p:sp>
        <p:nvSpPr>
          <p:cNvPr id="9" name="Content Placeholder 4">
            <a:extLst>
              <a:ext uri="{FF2B5EF4-FFF2-40B4-BE49-F238E27FC236}">
                <a16:creationId xmlns:a16="http://schemas.microsoft.com/office/drawing/2014/main" id="{0F2322CF-26C5-40E6-AEAC-5D727D9559B5}"/>
              </a:ext>
            </a:extLst>
          </p:cNvPr>
          <p:cNvSpPr>
            <a:spLocks noGrp="1"/>
          </p:cNvSpPr>
          <p:nvPr>
            <p:ph sz="quarter" idx="14"/>
          </p:nvPr>
        </p:nvSpPr>
        <p:spPr>
          <a:xfrm>
            <a:off x="7375524" y="4526200"/>
            <a:ext cx="3170555" cy="499808"/>
          </a:xfrm>
        </p:spPr>
        <p:txBody>
          <a:bodyPr/>
          <a:lstStyle>
            <a:lvl1pPr marL="0" indent="0">
              <a:buNone/>
              <a:defRPr/>
            </a:lvl1pPr>
          </a:lstStyle>
          <a:p>
            <a:pPr lvl="0"/>
            <a:endParaRPr lang="en-US" dirty="0"/>
          </a:p>
        </p:txBody>
      </p:sp>
      <p:sp>
        <p:nvSpPr>
          <p:cNvPr id="10" name="Content Placeholder 4">
            <a:extLst>
              <a:ext uri="{FF2B5EF4-FFF2-40B4-BE49-F238E27FC236}">
                <a16:creationId xmlns:a16="http://schemas.microsoft.com/office/drawing/2014/main" id="{D8EE1E1F-66A6-4AAD-B231-4561078D39F7}"/>
              </a:ext>
            </a:extLst>
          </p:cNvPr>
          <p:cNvSpPr>
            <a:spLocks noGrp="1"/>
          </p:cNvSpPr>
          <p:nvPr>
            <p:ph sz="quarter" idx="15"/>
          </p:nvPr>
        </p:nvSpPr>
        <p:spPr>
          <a:xfrm>
            <a:off x="7375523" y="5289716"/>
            <a:ext cx="3170555" cy="499808"/>
          </a:xfrm>
        </p:spPr>
        <p:txBody>
          <a:bodyPr/>
          <a:lstStyle>
            <a:lvl1pPr marL="0" indent="0">
              <a:buNone/>
              <a:defRPr/>
            </a:lvl1pPr>
          </a:lstStyle>
          <a:p>
            <a:pPr lvl="0"/>
            <a:endParaRPr lang="en-US" dirty="0"/>
          </a:p>
        </p:txBody>
      </p:sp>
      <p:sp>
        <p:nvSpPr>
          <p:cNvPr id="11" name="Content Placeholder 10">
            <a:extLst>
              <a:ext uri="{FF2B5EF4-FFF2-40B4-BE49-F238E27FC236}">
                <a16:creationId xmlns:a16="http://schemas.microsoft.com/office/drawing/2014/main" id="{591C4C8E-B121-4572-BBC3-4E72E334399F}"/>
              </a:ext>
            </a:extLst>
          </p:cNvPr>
          <p:cNvSpPr>
            <a:spLocks noGrp="1"/>
          </p:cNvSpPr>
          <p:nvPr>
            <p:ph sz="quarter" idx="16"/>
          </p:nvPr>
        </p:nvSpPr>
        <p:spPr>
          <a:xfrm>
            <a:off x="390525" y="2495550"/>
            <a:ext cx="1952625" cy="452876"/>
          </a:xfrm>
        </p:spPr>
        <p:txBody>
          <a:bodyPr/>
          <a:lstStyle>
            <a:lvl1pPr marL="0" indent="0">
              <a:buNone/>
              <a:defRPr/>
            </a:lvl1pPr>
          </a:lstStyle>
          <a:p>
            <a:pPr lvl="0"/>
            <a:endParaRPr lang="en-US" dirty="0"/>
          </a:p>
        </p:txBody>
      </p:sp>
      <p:sp>
        <p:nvSpPr>
          <p:cNvPr id="12" name="Content Placeholder 10">
            <a:extLst>
              <a:ext uri="{FF2B5EF4-FFF2-40B4-BE49-F238E27FC236}">
                <a16:creationId xmlns:a16="http://schemas.microsoft.com/office/drawing/2014/main" id="{10080C0E-751C-4E65-8E33-01D33AECAF5C}"/>
              </a:ext>
            </a:extLst>
          </p:cNvPr>
          <p:cNvSpPr>
            <a:spLocks noGrp="1"/>
          </p:cNvSpPr>
          <p:nvPr>
            <p:ph sz="quarter" idx="17"/>
          </p:nvPr>
        </p:nvSpPr>
        <p:spPr>
          <a:xfrm>
            <a:off x="390525" y="3088602"/>
            <a:ext cx="1952625" cy="452876"/>
          </a:xfrm>
        </p:spPr>
        <p:txBody>
          <a:bodyPr/>
          <a:lstStyle>
            <a:lvl1pPr marL="0" indent="0">
              <a:buNone/>
              <a:defRPr/>
            </a:lvl1pPr>
          </a:lstStyle>
          <a:p>
            <a:pPr lvl="0"/>
            <a:endParaRPr lang="en-US" dirty="0"/>
          </a:p>
        </p:txBody>
      </p:sp>
      <p:sp>
        <p:nvSpPr>
          <p:cNvPr id="13" name="Content Placeholder 10">
            <a:extLst>
              <a:ext uri="{FF2B5EF4-FFF2-40B4-BE49-F238E27FC236}">
                <a16:creationId xmlns:a16="http://schemas.microsoft.com/office/drawing/2014/main" id="{C3D5980E-BF53-43FA-9D4B-5D87983FA50E}"/>
              </a:ext>
            </a:extLst>
          </p:cNvPr>
          <p:cNvSpPr>
            <a:spLocks noGrp="1"/>
          </p:cNvSpPr>
          <p:nvPr>
            <p:ph sz="quarter" idx="18"/>
          </p:nvPr>
        </p:nvSpPr>
        <p:spPr>
          <a:xfrm>
            <a:off x="390525" y="3706710"/>
            <a:ext cx="1952625" cy="452876"/>
          </a:xfrm>
        </p:spPr>
        <p:txBody>
          <a:bodyPr/>
          <a:lstStyle>
            <a:lvl1pPr marL="0" indent="0">
              <a:buNone/>
              <a:defRPr/>
            </a:lvl1pPr>
          </a:lstStyle>
          <a:p>
            <a:pPr lvl="0"/>
            <a:endParaRPr lang="en-US" dirty="0"/>
          </a:p>
        </p:txBody>
      </p:sp>
      <p:sp>
        <p:nvSpPr>
          <p:cNvPr id="14" name="Content Placeholder 10">
            <a:extLst>
              <a:ext uri="{FF2B5EF4-FFF2-40B4-BE49-F238E27FC236}">
                <a16:creationId xmlns:a16="http://schemas.microsoft.com/office/drawing/2014/main" id="{DB2285A3-B876-427D-A2B7-E6B9FA3F1088}"/>
              </a:ext>
            </a:extLst>
          </p:cNvPr>
          <p:cNvSpPr>
            <a:spLocks noGrp="1"/>
          </p:cNvSpPr>
          <p:nvPr>
            <p:ph sz="quarter" idx="19"/>
          </p:nvPr>
        </p:nvSpPr>
        <p:spPr>
          <a:xfrm>
            <a:off x="390525" y="4299762"/>
            <a:ext cx="1952625" cy="452876"/>
          </a:xfrm>
        </p:spPr>
        <p:txBody>
          <a:bodyPr/>
          <a:lstStyle>
            <a:lvl1pPr marL="0" indent="0">
              <a:buNone/>
              <a:defRPr/>
            </a:lvl1pPr>
          </a:lstStyle>
          <a:p>
            <a:pPr lvl="0"/>
            <a:endParaRPr lang="en-US" dirty="0"/>
          </a:p>
        </p:txBody>
      </p:sp>
      <p:sp>
        <p:nvSpPr>
          <p:cNvPr id="15" name="Content Placeholder 10">
            <a:extLst>
              <a:ext uri="{FF2B5EF4-FFF2-40B4-BE49-F238E27FC236}">
                <a16:creationId xmlns:a16="http://schemas.microsoft.com/office/drawing/2014/main" id="{E8954CF8-A83A-44FB-85C0-5881EB4437C5}"/>
              </a:ext>
            </a:extLst>
          </p:cNvPr>
          <p:cNvSpPr>
            <a:spLocks noGrp="1"/>
          </p:cNvSpPr>
          <p:nvPr>
            <p:ph sz="quarter" idx="20"/>
          </p:nvPr>
        </p:nvSpPr>
        <p:spPr>
          <a:xfrm>
            <a:off x="390525" y="4845189"/>
            <a:ext cx="1952625" cy="452876"/>
          </a:xfrm>
        </p:spPr>
        <p:txBody>
          <a:bodyPr/>
          <a:lstStyle>
            <a:lvl1pPr marL="0" indent="0">
              <a:buNone/>
              <a:defRPr/>
            </a:lvl1pPr>
          </a:lstStyle>
          <a:p>
            <a:pPr lvl="0"/>
            <a:endParaRPr lang="en-US" dirty="0"/>
          </a:p>
        </p:txBody>
      </p:sp>
      <p:sp>
        <p:nvSpPr>
          <p:cNvPr id="16" name="Content Placeholder 10">
            <a:extLst>
              <a:ext uri="{FF2B5EF4-FFF2-40B4-BE49-F238E27FC236}">
                <a16:creationId xmlns:a16="http://schemas.microsoft.com/office/drawing/2014/main" id="{2FA8864A-4A3C-48E6-91E2-8FA5DA570A31}"/>
              </a:ext>
            </a:extLst>
          </p:cNvPr>
          <p:cNvSpPr>
            <a:spLocks noGrp="1"/>
          </p:cNvSpPr>
          <p:nvPr>
            <p:ph sz="quarter" idx="21"/>
          </p:nvPr>
        </p:nvSpPr>
        <p:spPr>
          <a:xfrm>
            <a:off x="390525" y="5438241"/>
            <a:ext cx="1952625" cy="452876"/>
          </a:xfrm>
        </p:spPr>
        <p:txBody>
          <a:bodyPr/>
          <a:lstStyle>
            <a:lvl1pPr marL="0" indent="0">
              <a:buNone/>
              <a:defRPr/>
            </a:lvl1pPr>
          </a:lstStyle>
          <a:p>
            <a:pPr lvl="0"/>
            <a:endParaRPr lang="en-US" dirty="0"/>
          </a:p>
        </p:txBody>
      </p:sp>
      <p:sp>
        <p:nvSpPr>
          <p:cNvPr id="17" name="Content Placeholder 10">
            <a:extLst>
              <a:ext uri="{FF2B5EF4-FFF2-40B4-BE49-F238E27FC236}">
                <a16:creationId xmlns:a16="http://schemas.microsoft.com/office/drawing/2014/main" id="{1D30B569-2DA2-44F1-B6E8-1AB9A8272420}"/>
              </a:ext>
            </a:extLst>
          </p:cNvPr>
          <p:cNvSpPr>
            <a:spLocks noGrp="1"/>
          </p:cNvSpPr>
          <p:nvPr>
            <p:ph sz="quarter" idx="22"/>
          </p:nvPr>
        </p:nvSpPr>
        <p:spPr>
          <a:xfrm>
            <a:off x="2533650" y="2515962"/>
            <a:ext cx="1952625" cy="452876"/>
          </a:xfrm>
        </p:spPr>
        <p:txBody>
          <a:bodyPr/>
          <a:lstStyle>
            <a:lvl1pPr marL="0" indent="0">
              <a:buNone/>
              <a:defRPr/>
            </a:lvl1pPr>
          </a:lstStyle>
          <a:p>
            <a:pPr lvl="0"/>
            <a:endParaRPr lang="en-US" dirty="0"/>
          </a:p>
        </p:txBody>
      </p:sp>
      <p:sp>
        <p:nvSpPr>
          <p:cNvPr id="18" name="Content Placeholder 10">
            <a:extLst>
              <a:ext uri="{FF2B5EF4-FFF2-40B4-BE49-F238E27FC236}">
                <a16:creationId xmlns:a16="http://schemas.microsoft.com/office/drawing/2014/main" id="{3AA211A5-6066-468A-8A9F-AB4D9DA5BAB4}"/>
              </a:ext>
            </a:extLst>
          </p:cNvPr>
          <p:cNvSpPr>
            <a:spLocks noGrp="1"/>
          </p:cNvSpPr>
          <p:nvPr>
            <p:ph sz="quarter" idx="23"/>
          </p:nvPr>
        </p:nvSpPr>
        <p:spPr>
          <a:xfrm>
            <a:off x="2533650" y="3109014"/>
            <a:ext cx="1952625" cy="452876"/>
          </a:xfrm>
        </p:spPr>
        <p:txBody>
          <a:bodyPr/>
          <a:lstStyle>
            <a:lvl1pPr marL="0" indent="0">
              <a:buNone/>
              <a:defRPr/>
            </a:lvl1pPr>
          </a:lstStyle>
          <a:p>
            <a:pPr lvl="0"/>
            <a:endParaRPr lang="en-US" dirty="0"/>
          </a:p>
        </p:txBody>
      </p:sp>
      <p:sp>
        <p:nvSpPr>
          <p:cNvPr id="19" name="Content Placeholder 10">
            <a:extLst>
              <a:ext uri="{FF2B5EF4-FFF2-40B4-BE49-F238E27FC236}">
                <a16:creationId xmlns:a16="http://schemas.microsoft.com/office/drawing/2014/main" id="{50BE6C1F-D8C9-42CE-BC10-6244DC2779C2}"/>
              </a:ext>
            </a:extLst>
          </p:cNvPr>
          <p:cNvSpPr>
            <a:spLocks noGrp="1"/>
          </p:cNvSpPr>
          <p:nvPr>
            <p:ph sz="quarter" idx="24"/>
          </p:nvPr>
        </p:nvSpPr>
        <p:spPr>
          <a:xfrm>
            <a:off x="2533650" y="3702066"/>
            <a:ext cx="1952625" cy="452876"/>
          </a:xfrm>
        </p:spPr>
        <p:txBody>
          <a:bodyPr/>
          <a:lstStyle>
            <a:lvl1pPr marL="0" indent="0">
              <a:buNone/>
              <a:defRPr/>
            </a:lvl1pPr>
          </a:lstStyle>
          <a:p>
            <a:pPr lvl="0"/>
            <a:endParaRPr lang="en-US" dirty="0"/>
          </a:p>
        </p:txBody>
      </p:sp>
      <p:sp>
        <p:nvSpPr>
          <p:cNvPr id="20" name="Content Placeholder 10">
            <a:extLst>
              <a:ext uri="{FF2B5EF4-FFF2-40B4-BE49-F238E27FC236}">
                <a16:creationId xmlns:a16="http://schemas.microsoft.com/office/drawing/2014/main" id="{8844C246-DBDA-4C36-8729-37FD7E5B0315}"/>
              </a:ext>
            </a:extLst>
          </p:cNvPr>
          <p:cNvSpPr>
            <a:spLocks noGrp="1"/>
          </p:cNvSpPr>
          <p:nvPr>
            <p:ph sz="quarter" idx="25"/>
          </p:nvPr>
        </p:nvSpPr>
        <p:spPr>
          <a:xfrm>
            <a:off x="2533650" y="4295118"/>
            <a:ext cx="1952625" cy="452876"/>
          </a:xfrm>
        </p:spPr>
        <p:txBody>
          <a:bodyPr/>
          <a:lstStyle>
            <a:lvl1pPr marL="0" indent="0">
              <a:buNone/>
              <a:defRPr/>
            </a:lvl1pPr>
          </a:lstStyle>
          <a:p>
            <a:pPr lvl="0"/>
            <a:endParaRPr lang="en-US" dirty="0"/>
          </a:p>
        </p:txBody>
      </p:sp>
      <p:sp>
        <p:nvSpPr>
          <p:cNvPr id="21" name="Content Placeholder 10">
            <a:extLst>
              <a:ext uri="{FF2B5EF4-FFF2-40B4-BE49-F238E27FC236}">
                <a16:creationId xmlns:a16="http://schemas.microsoft.com/office/drawing/2014/main" id="{32EAD8B3-55CE-4468-B4AB-46594324F95F}"/>
              </a:ext>
            </a:extLst>
          </p:cNvPr>
          <p:cNvSpPr>
            <a:spLocks noGrp="1"/>
          </p:cNvSpPr>
          <p:nvPr>
            <p:ph sz="quarter" idx="26"/>
          </p:nvPr>
        </p:nvSpPr>
        <p:spPr>
          <a:xfrm>
            <a:off x="2533650" y="4888170"/>
            <a:ext cx="1952625" cy="452876"/>
          </a:xfrm>
        </p:spPr>
        <p:txBody>
          <a:bodyPr/>
          <a:lstStyle>
            <a:lvl1pPr marL="0" indent="0">
              <a:buNone/>
              <a:defRPr/>
            </a:lvl1pPr>
          </a:lstStyle>
          <a:p>
            <a:pPr lvl="0"/>
            <a:endParaRPr lang="en-US" dirty="0"/>
          </a:p>
        </p:txBody>
      </p:sp>
      <p:sp>
        <p:nvSpPr>
          <p:cNvPr id="22" name="Content Placeholder 10">
            <a:extLst>
              <a:ext uri="{FF2B5EF4-FFF2-40B4-BE49-F238E27FC236}">
                <a16:creationId xmlns:a16="http://schemas.microsoft.com/office/drawing/2014/main" id="{48D36B57-735B-49E2-9161-198C9954AC2C}"/>
              </a:ext>
            </a:extLst>
          </p:cNvPr>
          <p:cNvSpPr>
            <a:spLocks noGrp="1"/>
          </p:cNvSpPr>
          <p:nvPr>
            <p:ph sz="quarter" idx="27"/>
          </p:nvPr>
        </p:nvSpPr>
        <p:spPr>
          <a:xfrm>
            <a:off x="2533650" y="5481222"/>
            <a:ext cx="1952625" cy="452876"/>
          </a:xfrm>
        </p:spPr>
        <p:txBody>
          <a:bodyPr/>
          <a:lstStyle>
            <a:lvl1pPr marL="0" indent="0">
              <a:buNone/>
              <a:defRPr/>
            </a:lvl1pPr>
          </a:lstStyle>
          <a:p>
            <a:pPr lvl="0"/>
            <a:endParaRPr lang="en-US" dirty="0"/>
          </a:p>
        </p:txBody>
      </p:sp>
      <p:sp>
        <p:nvSpPr>
          <p:cNvPr id="23" name="Content Placeholder 10">
            <a:extLst>
              <a:ext uri="{FF2B5EF4-FFF2-40B4-BE49-F238E27FC236}">
                <a16:creationId xmlns:a16="http://schemas.microsoft.com/office/drawing/2014/main" id="{7A5351BA-F57A-4708-9501-46071B512AD5}"/>
              </a:ext>
            </a:extLst>
          </p:cNvPr>
          <p:cNvSpPr>
            <a:spLocks noGrp="1"/>
          </p:cNvSpPr>
          <p:nvPr>
            <p:ph sz="quarter" idx="28"/>
          </p:nvPr>
        </p:nvSpPr>
        <p:spPr>
          <a:xfrm>
            <a:off x="4591050" y="2515962"/>
            <a:ext cx="1952625" cy="452876"/>
          </a:xfrm>
        </p:spPr>
        <p:txBody>
          <a:bodyPr/>
          <a:lstStyle>
            <a:lvl1pPr marL="0" indent="0">
              <a:buNone/>
              <a:defRPr/>
            </a:lvl1pPr>
          </a:lstStyle>
          <a:p>
            <a:pPr lvl="0"/>
            <a:endParaRPr lang="en-US" dirty="0"/>
          </a:p>
        </p:txBody>
      </p:sp>
      <p:sp>
        <p:nvSpPr>
          <p:cNvPr id="24" name="Content Placeholder 10">
            <a:extLst>
              <a:ext uri="{FF2B5EF4-FFF2-40B4-BE49-F238E27FC236}">
                <a16:creationId xmlns:a16="http://schemas.microsoft.com/office/drawing/2014/main" id="{E5799BA3-0C57-40B8-A6AE-AD674D70A96B}"/>
              </a:ext>
            </a:extLst>
          </p:cNvPr>
          <p:cNvSpPr>
            <a:spLocks noGrp="1"/>
          </p:cNvSpPr>
          <p:nvPr>
            <p:ph sz="quarter" idx="29"/>
          </p:nvPr>
        </p:nvSpPr>
        <p:spPr>
          <a:xfrm>
            <a:off x="4591050" y="3109014"/>
            <a:ext cx="1952625" cy="452876"/>
          </a:xfrm>
        </p:spPr>
        <p:txBody>
          <a:bodyPr/>
          <a:lstStyle>
            <a:lvl1pPr marL="0" indent="0">
              <a:buNone/>
              <a:defRPr/>
            </a:lvl1pPr>
          </a:lstStyle>
          <a:p>
            <a:pPr lvl="0"/>
            <a:endParaRPr lang="en-US" dirty="0"/>
          </a:p>
        </p:txBody>
      </p:sp>
      <p:sp>
        <p:nvSpPr>
          <p:cNvPr id="25" name="Content Placeholder 10">
            <a:extLst>
              <a:ext uri="{FF2B5EF4-FFF2-40B4-BE49-F238E27FC236}">
                <a16:creationId xmlns:a16="http://schemas.microsoft.com/office/drawing/2014/main" id="{BCFBDBF2-8FE8-4DB0-8B25-35F2E6347C21}"/>
              </a:ext>
            </a:extLst>
          </p:cNvPr>
          <p:cNvSpPr>
            <a:spLocks noGrp="1"/>
          </p:cNvSpPr>
          <p:nvPr>
            <p:ph sz="quarter" idx="30"/>
          </p:nvPr>
        </p:nvSpPr>
        <p:spPr>
          <a:xfrm>
            <a:off x="4591050" y="3702066"/>
            <a:ext cx="1952625" cy="452876"/>
          </a:xfrm>
        </p:spPr>
        <p:txBody>
          <a:bodyPr/>
          <a:lstStyle>
            <a:lvl1pPr marL="0" indent="0">
              <a:buNone/>
              <a:defRPr/>
            </a:lvl1pPr>
          </a:lstStyle>
          <a:p>
            <a:pPr lvl="0"/>
            <a:endParaRPr lang="en-US" dirty="0"/>
          </a:p>
        </p:txBody>
      </p:sp>
      <p:sp>
        <p:nvSpPr>
          <p:cNvPr id="26" name="Content Placeholder 10">
            <a:extLst>
              <a:ext uri="{FF2B5EF4-FFF2-40B4-BE49-F238E27FC236}">
                <a16:creationId xmlns:a16="http://schemas.microsoft.com/office/drawing/2014/main" id="{880657AC-6F91-48AF-AA4C-6FC32C76D662}"/>
              </a:ext>
            </a:extLst>
          </p:cNvPr>
          <p:cNvSpPr>
            <a:spLocks noGrp="1"/>
          </p:cNvSpPr>
          <p:nvPr>
            <p:ph sz="quarter" idx="31"/>
          </p:nvPr>
        </p:nvSpPr>
        <p:spPr>
          <a:xfrm>
            <a:off x="4591050" y="4295118"/>
            <a:ext cx="1952625" cy="452876"/>
          </a:xfrm>
        </p:spPr>
        <p:txBody>
          <a:bodyPr/>
          <a:lstStyle>
            <a:lvl1pPr marL="0" indent="0">
              <a:buNone/>
              <a:defRPr/>
            </a:lvl1pPr>
          </a:lstStyle>
          <a:p>
            <a:pPr lvl="0"/>
            <a:endParaRPr lang="en-US" dirty="0"/>
          </a:p>
        </p:txBody>
      </p:sp>
      <p:sp>
        <p:nvSpPr>
          <p:cNvPr id="27" name="Content Placeholder 10">
            <a:extLst>
              <a:ext uri="{FF2B5EF4-FFF2-40B4-BE49-F238E27FC236}">
                <a16:creationId xmlns:a16="http://schemas.microsoft.com/office/drawing/2014/main" id="{25FC4402-56E7-443D-988B-531E2ADF4A02}"/>
              </a:ext>
            </a:extLst>
          </p:cNvPr>
          <p:cNvSpPr>
            <a:spLocks noGrp="1"/>
          </p:cNvSpPr>
          <p:nvPr>
            <p:ph sz="quarter" idx="32"/>
          </p:nvPr>
        </p:nvSpPr>
        <p:spPr>
          <a:xfrm>
            <a:off x="4591050" y="4894402"/>
            <a:ext cx="1952625" cy="452876"/>
          </a:xfrm>
        </p:spPr>
        <p:txBody>
          <a:bodyPr/>
          <a:lstStyle>
            <a:lvl1pPr marL="0" indent="0">
              <a:buNone/>
              <a:defRPr/>
            </a:lvl1pPr>
          </a:lstStyle>
          <a:p>
            <a:pPr lvl="0"/>
            <a:endParaRPr lang="en-US" dirty="0"/>
          </a:p>
        </p:txBody>
      </p:sp>
      <p:sp>
        <p:nvSpPr>
          <p:cNvPr id="28" name="Content Placeholder 10">
            <a:extLst>
              <a:ext uri="{FF2B5EF4-FFF2-40B4-BE49-F238E27FC236}">
                <a16:creationId xmlns:a16="http://schemas.microsoft.com/office/drawing/2014/main" id="{3E7E4EE7-AC8C-4070-A485-B3954E036CEB}"/>
              </a:ext>
            </a:extLst>
          </p:cNvPr>
          <p:cNvSpPr>
            <a:spLocks noGrp="1"/>
          </p:cNvSpPr>
          <p:nvPr>
            <p:ph sz="quarter" idx="33"/>
          </p:nvPr>
        </p:nvSpPr>
        <p:spPr>
          <a:xfrm>
            <a:off x="4591050" y="5487454"/>
            <a:ext cx="1952625" cy="452876"/>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3380558678"/>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5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userDrawn="1">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9" name="Content Placeholder 8">
            <a:extLst>
              <a:ext uri="{FF2B5EF4-FFF2-40B4-BE49-F238E27FC236}">
                <a16:creationId xmlns:a16="http://schemas.microsoft.com/office/drawing/2014/main" id="{72C076CA-C3AB-4B20-9F2E-601FECCAFE98}"/>
              </a:ext>
            </a:extLst>
          </p:cNvPr>
          <p:cNvSpPr>
            <a:spLocks noGrp="1"/>
          </p:cNvSpPr>
          <p:nvPr userDrawn="1">
            <p:ph sz="quarter" idx="11"/>
          </p:nvPr>
        </p:nvSpPr>
        <p:spPr>
          <a:xfrm>
            <a:off x="406401" y="2425700"/>
            <a:ext cx="2311400" cy="553998"/>
          </a:xfrm>
        </p:spPr>
        <p:txBody>
          <a:bodyPr/>
          <a:lstStyle>
            <a:lvl1pPr marL="0" indent="0">
              <a:buNone/>
              <a:defRPr/>
            </a:lvl1pPr>
          </a:lstStyle>
          <a:p>
            <a:pPr lvl="0"/>
            <a:endParaRPr lang="en-US" dirty="0"/>
          </a:p>
        </p:txBody>
      </p:sp>
      <p:sp>
        <p:nvSpPr>
          <p:cNvPr id="10" name="Content Placeholder 8">
            <a:extLst>
              <a:ext uri="{FF2B5EF4-FFF2-40B4-BE49-F238E27FC236}">
                <a16:creationId xmlns:a16="http://schemas.microsoft.com/office/drawing/2014/main" id="{940038B6-2733-4B60-9C51-3C1F71A4FF8A}"/>
              </a:ext>
            </a:extLst>
          </p:cNvPr>
          <p:cNvSpPr>
            <a:spLocks noGrp="1"/>
          </p:cNvSpPr>
          <p:nvPr userDrawn="1">
            <p:ph sz="quarter" idx="12"/>
          </p:nvPr>
        </p:nvSpPr>
        <p:spPr>
          <a:xfrm>
            <a:off x="406401" y="3094080"/>
            <a:ext cx="2311400" cy="553998"/>
          </a:xfrm>
        </p:spPr>
        <p:txBody>
          <a:bodyPr/>
          <a:lstStyle>
            <a:lvl1pPr marL="0" indent="0">
              <a:buNone/>
              <a:defRPr/>
            </a:lvl1pPr>
          </a:lstStyle>
          <a:p>
            <a:pPr lvl="0"/>
            <a:endParaRPr lang="en-US" dirty="0"/>
          </a:p>
        </p:txBody>
      </p:sp>
      <p:sp>
        <p:nvSpPr>
          <p:cNvPr id="11" name="Content Placeholder 8">
            <a:extLst>
              <a:ext uri="{FF2B5EF4-FFF2-40B4-BE49-F238E27FC236}">
                <a16:creationId xmlns:a16="http://schemas.microsoft.com/office/drawing/2014/main" id="{C70CB137-ED9D-4813-9415-619B940D3485}"/>
              </a:ext>
            </a:extLst>
          </p:cNvPr>
          <p:cNvSpPr>
            <a:spLocks noGrp="1"/>
          </p:cNvSpPr>
          <p:nvPr userDrawn="1">
            <p:ph sz="quarter" idx="13"/>
          </p:nvPr>
        </p:nvSpPr>
        <p:spPr>
          <a:xfrm>
            <a:off x="406401" y="3805363"/>
            <a:ext cx="2311400" cy="553998"/>
          </a:xfrm>
        </p:spPr>
        <p:txBody>
          <a:bodyPr/>
          <a:lstStyle>
            <a:lvl1pPr marL="0" indent="0">
              <a:buNone/>
              <a:defRPr/>
            </a:lvl1pPr>
          </a:lstStyle>
          <a:p>
            <a:pPr lvl="0"/>
            <a:endParaRPr lang="en-US" dirty="0"/>
          </a:p>
        </p:txBody>
      </p:sp>
      <p:sp>
        <p:nvSpPr>
          <p:cNvPr id="12" name="Content Placeholder 8">
            <a:extLst>
              <a:ext uri="{FF2B5EF4-FFF2-40B4-BE49-F238E27FC236}">
                <a16:creationId xmlns:a16="http://schemas.microsoft.com/office/drawing/2014/main" id="{B9953EE9-3F66-48D7-8158-4BA57F5ADC0C}"/>
              </a:ext>
            </a:extLst>
          </p:cNvPr>
          <p:cNvSpPr>
            <a:spLocks noGrp="1"/>
          </p:cNvSpPr>
          <p:nvPr userDrawn="1">
            <p:ph sz="quarter" idx="14"/>
          </p:nvPr>
        </p:nvSpPr>
        <p:spPr>
          <a:xfrm>
            <a:off x="406401" y="4473743"/>
            <a:ext cx="2311400" cy="553998"/>
          </a:xfrm>
        </p:spPr>
        <p:txBody>
          <a:bodyPr/>
          <a:lstStyle>
            <a:lvl1pPr marL="0" indent="0">
              <a:buNone/>
              <a:defRPr/>
            </a:lvl1pPr>
          </a:lstStyle>
          <a:p>
            <a:pPr lvl="0"/>
            <a:endParaRPr lang="en-US" dirty="0"/>
          </a:p>
        </p:txBody>
      </p:sp>
      <p:sp>
        <p:nvSpPr>
          <p:cNvPr id="13" name="Content Placeholder 8">
            <a:extLst>
              <a:ext uri="{FF2B5EF4-FFF2-40B4-BE49-F238E27FC236}">
                <a16:creationId xmlns:a16="http://schemas.microsoft.com/office/drawing/2014/main" id="{6EF31065-B638-44FD-BCB9-9219DBDE8B94}"/>
              </a:ext>
            </a:extLst>
          </p:cNvPr>
          <p:cNvSpPr>
            <a:spLocks noGrp="1"/>
          </p:cNvSpPr>
          <p:nvPr userDrawn="1">
            <p:ph sz="quarter" idx="15"/>
          </p:nvPr>
        </p:nvSpPr>
        <p:spPr>
          <a:xfrm>
            <a:off x="406401" y="5174873"/>
            <a:ext cx="2311400" cy="553998"/>
          </a:xfrm>
        </p:spPr>
        <p:txBody>
          <a:bodyPr/>
          <a:lstStyle>
            <a:lvl1pPr marL="0" indent="0">
              <a:buNone/>
              <a:defRPr/>
            </a:lvl1pPr>
          </a:lstStyle>
          <a:p>
            <a:pPr lvl="0"/>
            <a:endParaRPr lang="en-US" dirty="0"/>
          </a:p>
        </p:txBody>
      </p:sp>
      <p:sp>
        <p:nvSpPr>
          <p:cNvPr id="14" name="Content Placeholder 8">
            <a:extLst>
              <a:ext uri="{FF2B5EF4-FFF2-40B4-BE49-F238E27FC236}">
                <a16:creationId xmlns:a16="http://schemas.microsoft.com/office/drawing/2014/main" id="{B249FF3F-8E53-4373-94FA-FD789F54DD93}"/>
              </a:ext>
            </a:extLst>
          </p:cNvPr>
          <p:cNvSpPr>
            <a:spLocks noGrp="1"/>
          </p:cNvSpPr>
          <p:nvPr userDrawn="1">
            <p:ph sz="quarter" idx="16"/>
          </p:nvPr>
        </p:nvSpPr>
        <p:spPr>
          <a:xfrm>
            <a:off x="406401" y="5843253"/>
            <a:ext cx="2311400" cy="553998"/>
          </a:xfrm>
        </p:spPr>
        <p:txBody>
          <a:bodyPr/>
          <a:lstStyle>
            <a:lvl1pPr marL="0" indent="0">
              <a:buNone/>
              <a:defRPr/>
            </a:lvl1pPr>
          </a:lstStyle>
          <a:p>
            <a:pPr lvl="0"/>
            <a:endParaRPr lang="en-US" dirty="0"/>
          </a:p>
        </p:txBody>
      </p:sp>
      <p:sp>
        <p:nvSpPr>
          <p:cNvPr id="15" name="Content Placeholder 8">
            <a:extLst>
              <a:ext uri="{FF2B5EF4-FFF2-40B4-BE49-F238E27FC236}">
                <a16:creationId xmlns:a16="http://schemas.microsoft.com/office/drawing/2014/main" id="{04A75AEE-8E46-4B07-870C-EC72F2A124B1}"/>
              </a:ext>
            </a:extLst>
          </p:cNvPr>
          <p:cNvSpPr>
            <a:spLocks noGrp="1"/>
          </p:cNvSpPr>
          <p:nvPr userDrawn="1">
            <p:ph sz="quarter" idx="17"/>
          </p:nvPr>
        </p:nvSpPr>
        <p:spPr>
          <a:xfrm>
            <a:off x="4728919" y="2540082"/>
            <a:ext cx="2311400" cy="553998"/>
          </a:xfrm>
        </p:spPr>
        <p:txBody>
          <a:bodyPr/>
          <a:lstStyle>
            <a:lvl1pPr marL="0" indent="0">
              <a:buNone/>
              <a:defRPr/>
            </a:lvl1pPr>
          </a:lstStyle>
          <a:p>
            <a:pPr lvl="0"/>
            <a:endParaRPr lang="en-US" dirty="0"/>
          </a:p>
        </p:txBody>
      </p:sp>
      <p:sp>
        <p:nvSpPr>
          <p:cNvPr id="16" name="Content Placeholder 8">
            <a:extLst>
              <a:ext uri="{FF2B5EF4-FFF2-40B4-BE49-F238E27FC236}">
                <a16:creationId xmlns:a16="http://schemas.microsoft.com/office/drawing/2014/main" id="{4233DCF2-8EE5-428C-B963-FF0E9F77641A}"/>
              </a:ext>
            </a:extLst>
          </p:cNvPr>
          <p:cNvSpPr>
            <a:spLocks noGrp="1"/>
          </p:cNvSpPr>
          <p:nvPr userDrawn="1">
            <p:ph sz="quarter" idx="18"/>
          </p:nvPr>
        </p:nvSpPr>
        <p:spPr>
          <a:xfrm>
            <a:off x="4728919" y="3208462"/>
            <a:ext cx="2311400" cy="553998"/>
          </a:xfrm>
        </p:spPr>
        <p:txBody>
          <a:bodyPr/>
          <a:lstStyle>
            <a:lvl1pPr marL="0" indent="0">
              <a:buNone/>
              <a:defRPr/>
            </a:lvl1pPr>
          </a:lstStyle>
          <a:p>
            <a:pPr lvl="0"/>
            <a:endParaRPr lang="en-US" dirty="0"/>
          </a:p>
        </p:txBody>
      </p:sp>
      <p:sp>
        <p:nvSpPr>
          <p:cNvPr id="17" name="Content Placeholder 8">
            <a:extLst>
              <a:ext uri="{FF2B5EF4-FFF2-40B4-BE49-F238E27FC236}">
                <a16:creationId xmlns:a16="http://schemas.microsoft.com/office/drawing/2014/main" id="{FCE85D38-B2E8-4C74-875D-D89F54AC7555}"/>
              </a:ext>
            </a:extLst>
          </p:cNvPr>
          <p:cNvSpPr>
            <a:spLocks noGrp="1"/>
          </p:cNvSpPr>
          <p:nvPr userDrawn="1">
            <p:ph sz="quarter" idx="19"/>
          </p:nvPr>
        </p:nvSpPr>
        <p:spPr>
          <a:xfrm>
            <a:off x="8822159" y="4798434"/>
            <a:ext cx="2311400" cy="553998"/>
          </a:xfrm>
        </p:spPr>
        <p:txBody>
          <a:bodyPr/>
          <a:lstStyle>
            <a:lvl1pPr marL="0" indent="0">
              <a:buNone/>
              <a:defRPr/>
            </a:lvl1pPr>
          </a:lstStyle>
          <a:p>
            <a:pPr lvl="0"/>
            <a:endParaRPr lang="en-US" dirty="0"/>
          </a:p>
        </p:txBody>
      </p:sp>
      <p:sp>
        <p:nvSpPr>
          <p:cNvPr id="18" name="Content Placeholder 8">
            <a:extLst>
              <a:ext uri="{FF2B5EF4-FFF2-40B4-BE49-F238E27FC236}">
                <a16:creationId xmlns:a16="http://schemas.microsoft.com/office/drawing/2014/main" id="{30FB91D7-CF6C-4707-820E-2B0AD1156F19}"/>
              </a:ext>
            </a:extLst>
          </p:cNvPr>
          <p:cNvSpPr>
            <a:spLocks noGrp="1"/>
          </p:cNvSpPr>
          <p:nvPr userDrawn="1">
            <p:ph sz="quarter" idx="20"/>
          </p:nvPr>
        </p:nvSpPr>
        <p:spPr>
          <a:xfrm>
            <a:off x="8822159" y="5466814"/>
            <a:ext cx="23114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350632451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4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7" name="Content Placeholder 6">
            <a:extLst>
              <a:ext uri="{FF2B5EF4-FFF2-40B4-BE49-F238E27FC236}">
                <a16:creationId xmlns:a16="http://schemas.microsoft.com/office/drawing/2014/main" id="{51335B94-F167-4729-9DB4-D01D8609B0DB}"/>
              </a:ext>
            </a:extLst>
          </p:cNvPr>
          <p:cNvSpPr>
            <a:spLocks noGrp="1"/>
          </p:cNvSpPr>
          <p:nvPr>
            <p:ph sz="quarter" idx="11"/>
          </p:nvPr>
        </p:nvSpPr>
        <p:spPr>
          <a:xfrm>
            <a:off x="4622800" y="2451100"/>
            <a:ext cx="2285998" cy="553998"/>
          </a:xfrm>
        </p:spPr>
        <p:txBody>
          <a:bodyPr/>
          <a:lstStyle>
            <a:lvl1pPr marL="0" indent="0">
              <a:buNone/>
              <a:defRPr/>
            </a:lvl1pPr>
          </a:lstStyle>
          <a:p>
            <a:pPr lvl="0"/>
            <a:endParaRPr lang="en-US" dirty="0"/>
          </a:p>
        </p:txBody>
      </p:sp>
      <p:sp>
        <p:nvSpPr>
          <p:cNvPr id="8" name="Content Placeholder 6">
            <a:extLst>
              <a:ext uri="{FF2B5EF4-FFF2-40B4-BE49-F238E27FC236}">
                <a16:creationId xmlns:a16="http://schemas.microsoft.com/office/drawing/2014/main" id="{5583BEB3-F982-40B2-8494-7E53CF8DB8C3}"/>
              </a:ext>
            </a:extLst>
          </p:cNvPr>
          <p:cNvSpPr>
            <a:spLocks noGrp="1"/>
          </p:cNvSpPr>
          <p:nvPr>
            <p:ph sz="quarter" idx="12"/>
          </p:nvPr>
        </p:nvSpPr>
        <p:spPr>
          <a:xfrm>
            <a:off x="4648200" y="3111582"/>
            <a:ext cx="2285998" cy="553998"/>
          </a:xfrm>
        </p:spPr>
        <p:txBody>
          <a:bodyPr/>
          <a:lstStyle>
            <a:lvl1pPr marL="0" indent="0">
              <a:buNone/>
              <a:defRPr/>
            </a:lvl1pPr>
          </a:lstStyle>
          <a:p>
            <a:pPr lvl="0"/>
            <a:endParaRPr lang="en-US" dirty="0"/>
          </a:p>
        </p:txBody>
      </p:sp>
      <p:sp>
        <p:nvSpPr>
          <p:cNvPr id="9" name="Content Placeholder 6">
            <a:extLst>
              <a:ext uri="{FF2B5EF4-FFF2-40B4-BE49-F238E27FC236}">
                <a16:creationId xmlns:a16="http://schemas.microsoft.com/office/drawing/2014/main" id="{CC35BEBB-C736-4433-93DE-6F12F27B75F2}"/>
              </a:ext>
            </a:extLst>
          </p:cNvPr>
          <p:cNvSpPr>
            <a:spLocks noGrp="1"/>
          </p:cNvSpPr>
          <p:nvPr>
            <p:ph sz="quarter" idx="13"/>
          </p:nvPr>
        </p:nvSpPr>
        <p:spPr>
          <a:xfrm>
            <a:off x="4673600" y="3789567"/>
            <a:ext cx="2285998" cy="553998"/>
          </a:xfrm>
        </p:spPr>
        <p:txBody>
          <a:bodyPr/>
          <a:lstStyle>
            <a:lvl1pPr marL="0" indent="0">
              <a:buNone/>
              <a:defRPr/>
            </a:lvl1pPr>
          </a:lstStyle>
          <a:p>
            <a:pPr lvl="0"/>
            <a:endParaRPr lang="en-US" dirty="0"/>
          </a:p>
        </p:txBody>
      </p:sp>
      <p:sp>
        <p:nvSpPr>
          <p:cNvPr id="10" name="Content Placeholder 6">
            <a:extLst>
              <a:ext uri="{FF2B5EF4-FFF2-40B4-BE49-F238E27FC236}">
                <a16:creationId xmlns:a16="http://schemas.microsoft.com/office/drawing/2014/main" id="{739928B2-1395-4A40-BD93-D240A6F52726}"/>
              </a:ext>
            </a:extLst>
          </p:cNvPr>
          <p:cNvSpPr>
            <a:spLocks noGrp="1"/>
          </p:cNvSpPr>
          <p:nvPr>
            <p:ph sz="quarter" idx="14"/>
          </p:nvPr>
        </p:nvSpPr>
        <p:spPr>
          <a:xfrm>
            <a:off x="4699000" y="4450049"/>
            <a:ext cx="2285998" cy="553998"/>
          </a:xfrm>
        </p:spPr>
        <p:txBody>
          <a:bodyPr/>
          <a:lstStyle>
            <a:lvl1pPr marL="0" indent="0">
              <a:buNone/>
              <a:defRPr/>
            </a:lvl1pPr>
          </a:lstStyle>
          <a:p>
            <a:pPr lvl="0"/>
            <a:endParaRPr lang="en-US" dirty="0"/>
          </a:p>
        </p:txBody>
      </p:sp>
      <p:sp>
        <p:nvSpPr>
          <p:cNvPr id="11" name="Content Placeholder 6">
            <a:extLst>
              <a:ext uri="{FF2B5EF4-FFF2-40B4-BE49-F238E27FC236}">
                <a16:creationId xmlns:a16="http://schemas.microsoft.com/office/drawing/2014/main" id="{2DECAB35-CCE1-4716-B6F4-2769C1B0E97F}"/>
              </a:ext>
            </a:extLst>
          </p:cNvPr>
          <p:cNvSpPr>
            <a:spLocks noGrp="1"/>
          </p:cNvSpPr>
          <p:nvPr>
            <p:ph sz="quarter" idx="15"/>
          </p:nvPr>
        </p:nvSpPr>
        <p:spPr>
          <a:xfrm>
            <a:off x="7213601" y="2473732"/>
            <a:ext cx="2285998" cy="553998"/>
          </a:xfrm>
        </p:spPr>
        <p:txBody>
          <a:bodyPr/>
          <a:lstStyle>
            <a:lvl1pPr marL="0" indent="0">
              <a:buNone/>
              <a:defRPr/>
            </a:lvl1pPr>
          </a:lstStyle>
          <a:p>
            <a:pPr lvl="0"/>
            <a:endParaRPr lang="en-US" dirty="0"/>
          </a:p>
        </p:txBody>
      </p:sp>
      <p:sp>
        <p:nvSpPr>
          <p:cNvPr id="12" name="Content Placeholder 6">
            <a:extLst>
              <a:ext uri="{FF2B5EF4-FFF2-40B4-BE49-F238E27FC236}">
                <a16:creationId xmlns:a16="http://schemas.microsoft.com/office/drawing/2014/main" id="{9748E219-6F66-4529-A062-6C28AE8FA0DC}"/>
              </a:ext>
            </a:extLst>
          </p:cNvPr>
          <p:cNvSpPr>
            <a:spLocks noGrp="1"/>
          </p:cNvSpPr>
          <p:nvPr>
            <p:ph sz="quarter" idx="16"/>
          </p:nvPr>
        </p:nvSpPr>
        <p:spPr>
          <a:xfrm>
            <a:off x="7239001" y="3134214"/>
            <a:ext cx="2285998" cy="553998"/>
          </a:xfrm>
        </p:spPr>
        <p:txBody>
          <a:bodyPr/>
          <a:lstStyle>
            <a:lvl1pPr marL="0" indent="0">
              <a:buNone/>
              <a:defRPr/>
            </a:lvl1pPr>
          </a:lstStyle>
          <a:p>
            <a:pPr lvl="0"/>
            <a:endParaRPr lang="en-US" dirty="0"/>
          </a:p>
        </p:txBody>
      </p:sp>
      <p:sp>
        <p:nvSpPr>
          <p:cNvPr id="13" name="Content Placeholder 6">
            <a:extLst>
              <a:ext uri="{FF2B5EF4-FFF2-40B4-BE49-F238E27FC236}">
                <a16:creationId xmlns:a16="http://schemas.microsoft.com/office/drawing/2014/main" id="{7DD73780-7F9B-4275-987C-817FA87D0268}"/>
              </a:ext>
            </a:extLst>
          </p:cNvPr>
          <p:cNvSpPr>
            <a:spLocks noGrp="1"/>
          </p:cNvSpPr>
          <p:nvPr>
            <p:ph sz="quarter" idx="17"/>
          </p:nvPr>
        </p:nvSpPr>
        <p:spPr>
          <a:xfrm>
            <a:off x="7264401" y="3812199"/>
            <a:ext cx="2285998" cy="553998"/>
          </a:xfrm>
        </p:spPr>
        <p:txBody>
          <a:bodyPr/>
          <a:lstStyle>
            <a:lvl1pPr marL="0" indent="0">
              <a:buNone/>
              <a:defRPr/>
            </a:lvl1pPr>
          </a:lstStyle>
          <a:p>
            <a:pPr lvl="0"/>
            <a:endParaRPr lang="en-US" dirty="0"/>
          </a:p>
        </p:txBody>
      </p:sp>
      <p:sp>
        <p:nvSpPr>
          <p:cNvPr id="14" name="Content Placeholder 6">
            <a:extLst>
              <a:ext uri="{FF2B5EF4-FFF2-40B4-BE49-F238E27FC236}">
                <a16:creationId xmlns:a16="http://schemas.microsoft.com/office/drawing/2014/main" id="{F5596F58-F26E-4849-A7B6-A76BC05545B5}"/>
              </a:ext>
            </a:extLst>
          </p:cNvPr>
          <p:cNvSpPr>
            <a:spLocks noGrp="1"/>
          </p:cNvSpPr>
          <p:nvPr>
            <p:ph sz="quarter" idx="18"/>
          </p:nvPr>
        </p:nvSpPr>
        <p:spPr>
          <a:xfrm>
            <a:off x="7289801" y="4472681"/>
            <a:ext cx="2285998"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81849265"/>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3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B15E8376-9222-4D5E-B177-E43FAB5AE948}"/>
              </a:ext>
            </a:extLst>
          </p:cNvPr>
          <p:cNvSpPr>
            <a:spLocks noGrp="1"/>
          </p:cNvSpPr>
          <p:nvPr>
            <p:ph sz="quarter" idx="11"/>
          </p:nvPr>
        </p:nvSpPr>
        <p:spPr>
          <a:xfrm>
            <a:off x="393700" y="2552700"/>
            <a:ext cx="6032500" cy="55399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DC4F3DFE-36F3-4D7B-984F-78DD92BA9C45}"/>
              </a:ext>
            </a:extLst>
          </p:cNvPr>
          <p:cNvSpPr>
            <a:spLocks noGrp="1"/>
          </p:cNvSpPr>
          <p:nvPr>
            <p:ph sz="quarter" idx="12"/>
          </p:nvPr>
        </p:nvSpPr>
        <p:spPr>
          <a:xfrm>
            <a:off x="393700" y="3447481"/>
            <a:ext cx="6032500" cy="55399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2E020A23-18CF-4F95-9B12-66B13EDB6508}"/>
              </a:ext>
            </a:extLst>
          </p:cNvPr>
          <p:cNvSpPr>
            <a:spLocks noGrp="1"/>
          </p:cNvSpPr>
          <p:nvPr>
            <p:ph sz="quarter" idx="13"/>
          </p:nvPr>
        </p:nvSpPr>
        <p:spPr>
          <a:xfrm>
            <a:off x="393700" y="4369085"/>
            <a:ext cx="60325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410214159"/>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2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40" name="Rectangle 39">
            <a:extLst>
              <a:ext uri="{FF2B5EF4-FFF2-40B4-BE49-F238E27FC236}">
                <a16:creationId xmlns:a16="http://schemas.microsoft.com/office/drawing/2014/main" id="{90F64832-7210-46EB-B6D5-8DFAFB0C990A}"/>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32" name="Content Placeholder 31">
            <a:extLst>
              <a:ext uri="{FF2B5EF4-FFF2-40B4-BE49-F238E27FC236}">
                <a16:creationId xmlns:a16="http://schemas.microsoft.com/office/drawing/2014/main" id="{46CE8D1C-391B-41F5-B684-99678F024752}"/>
              </a:ext>
            </a:extLst>
          </p:cNvPr>
          <p:cNvSpPr>
            <a:spLocks noGrp="1"/>
          </p:cNvSpPr>
          <p:nvPr userDrawn="1">
            <p:ph sz="quarter" idx="11"/>
          </p:nvPr>
        </p:nvSpPr>
        <p:spPr>
          <a:xfrm>
            <a:off x="347663" y="2438400"/>
            <a:ext cx="2646362" cy="553998"/>
          </a:xfrm>
        </p:spPr>
        <p:txBody>
          <a:bodyPr/>
          <a:lstStyle>
            <a:lvl1pPr marL="0" indent="0">
              <a:buNone/>
              <a:defRPr/>
            </a:lvl1pPr>
          </a:lstStyle>
          <a:p>
            <a:pPr lvl="0"/>
            <a:endParaRPr lang="en-US" dirty="0"/>
          </a:p>
        </p:txBody>
      </p:sp>
      <p:sp>
        <p:nvSpPr>
          <p:cNvPr id="33" name="Content Placeholder 31">
            <a:extLst>
              <a:ext uri="{FF2B5EF4-FFF2-40B4-BE49-F238E27FC236}">
                <a16:creationId xmlns:a16="http://schemas.microsoft.com/office/drawing/2014/main" id="{610360F3-21E9-4F1A-9796-8088E1F8C9BB}"/>
              </a:ext>
            </a:extLst>
          </p:cNvPr>
          <p:cNvSpPr>
            <a:spLocks noGrp="1"/>
          </p:cNvSpPr>
          <p:nvPr userDrawn="1">
            <p:ph sz="quarter" idx="12"/>
          </p:nvPr>
        </p:nvSpPr>
        <p:spPr>
          <a:xfrm>
            <a:off x="3146425" y="2448412"/>
            <a:ext cx="2646362" cy="553998"/>
          </a:xfrm>
        </p:spPr>
        <p:txBody>
          <a:bodyPr/>
          <a:lstStyle>
            <a:lvl1pPr marL="0" indent="0">
              <a:buNone/>
              <a:defRPr/>
            </a:lvl1pPr>
          </a:lstStyle>
          <a:p>
            <a:pPr lvl="0"/>
            <a:endParaRPr lang="en-US" dirty="0"/>
          </a:p>
        </p:txBody>
      </p:sp>
      <p:sp>
        <p:nvSpPr>
          <p:cNvPr id="34" name="Content Placeholder 31">
            <a:extLst>
              <a:ext uri="{FF2B5EF4-FFF2-40B4-BE49-F238E27FC236}">
                <a16:creationId xmlns:a16="http://schemas.microsoft.com/office/drawing/2014/main" id="{6DD177D0-490E-480B-91DC-CDD6D9C87216}"/>
              </a:ext>
            </a:extLst>
          </p:cNvPr>
          <p:cNvSpPr>
            <a:spLocks noGrp="1"/>
          </p:cNvSpPr>
          <p:nvPr userDrawn="1">
            <p:ph sz="quarter" idx="13"/>
          </p:nvPr>
        </p:nvSpPr>
        <p:spPr>
          <a:xfrm>
            <a:off x="5945187" y="2429199"/>
            <a:ext cx="2646362" cy="553998"/>
          </a:xfrm>
        </p:spPr>
        <p:txBody>
          <a:bodyPr/>
          <a:lstStyle>
            <a:lvl1pPr marL="0" indent="0">
              <a:buNone/>
              <a:defRPr/>
            </a:lvl1pPr>
          </a:lstStyle>
          <a:p>
            <a:pPr lvl="0"/>
            <a:endParaRPr lang="en-US" dirty="0"/>
          </a:p>
        </p:txBody>
      </p:sp>
      <p:sp>
        <p:nvSpPr>
          <p:cNvPr id="35" name="Content Placeholder 31">
            <a:extLst>
              <a:ext uri="{FF2B5EF4-FFF2-40B4-BE49-F238E27FC236}">
                <a16:creationId xmlns:a16="http://schemas.microsoft.com/office/drawing/2014/main" id="{4928D7FB-CEBB-41CB-8A9B-30D531D2FAF9}"/>
              </a:ext>
            </a:extLst>
          </p:cNvPr>
          <p:cNvSpPr>
            <a:spLocks noGrp="1"/>
          </p:cNvSpPr>
          <p:nvPr userDrawn="1">
            <p:ph sz="quarter" idx="14"/>
          </p:nvPr>
        </p:nvSpPr>
        <p:spPr>
          <a:xfrm>
            <a:off x="8859740" y="2429199"/>
            <a:ext cx="2646362" cy="553998"/>
          </a:xfrm>
        </p:spPr>
        <p:txBody>
          <a:bodyPr/>
          <a:lstStyle>
            <a:lvl1pPr marL="0" indent="0">
              <a:buNone/>
              <a:defRPr/>
            </a:lvl1pPr>
          </a:lstStyle>
          <a:p>
            <a:pPr lvl="0"/>
            <a:endParaRPr lang="en-US" dirty="0"/>
          </a:p>
        </p:txBody>
      </p:sp>
      <p:sp>
        <p:nvSpPr>
          <p:cNvPr id="36" name="Content Placeholder 31">
            <a:extLst>
              <a:ext uri="{FF2B5EF4-FFF2-40B4-BE49-F238E27FC236}">
                <a16:creationId xmlns:a16="http://schemas.microsoft.com/office/drawing/2014/main" id="{1720C563-B2EB-432E-A866-4E360256109C}"/>
              </a:ext>
            </a:extLst>
          </p:cNvPr>
          <p:cNvSpPr>
            <a:spLocks noGrp="1"/>
          </p:cNvSpPr>
          <p:nvPr userDrawn="1">
            <p:ph sz="quarter" idx="15"/>
          </p:nvPr>
        </p:nvSpPr>
        <p:spPr>
          <a:xfrm>
            <a:off x="279000" y="3788286"/>
            <a:ext cx="1364736" cy="653481"/>
          </a:xfrm>
        </p:spPr>
        <p:txBody>
          <a:bodyPr/>
          <a:lstStyle>
            <a:lvl1pPr marL="0" indent="0">
              <a:buNone/>
              <a:defRPr/>
            </a:lvl1pPr>
          </a:lstStyle>
          <a:p>
            <a:pPr lvl="0"/>
            <a:endParaRPr lang="en-US" dirty="0"/>
          </a:p>
        </p:txBody>
      </p:sp>
      <p:sp>
        <p:nvSpPr>
          <p:cNvPr id="37" name="Content Placeholder 31">
            <a:extLst>
              <a:ext uri="{FF2B5EF4-FFF2-40B4-BE49-F238E27FC236}">
                <a16:creationId xmlns:a16="http://schemas.microsoft.com/office/drawing/2014/main" id="{9172FE06-07BF-4207-9B4F-66CA7FFCF25B}"/>
              </a:ext>
            </a:extLst>
          </p:cNvPr>
          <p:cNvSpPr>
            <a:spLocks noGrp="1"/>
          </p:cNvSpPr>
          <p:nvPr userDrawn="1">
            <p:ph sz="quarter" idx="16"/>
          </p:nvPr>
        </p:nvSpPr>
        <p:spPr>
          <a:xfrm>
            <a:off x="254478" y="4564326"/>
            <a:ext cx="1364736" cy="653481"/>
          </a:xfrm>
        </p:spPr>
        <p:txBody>
          <a:bodyPr/>
          <a:lstStyle>
            <a:lvl1pPr marL="0" indent="0">
              <a:buNone/>
              <a:defRPr/>
            </a:lvl1pPr>
          </a:lstStyle>
          <a:p>
            <a:pPr lvl="0"/>
            <a:endParaRPr lang="en-US" dirty="0"/>
          </a:p>
        </p:txBody>
      </p:sp>
      <p:sp>
        <p:nvSpPr>
          <p:cNvPr id="38" name="Content Placeholder 31">
            <a:extLst>
              <a:ext uri="{FF2B5EF4-FFF2-40B4-BE49-F238E27FC236}">
                <a16:creationId xmlns:a16="http://schemas.microsoft.com/office/drawing/2014/main" id="{6D82317D-19E5-4088-913C-40AE95CE66B2}"/>
              </a:ext>
            </a:extLst>
          </p:cNvPr>
          <p:cNvSpPr>
            <a:spLocks noGrp="1"/>
          </p:cNvSpPr>
          <p:nvPr userDrawn="1">
            <p:ph sz="quarter" idx="17"/>
          </p:nvPr>
        </p:nvSpPr>
        <p:spPr>
          <a:xfrm>
            <a:off x="279000" y="5477905"/>
            <a:ext cx="1364736" cy="653481"/>
          </a:xfrm>
        </p:spPr>
        <p:txBody>
          <a:bodyPr/>
          <a:lstStyle>
            <a:lvl1pPr marL="0" indent="0">
              <a:buNone/>
              <a:defRPr/>
            </a:lvl1pPr>
          </a:lstStyle>
          <a:p>
            <a:pPr lvl="0"/>
            <a:endParaRPr lang="en-US" dirty="0"/>
          </a:p>
        </p:txBody>
      </p:sp>
      <p:sp>
        <p:nvSpPr>
          <p:cNvPr id="39" name="Content Placeholder 31">
            <a:extLst>
              <a:ext uri="{FF2B5EF4-FFF2-40B4-BE49-F238E27FC236}">
                <a16:creationId xmlns:a16="http://schemas.microsoft.com/office/drawing/2014/main" id="{CEA3E639-7F8B-43B0-B763-DCDAB944F761}"/>
              </a:ext>
            </a:extLst>
          </p:cNvPr>
          <p:cNvSpPr>
            <a:spLocks noGrp="1"/>
          </p:cNvSpPr>
          <p:nvPr userDrawn="1">
            <p:ph sz="quarter" idx="18"/>
          </p:nvPr>
        </p:nvSpPr>
        <p:spPr>
          <a:xfrm>
            <a:off x="2085354" y="5733607"/>
            <a:ext cx="1364736" cy="653481"/>
          </a:xfrm>
        </p:spPr>
        <p:txBody>
          <a:bodyPr/>
          <a:lstStyle>
            <a:lvl1pPr marL="0" indent="0">
              <a:buNone/>
              <a:defRPr/>
            </a:lvl1pPr>
          </a:lstStyle>
          <a:p>
            <a:pPr lvl="0"/>
            <a:endParaRPr lang="en-US" dirty="0"/>
          </a:p>
        </p:txBody>
      </p:sp>
      <p:sp>
        <p:nvSpPr>
          <p:cNvPr id="41" name="Content Placeholder 40">
            <a:extLst>
              <a:ext uri="{FF2B5EF4-FFF2-40B4-BE49-F238E27FC236}">
                <a16:creationId xmlns:a16="http://schemas.microsoft.com/office/drawing/2014/main" id="{3B55E6CB-9D6A-45C4-BEB0-7F5D5A577517}"/>
              </a:ext>
            </a:extLst>
          </p:cNvPr>
          <p:cNvSpPr>
            <a:spLocks noGrp="1"/>
          </p:cNvSpPr>
          <p:nvPr userDrawn="1">
            <p:ph sz="quarter" idx="19"/>
          </p:nvPr>
        </p:nvSpPr>
        <p:spPr>
          <a:xfrm>
            <a:off x="3835986" y="5818476"/>
            <a:ext cx="2771639" cy="553998"/>
          </a:xfrm>
        </p:spPr>
        <p:txBody>
          <a:bodyPr/>
          <a:lstStyle>
            <a:lvl1pPr marL="0" indent="0">
              <a:buNone/>
              <a:defRPr/>
            </a:lvl1pPr>
          </a:lstStyle>
          <a:p>
            <a:pPr lvl="0"/>
            <a:endParaRPr lang="en-US" dirty="0"/>
          </a:p>
        </p:txBody>
      </p:sp>
      <p:sp>
        <p:nvSpPr>
          <p:cNvPr id="42" name="Content Placeholder 40">
            <a:extLst>
              <a:ext uri="{FF2B5EF4-FFF2-40B4-BE49-F238E27FC236}">
                <a16:creationId xmlns:a16="http://schemas.microsoft.com/office/drawing/2014/main" id="{D47F73BF-5696-4A22-97B6-E56A829C08BC}"/>
              </a:ext>
            </a:extLst>
          </p:cNvPr>
          <p:cNvSpPr>
            <a:spLocks noGrp="1"/>
          </p:cNvSpPr>
          <p:nvPr userDrawn="1">
            <p:ph sz="quarter" idx="20"/>
          </p:nvPr>
        </p:nvSpPr>
        <p:spPr>
          <a:xfrm>
            <a:off x="6936856" y="5804645"/>
            <a:ext cx="2771639"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313361997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userDrawn="1">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16" name="Content Placeholder 15">
            <a:extLst>
              <a:ext uri="{FF2B5EF4-FFF2-40B4-BE49-F238E27FC236}">
                <a16:creationId xmlns:a16="http://schemas.microsoft.com/office/drawing/2014/main" id="{34F4264E-8AAC-4A14-A86A-02DEF47D8C7D}"/>
              </a:ext>
            </a:extLst>
          </p:cNvPr>
          <p:cNvSpPr>
            <a:spLocks noGrp="1"/>
          </p:cNvSpPr>
          <p:nvPr userDrawn="1">
            <p:ph sz="quarter" idx="11"/>
          </p:nvPr>
        </p:nvSpPr>
        <p:spPr>
          <a:xfrm>
            <a:off x="269239" y="2397524"/>
            <a:ext cx="1828800" cy="553998"/>
          </a:xfrm>
        </p:spPr>
        <p:txBody>
          <a:bodyPr/>
          <a:lstStyle>
            <a:lvl1pPr marL="0" indent="0">
              <a:buNone/>
              <a:defRPr/>
            </a:lvl1pPr>
          </a:lstStyle>
          <a:p>
            <a:pPr lvl="0"/>
            <a:endParaRPr lang="en-US" dirty="0"/>
          </a:p>
        </p:txBody>
      </p:sp>
      <p:sp>
        <p:nvSpPr>
          <p:cNvPr id="17" name="Content Placeholder 15">
            <a:extLst>
              <a:ext uri="{FF2B5EF4-FFF2-40B4-BE49-F238E27FC236}">
                <a16:creationId xmlns:a16="http://schemas.microsoft.com/office/drawing/2014/main" id="{A3CEC818-7E7E-4C5E-8398-36F08CA3E2F1}"/>
              </a:ext>
            </a:extLst>
          </p:cNvPr>
          <p:cNvSpPr>
            <a:spLocks noGrp="1"/>
          </p:cNvSpPr>
          <p:nvPr userDrawn="1">
            <p:ph sz="quarter" idx="12"/>
          </p:nvPr>
        </p:nvSpPr>
        <p:spPr>
          <a:xfrm>
            <a:off x="269239" y="3160826"/>
            <a:ext cx="1828800" cy="553998"/>
          </a:xfrm>
        </p:spPr>
        <p:txBody>
          <a:bodyPr/>
          <a:lstStyle>
            <a:lvl1pPr marL="0" indent="0">
              <a:buNone/>
              <a:defRPr/>
            </a:lvl1pPr>
          </a:lstStyle>
          <a:p>
            <a:pPr lvl="0"/>
            <a:endParaRPr lang="en-US" dirty="0"/>
          </a:p>
        </p:txBody>
      </p:sp>
      <p:sp>
        <p:nvSpPr>
          <p:cNvPr id="18" name="Content Placeholder 15">
            <a:extLst>
              <a:ext uri="{FF2B5EF4-FFF2-40B4-BE49-F238E27FC236}">
                <a16:creationId xmlns:a16="http://schemas.microsoft.com/office/drawing/2014/main" id="{94489C01-6FC6-46DA-ADEE-0ECE2B38A4D3}"/>
              </a:ext>
            </a:extLst>
          </p:cNvPr>
          <p:cNvSpPr>
            <a:spLocks noGrp="1"/>
          </p:cNvSpPr>
          <p:nvPr userDrawn="1">
            <p:ph sz="quarter" idx="13"/>
          </p:nvPr>
        </p:nvSpPr>
        <p:spPr>
          <a:xfrm>
            <a:off x="269239" y="3812794"/>
            <a:ext cx="1828800" cy="553998"/>
          </a:xfrm>
        </p:spPr>
        <p:txBody>
          <a:bodyPr/>
          <a:lstStyle>
            <a:lvl1pPr marL="0" indent="0">
              <a:buNone/>
              <a:defRPr/>
            </a:lvl1pPr>
          </a:lstStyle>
          <a:p>
            <a:pPr lvl="0"/>
            <a:endParaRPr lang="en-US" dirty="0"/>
          </a:p>
        </p:txBody>
      </p:sp>
      <p:sp>
        <p:nvSpPr>
          <p:cNvPr id="19" name="Content Placeholder 15">
            <a:extLst>
              <a:ext uri="{FF2B5EF4-FFF2-40B4-BE49-F238E27FC236}">
                <a16:creationId xmlns:a16="http://schemas.microsoft.com/office/drawing/2014/main" id="{25BC128E-E7D8-43B1-950F-3254D3BDCFB9}"/>
              </a:ext>
            </a:extLst>
          </p:cNvPr>
          <p:cNvSpPr>
            <a:spLocks noGrp="1"/>
          </p:cNvSpPr>
          <p:nvPr userDrawn="1">
            <p:ph sz="quarter" idx="14"/>
          </p:nvPr>
        </p:nvSpPr>
        <p:spPr>
          <a:xfrm>
            <a:off x="269239" y="4576096"/>
            <a:ext cx="1828800" cy="553998"/>
          </a:xfrm>
        </p:spPr>
        <p:txBody>
          <a:bodyPr/>
          <a:lstStyle>
            <a:lvl1pPr marL="0" indent="0">
              <a:buNone/>
              <a:defRPr/>
            </a:lvl1pPr>
          </a:lstStyle>
          <a:p>
            <a:pPr lvl="0"/>
            <a:endParaRPr lang="en-US" dirty="0"/>
          </a:p>
        </p:txBody>
      </p:sp>
      <p:sp>
        <p:nvSpPr>
          <p:cNvPr id="20" name="Content Placeholder 15">
            <a:extLst>
              <a:ext uri="{FF2B5EF4-FFF2-40B4-BE49-F238E27FC236}">
                <a16:creationId xmlns:a16="http://schemas.microsoft.com/office/drawing/2014/main" id="{21F60B3A-B5DE-4BD0-9D09-E910CC5190F1}"/>
              </a:ext>
            </a:extLst>
          </p:cNvPr>
          <p:cNvSpPr>
            <a:spLocks noGrp="1"/>
          </p:cNvSpPr>
          <p:nvPr userDrawn="1">
            <p:ph sz="quarter" idx="15"/>
          </p:nvPr>
        </p:nvSpPr>
        <p:spPr>
          <a:xfrm>
            <a:off x="246619" y="5281407"/>
            <a:ext cx="1828800" cy="553998"/>
          </a:xfrm>
        </p:spPr>
        <p:txBody>
          <a:bodyPr/>
          <a:lstStyle>
            <a:lvl1pPr marL="0" indent="0">
              <a:buNone/>
              <a:defRPr/>
            </a:lvl1pPr>
          </a:lstStyle>
          <a:p>
            <a:pPr lvl="0"/>
            <a:endParaRPr lang="en-US" dirty="0"/>
          </a:p>
        </p:txBody>
      </p:sp>
      <p:sp>
        <p:nvSpPr>
          <p:cNvPr id="21" name="Content Placeholder 15">
            <a:extLst>
              <a:ext uri="{FF2B5EF4-FFF2-40B4-BE49-F238E27FC236}">
                <a16:creationId xmlns:a16="http://schemas.microsoft.com/office/drawing/2014/main" id="{4FE1844B-629D-463B-8DF0-D128D7485A20}"/>
              </a:ext>
            </a:extLst>
          </p:cNvPr>
          <p:cNvSpPr>
            <a:spLocks noGrp="1"/>
          </p:cNvSpPr>
          <p:nvPr userDrawn="1">
            <p:ph sz="quarter" idx="16"/>
          </p:nvPr>
        </p:nvSpPr>
        <p:spPr>
          <a:xfrm>
            <a:off x="246619" y="6044709"/>
            <a:ext cx="1828800" cy="553998"/>
          </a:xfrm>
        </p:spPr>
        <p:txBody>
          <a:bodyPr/>
          <a:lstStyle>
            <a:lvl1pPr marL="0" indent="0">
              <a:buNone/>
              <a:defRPr/>
            </a:lvl1pPr>
          </a:lstStyle>
          <a:p>
            <a:pPr lvl="0"/>
            <a:endParaRPr lang="en-US" dirty="0"/>
          </a:p>
        </p:txBody>
      </p:sp>
      <p:sp>
        <p:nvSpPr>
          <p:cNvPr id="22" name="Content Placeholder 15">
            <a:extLst>
              <a:ext uri="{FF2B5EF4-FFF2-40B4-BE49-F238E27FC236}">
                <a16:creationId xmlns:a16="http://schemas.microsoft.com/office/drawing/2014/main" id="{B4F35D5F-93F2-4E70-9C07-AFB725071DA6}"/>
              </a:ext>
            </a:extLst>
          </p:cNvPr>
          <p:cNvSpPr>
            <a:spLocks noGrp="1"/>
          </p:cNvSpPr>
          <p:nvPr userDrawn="1">
            <p:ph sz="quarter" idx="17"/>
          </p:nvPr>
        </p:nvSpPr>
        <p:spPr>
          <a:xfrm>
            <a:off x="10239891" y="2367306"/>
            <a:ext cx="1828800" cy="553998"/>
          </a:xfrm>
        </p:spPr>
        <p:txBody>
          <a:bodyPr/>
          <a:lstStyle>
            <a:lvl1pPr marL="0" indent="0">
              <a:buNone/>
              <a:defRPr/>
            </a:lvl1pPr>
          </a:lstStyle>
          <a:p>
            <a:pPr lvl="0"/>
            <a:endParaRPr lang="en-US" dirty="0"/>
          </a:p>
        </p:txBody>
      </p:sp>
      <p:sp>
        <p:nvSpPr>
          <p:cNvPr id="23" name="Content Placeholder 15">
            <a:extLst>
              <a:ext uri="{FF2B5EF4-FFF2-40B4-BE49-F238E27FC236}">
                <a16:creationId xmlns:a16="http://schemas.microsoft.com/office/drawing/2014/main" id="{D1C19F72-60CA-4323-AAA1-757F5A1121F9}"/>
              </a:ext>
            </a:extLst>
          </p:cNvPr>
          <p:cNvSpPr>
            <a:spLocks noGrp="1"/>
          </p:cNvSpPr>
          <p:nvPr userDrawn="1">
            <p:ph sz="quarter" idx="18"/>
          </p:nvPr>
        </p:nvSpPr>
        <p:spPr>
          <a:xfrm>
            <a:off x="10239891" y="3130608"/>
            <a:ext cx="1828800" cy="553998"/>
          </a:xfrm>
        </p:spPr>
        <p:txBody>
          <a:bodyPr/>
          <a:lstStyle>
            <a:lvl1pPr marL="0" indent="0">
              <a:buNone/>
              <a:defRPr/>
            </a:lvl1pPr>
          </a:lstStyle>
          <a:p>
            <a:pPr lvl="0"/>
            <a:endParaRPr lang="en-US" dirty="0"/>
          </a:p>
        </p:txBody>
      </p:sp>
      <p:sp>
        <p:nvSpPr>
          <p:cNvPr id="24" name="Content Placeholder 15">
            <a:extLst>
              <a:ext uri="{FF2B5EF4-FFF2-40B4-BE49-F238E27FC236}">
                <a16:creationId xmlns:a16="http://schemas.microsoft.com/office/drawing/2014/main" id="{F5BFB005-748F-4099-925D-D69397088CE5}"/>
              </a:ext>
            </a:extLst>
          </p:cNvPr>
          <p:cNvSpPr>
            <a:spLocks noGrp="1"/>
          </p:cNvSpPr>
          <p:nvPr userDrawn="1">
            <p:ph sz="quarter" idx="19"/>
          </p:nvPr>
        </p:nvSpPr>
        <p:spPr>
          <a:xfrm>
            <a:off x="10239891" y="3782576"/>
            <a:ext cx="1828800" cy="553998"/>
          </a:xfrm>
        </p:spPr>
        <p:txBody>
          <a:bodyPr/>
          <a:lstStyle>
            <a:lvl1pPr marL="0" indent="0">
              <a:buNone/>
              <a:defRPr/>
            </a:lvl1pPr>
          </a:lstStyle>
          <a:p>
            <a:pPr lvl="0"/>
            <a:endParaRPr lang="en-US" dirty="0"/>
          </a:p>
        </p:txBody>
      </p:sp>
      <p:sp>
        <p:nvSpPr>
          <p:cNvPr id="25" name="Content Placeholder 15">
            <a:extLst>
              <a:ext uri="{FF2B5EF4-FFF2-40B4-BE49-F238E27FC236}">
                <a16:creationId xmlns:a16="http://schemas.microsoft.com/office/drawing/2014/main" id="{7468D9B9-A551-493A-AF05-B77F9E28A82B}"/>
              </a:ext>
            </a:extLst>
          </p:cNvPr>
          <p:cNvSpPr>
            <a:spLocks noGrp="1"/>
          </p:cNvSpPr>
          <p:nvPr userDrawn="1">
            <p:ph sz="quarter" idx="20"/>
          </p:nvPr>
        </p:nvSpPr>
        <p:spPr>
          <a:xfrm>
            <a:off x="10239891" y="4545878"/>
            <a:ext cx="1828800" cy="553998"/>
          </a:xfrm>
        </p:spPr>
        <p:txBody>
          <a:bodyPr/>
          <a:lstStyle>
            <a:lvl1pPr marL="0" indent="0">
              <a:buNone/>
              <a:defRPr/>
            </a:lvl1pPr>
          </a:lstStyle>
          <a:p>
            <a:pPr lvl="0"/>
            <a:endParaRPr lang="en-US" dirty="0"/>
          </a:p>
        </p:txBody>
      </p:sp>
      <p:sp>
        <p:nvSpPr>
          <p:cNvPr id="26" name="Content Placeholder 15">
            <a:extLst>
              <a:ext uri="{FF2B5EF4-FFF2-40B4-BE49-F238E27FC236}">
                <a16:creationId xmlns:a16="http://schemas.microsoft.com/office/drawing/2014/main" id="{142132E3-04BB-49B9-BA4A-C220A620CA13}"/>
              </a:ext>
            </a:extLst>
          </p:cNvPr>
          <p:cNvSpPr>
            <a:spLocks noGrp="1"/>
          </p:cNvSpPr>
          <p:nvPr userDrawn="1">
            <p:ph sz="quarter" idx="21"/>
          </p:nvPr>
        </p:nvSpPr>
        <p:spPr>
          <a:xfrm>
            <a:off x="10217271" y="5251189"/>
            <a:ext cx="1828800" cy="553998"/>
          </a:xfrm>
        </p:spPr>
        <p:txBody>
          <a:bodyPr/>
          <a:lstStyle>
            <a:lvl1pPr marL="0" indent="0">
              <a:buNone/>
              <a:defRPr/>
            </a:lvl1pPr>
          </a:lstStyle>
          <a:p>
            <a:pPr lvl="0"/>
            <a:endParaRPr lang="en-US" dirty="0"/>
          </a:p>
        </p:txBody>
      </p:sp>
      <p:sp>
        <p:nvSpPr>
          <p:cNvPr id="27" name="Content Placeholder 15">
            <a:extLst>
              <a:ext uri="{FF2B5EF4-FFF2-40B4-BE49-F238E27FC236}">
                <a16:creationId xmlns:a16="http://schemas.microsoft.com/office/drawing/2014/main" id="{3CC03090-FA32-46F1-ADEC-6A97444DEF3C}"/>
              </a:ext>
            </a:extLst>
          </p:cNvPr>
          <p:cNvSpPr>
            <a:spLocks noGrp="1"/>
          </p:cNvSpPr>
          <p:nvPr userDrawn="1">
            <p:ph sz="quarter" idx="22"/>
          </p:nvPr>
        </p:nvSpPr>
        <p:spPr>
          <a:xfrm>
            <a:off x="10217271" y="6014491"/>
            <a:ext cx="18288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58473170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0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userDrawn="1">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14" name="Content Placeholder 13">
            <a:extLst>
              <a:ext uri="{FF2B5EF4-FFF2-40B4-BE49-F238E27FC236}">
                <a16:creationId xmlns:a16="http://schemas.microsoft.com/office/drawing/2014/main" id="{27CFC67E-2426-4E3C-A5A6-C1C4EACDE81F}"/>
              </a:ext>
            </a:extLst>
          </p:cNvPr>
          <p:cNvSpPr>
            <a:spLocks noGrp="1"/>
          </p:cNvSpPr>
          <p:nvPr userDrawn="1">
            <p:ph sz="quarter" idx="11"/>
          </p:nvPr>
        </p:nvSpPr>
        <p:spPr>
          <a:xfrm>
            <a:off x="403225" y="2427288"/>
            <a:ext cx="2176463" cy="509015"/>
          </a:xfrm>
        </p:spPr>
        <p:txBody>
          <a:bodyPr/>
          <a:lstStyle>
            <a:lvl1pPr marL="0" indent="0">
              <a:buNone/>
              <a:defRPr/>
            </a:lvl1pPr>
          </a:lstStyle>
          <a:p>
            <a:pPr lvl="0"/>
            <a:endParaRPr lang="en-US" dirty="0"/>
          </a:p>
        </p:txBody>
      </p:sp>
      <p:sp>
        <p:nvSpPr>
          <p:cNvPr id="15" name="Content Placeholder 13">
            <a:extLst>
              <a:ext uri="{FF2B5EF4-FFF2-40B4-BE49-F238E27FC236}">
                <a16:creationId xmlns:a16="http://schemas.microsoft.com/office/drawing/2014/main" id="{E6E202F9-E261-4B89-8012-98FDFBAB7FE1}"/>
              </a:ext>
            </a:extLst>
          </p:cNvPr>
          <p:cNvSpPr>
            <a:spLocks noGrp="1"/>
          </p:cNvSpPr>
          <p:nvPr userDrawn="1">
            <p:ph sz="quarter" idx="12"/>
          </p:nvPr>
        </p:nvSpPr>
        <p:spPr>
          <a:xfrm>
            <a:off x="403225" y="3100944"/>
            <a:ext cx="2176463" cy="509015"/>
          </a:xfrm>
        </p:spPr>
        <p:txBody>
          <a:bodyPr/>
          <a:lstStyle>
            <a:lvl1pPr marL="0" indent="0">
              <a:buNone/>
              <a:defRPr/>
            </a:lvl1pPr>
          </a:lstStyle>
          <a:p>
            <a:pPr lvl="0"/>
            <a:endParaRPr lang="en-US" dirty="0"/>
          </a:p>
        </p:txBody>
      </p:sp>
      <p:sp>
        <p:nvSpPr>
          <p:cNvPr id="16" name="Content Placeholder 13">
            <a:extLst>
              <a:ext uri="{FF2B5EF4-FFF2-40B4-BE49-F238E27FC236}">
                <a16:creationId xmlns:a16="http://schemas.microsoft.com/office/drawing/2014/main" id="{3E7F5276-BD83-4BA2-9B7B-7B8E384E9B84}"/>
              </a:ext>
            </a:extLst>
          </p:cNvPr>
          <p:cNvSpPr>
            <a:spLocks noGrp="1"/>
          </p:cNvSpPr>
          <p:nvPr userDrawn="1">
            <p:ph sz="quarter" idx="13"/>
          </p:nvPr>
        </p:nvSpPr>
        <p:spPr>
          <a:xfrm>
            <a:off x="214269" y="3947285"/>
            <a:ext cx="1656116" cy="509015"/>
          </a:xfrm>
        </p:spPr>
        <p:txBody>
          <a:bodyPr/>
          <a:lstStyle>
            <a:lvl1pPr marL="0" indent="0">
              <a:buNone/>
              <a:defRPr/>
            </a:lvl1pPr>
          </a:lstStyle>
          <a:p>
            <a:pPr lvl="0"/>
            <a:endParaRPr lang="en-US" dirty="0"/>
          </a:p>
        </p:txBody>
      </p:sp>
      <p:sp>
        <p:nvSpPr>
          <p:cNvPr id="17" name="Content Placeholder 13">
            <a:extLst>
              <a:ext uri="{FF2B5EF4-FFF2-40B4-BE49-F238E27FC236}">
                <a16:creationId xmlns:a16="http://schemas.microsoft.com/office/drawing/2014/main" id="{A7693033-D0A5-4B34-9548-6FCBE45D587E}"/>
              </a:ext>
            </a:extLst>
          </p:cNvPr>
          <p:cNvSpPr>
            <a:spLocks noGrp="1"/>
          </p:cNvSpPr>
          <p:nvPr userDrawn="1">
            <p:ph sz="quarter" idx="14"/>
          </p:nvPr>
        </p:nvSpPr>
        <p:spPr>
          <a:xfrm>
            <a:off x="214269" y="4655977"/>
            <a:ext cx="1656116" cy="509015"/>
          </a:xfrm>
        </p:spPr>
        <p:txBody>
          <a:bodyPr/>
          <a:lstStyle>
            <a:lvl1pPr marL="0" indent="0">
              <a:buNone/>
              <a:defRPr/>
            </a:lvl1pPr>
          </a:lstStyle>
          <a:p>
            <a:pPr lvl="0"/>
            <a:endParaRPr lang="en-US" dirty="0"/>
          </a:p>
        </p:txBody>
      </p:sp>
      <p:sp>
        <p:nvSpPr>
          <p:cNvPr id="18" name="Content Placeholder 13">
            <a:extLst>
              <a:ext uri="{FF2B5EF4-FFF2-40B4-BE49-F238E27FC236}">
                <a16:creationId xmlns:a16="http://schemas.microsoft.com/office/drawing/2014/main" id="{FB045443-B038-4E16-9930-6730DB67FFF3}"/>
              </a:ext>
            </a:extLst>
          </p:cNvPr>
          <p:cNvSpPr>
            <a:spLocks noGrp="1"/>
          </p:cNvSpPr>
          <p:nvPr userDrawn="1">
            <p:ph sz="quarter" idx="15"/>
          </p:nvPr>
        </p:nvSpPr>
        <p:spPr>
          <a:xfrm>
            <a:off x="5267942" y="4037961"/>
            <a:ext cx="1656116" cy="509015"/>
          </a:xfrm>
        </p:spPr>
        <p:txBody>
          <a:bodyPr/>
          <a:lstStyle>
            <a:lvl1pPr marL="0" indent="0">
              <a:buNone/>
              <a:defRPr/>
            </a:lvl1pPr>
          </a:lstStyle>
          <a:p>
            <a:pPr lvl="0"/>
            <a:endParaRPr lang="en-US" dirty="0"/>
          </a:p>
        </p:txBody>
      </p:sp>
      <p:sp>
        <p:nvSpPr>
          <p:cNvPr id="19" name="Content Placeholder 13">
            <a:extLst>
              <a:ext uri="{FF2B5EF4-FFF2-40B4-BE49-F238E27FC236}">
                <a16:creationId xmlns:a16="http://schemas.microsoft.com/office/drawing/2014/main" id="{1B4716AF-5A31-44E5-87D4-926C4144B968}"/>
              </a:ext>
            </a:extLst>
          </p:cNvPr>
          <p:cNvSpPr>
            <a:spLocks noGrp="1"/>
          </p:cNvSpPr>
          <p:nvPr userDrawn="1">
            <p:ph sz="quarter" idx="16"/>
          </p:nvPr>
        </p:nvSpPr>
        <p:spPr>
          <a:xfrm>
            <a:off x="5267942" y="4945028"/>
            <a:ext cx="1656116" cy="509015"/>
          </a:xfrm>
        </p:spPr>
        <p:txBody>
          <a:bodyPr/>
          <a:lstStyle>
            <a:lvl1pPr marL="0" indent="0">
              <a:buNone/>
              <a:defRPr/>
            </a:lvl1pPr>
          </a:lstStyle>
          <a:p>
            <a:pPr lvl="0"/>
            <a:endParaRPr lang="en-US" dirty="0"/>
          </a:p>
        </p:txBody>
      </p:sp>
      <p:sp>
        <p:nvSpPr>
          <p:cNvPr id="21" name="Content Placeholder 20">
            <a:extLst>
              <a:ext uri="{FF2B5EF4-FFF2-40B4-BE49-F238E27FC236}">
                <a16:creationId xmlns:a16="http://schemas.microsoft.com/office/drawing/2014/main" id="{F8B1DA1E-4E69-4DAE-94E5-89106704CC92}"/>
              </a:ext>
            </a:extLst>
          </p:cNvPr>
          <p:cNvSpPr>
            <a:spLocks noGrp="1"/>
          </p:cNvSpPr>
          <p:nvPr userDrawn="1">
            <p:ph sz="quarter" idx="17"/>
          </p:nvPr>
        </p:nvSpPr>
        <p:spPr>
          <a:xfrm>
            <a:off x="8410735" y="3860443"/>
            <a:ext cx="1615007" cy="457457"/>
          </a:xfrm>
        </p:spPr>
        <p:txBody>
          <a:bodyPr/>
          <a:lstStyle>
            <a:lvl1pPr marL="0" indent="0">
              <a:buNone/>
              <a:defRPr/>
            </a:lvl1pPr>
          </a:lstStyle>
          <a:p>
            <a:pPr lvl="0"/>
            <a:endParaRPr lang="en-US" dirty="0"/>
          </a:p>
        </p:txBody>
      </p:sp>
      <p:sp>
        <p:nvSpPr>
          <p:cNvPr id="22" name="Content Placeholder 20">
            <a:extLst>
              <a:ext uri="{FF2B5EF4-FFF2-40B4-BE49-F238E27FC236}">
                <a16:creationId xmlns:a16="http://schemas.microsoft.com/office/drawing/2014/main" id="{87649E83-4C10-4383-BBB5-667DF51F23C2}"/>
              </a:ext>
            </a:extLst>
          </p:cNvPr>
          <p:cNvSpPr>
            <a:spLocks noGrp="1"/>
          </p:cNvSpPr>
          <p:nvPr userDrawn="1">
            <p:ph sz="quarter" idx="18"/>
          </p:nvPr>
        </p:nvSpPr>
        <p:spPr>
          <a:xfrm>
            <a:off x="8423435" y="4546976"/>
            <a:ext cx="1615007" cy="457457"/>
          </a:xfrm>
        </p:spPr>
        <p:txBody>
          <a:bodyPr/>
          <a:lstStyle>
            <a:lvl1pPr marL="0" indent="0">
              <a:buNone/>
              <a:defRPr/>
            </a:lvl1pPr>
          </a:lstStyle>
          <a:p>
            <a:pPr lvl="0"/>
            <a:endParaRPr lang="en-US" dirty="0"/>
          </a:p>
        </p:txBody>
      </p:sp>
      <p:sp>
        <p:nvSpPr>
          <p:cNvPr id="23" name="Content Placeholder 20">
            <a:extLst>
              <a:ext uri="{FF2B5EF4-FFF2-40B4-BE49-F238E27FC236}">
                <a16:creationId xmlns:a16="http://schemas.microsoft.com/office/drawing/2014/main" id="{4E10A023-7467-4D96-B747-BAF4152D9BF1}"/>
              </a:ext>
            </a:extLst>
          </p:cNvPr>
          <p:cNvSpPr>
            <a:spLocks noGrp="1"/>
          </p:cNvSpPr>
          <p:nvPr userDrawn="1">
            <p:ph sz="quarter" idx="19"/>
          </p:nvPr>
        </p:nvSpPr>
        <p:spPr>
          <a:xfrm>
            <a:off x="8410734" y="5199428"/>
            <a:ext cx="1615007" cy="457457"/>
          </a:xfrm>
        </p:spPr>
        <p:txBody>
          <a:bodyPr/>
          <a:lstStyle>
            <a:lvl1pPr marL="0" indent="0">
              <a:buNone/>
              <a:defRPr/>
            </a:lvl1pPr>
          </a:lstStyle>
          <a:p>
            <a:pPr lvl="0"/>
            <a:endParaRPr lang="en-US" dirty="0"/>
          </a:p>
        </p:txBody>
      </p:sp>
      <p:sp>
        <p:nvSpPr>
          <p:cNvPr id="25" name="Content Placeholder 24">
            <a:extLst>
              <a:ext uri="{FF2B5EF4-FFF2-40B4-BE49-F238E27FC236}">
                <a16:creationId xmlns:a16="http://schemas.microsoft.com/office/drawing/2014/main" id="{D64635A6-1520-40EE-BD93-F720598FF78B}"/>
              </a:ext>
            </a:extLst>
          </p:cNvPr>
          <p:cNvSpPr>
            <a:spLocks noGrp="1"/>
          </p:cNvSpPr>
          <p:nvPr userDrawn="1">
            <p:ph sz="quarter" idx="20"/>
          </p:nvPr>
        </p:nvSpPr>
        <p:spPr>
          <a:xfrm>
            <a:off x="631825" y="6138863"/>
            <a:ext cx="2154238" cy="553998"/>
          </a:xfrm>
        </p:spPr>
        <p:txBody>
          <a:bodyPr/>
          <a:lstStyle>
            <a:lvl1pPr marL="0" indent="0">
              <a:buNone/>
              <a:defRPr/>
            </a:lvl1pPr>
          </a:lstStyle>
          <a:p>
            <a:pPr lvl="0"/>
            <a:endParaRPr lang="en-US" dirty="0"/>
          </a:p>
        </p:txBody>
      </p:sp>
      <p:sp>
        <p:nvSpPr>
          <p:cNvPr id="26" name="Content Placeholder 24">
            <a:extLst>
              <a:ext uri="{FF2B5EF4-FFF2-40B4-BE49-F238E27FC236}">
                <a16:creationId xmlns:a16="http://schemas.microsoft.com/office/drawing/2014/main" id="{40765CD9-E270-4F45-8E85-3FC89F8A886A}"/>
              </a:ext>
            </a:extLst>
          </p:cNvPr>
          <p:cNvSpPr>
            <a:spLocks noGrp="1"/>
          </p:cNvSpPr>
          <p:nvPr userDrawn="1">
            <p:ph sz="quarter" idx="21"/>
          </p:nvPr>
        </p:nvSpPr>
        <p:spPr>
          <a:xfrm>
            <a:off x="2961061" y="6145276"/>
            <a:ext cx="2154238" cy="553998"/>
          </a:xfrm>
        </p:spPr>
        <p:txBody>
          <a:bodyPr/>
          <a:lstStyle>
            <a:lvl1pPr marL="0" indent="0">
              <a:buNone/>
              <a:defRPr/>
            </a:lvl1pPr>
          </a:lstStyle>
          <a:p>
            <a:pPr lvl="0"/>
            <a:endParaRPr lang="en-US" dirty="0"/>
          </a:p>
        </p:txBody>
      </p:sp>
      <p:sp>
        <p:nvSpPr>
          <p:cNvPr id="27" name="Content Placeholder 24">
            <a:extLst>
              <a:ext uri="{FF2B5EF4-FFF2-40B4-BE49-F238E27FC236}">
                <a16:creationId xmlns:a16="http://schemas.microsoft.com/office/drawing/2014/main" id="{54A94D1D-DCCD-42E4-AFD5-222B89981553}"/>
              </a:ext>
            </a:extLst>
          </p:cNvPr>
          <p:cNvSpPr>
            <a:spLocks noGrp="1"/>
          </p:cNvSpPr>
          <p:nvPr userDrawn="1">
            <p:ph sz="quarter" idx="22"/>
          </p:nvPr>
        </p:nvSpPr>
        <p:spPr>
          <a:xfrm>
            <a:off x="5334793" y="6155685"/>
            <a:ext cx="2154238"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606049932"/>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9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userDrawn="1">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10" name="Content Placeholder 9">
            <a:extLst>
              <a:ext uri="{FF2B5EF4-FFF2-40B4-BE49-F238E27FC236}">
                <a16:creationId xmlns:a16="http://schemas.microsoft.com/office/drawing/2014/main" id="{70E55FED-D9A7-404A-AF86-EDA7B2E325E8}"/>
              </a:ext>
            </a:extLst>
          </p:cNvPr>
          <p:cNvSpPr>
            <a:spLocks noGrp="1"/>
          </p:cNvSpPr>
          <p:nvPr userDrawn="1">
            <p:ph sz="quarter" idx="11"/>
          </p:nvPr>
        </p:nvSpPr>
        <p:spPr>
          <a:xfrm>
            <a:off x="1554390" y="2394428"/>
            <a:ext cx="1624236" cy="553998"/>
          </a:xfrm>
        </p:spPr>
        <p:txBody>
          <a:bodyPr/>
          <a:lstStyle>
            <a:lvl1pPr marL="0" indent="0">
              <a:buNone/>
              <a:defRPr/>
            </a:lvl1pPr>
          </a:lstStyle>
          <a:p>
            <a:pPr lvl="0"/>
            <a:endParaRPr lang="en-US" dirty="0"/>
          </a:p>
        </p:txBody>
      </p:sp>
      <p:sp>
        <p:nvSpPr>
          <p:cNvPr id="11" name="Content Placeholder 9">
            <a:extLst>
              <a:ext uri="{FF2B5EF4-FFF2-40B4-BE49-F238E27FC236}">
                <a16:creationId xmlns:a16="http://schemas.microsoft.com/office/drawing/2014/main" id="{34D22369-E083-48C9-9987-101EC9D614E9}"/>
              </a:ext>
            </a:extLst>
          </p:cNvPr>
          <p:cNvSpPr>
            <a:spLocks noGrp="1"/>
          </p:cNvSpPr>
          <p:nvPr userDrawn="1">
            <p:ph sz="quarter" idx="12"/>
          </p:nvPr>
        </p:nvSpPr>
        <p:spPr>
          <a:xfrm>
            <a:off x="1554390" y="3054054"/>
            <a:ext cx="1624236" cy="553998"/>
          </a:xfrm>
        </p:spPr>
        <p:txBody>
          <a:bodyPr/>
          <a:lstStyle>
            <a:lvl1pPr marL="0" indent="0">
              <a:buNone/>
              <a:defRPr/>
            </a:lvl1pPr>
          </a:lstStyle>
          <a:p>
            <a:pPr lvl="0"/>
            <a:endParaRPr lang="en-US" dirty="0"/>
          </a:p>
        </p:txBody>
      </p:sp>
      <p:sp>
        <p:nvSpPr>
          <p:cNvPr id="12" name="Content Placeholder 9">
            <a:extLst>
              <a:ext uri="{FF2B5EF4-FFF2-40B4-BE49-F238E27FC236}">
                <a16:creationId xmlns:a16="http://schemas.microsoft.com/office/drawing/2014/main" id="{65BA48A9-AF63-4016-9A11-1C576035CD10}"/>
              </a:ext>
            </a:extLst>
          </p:cNvPr>
          <p:cNvSpPr>
            <a:spLocks noGrp="1"/>
          </p:cNvSpPr>
          <p:nvPr userDrawn="1">
            <p:ph sz="quarter" idx="13"/>
          </p:nvPr>
        </p:nvSpPr>
        <p:spPr>
          <a:xfrm>
            <a:off x="1553753" y="3747177"/>
            <a:ext cx="1624236" cy="553998"/>
          </a:xfrm>
        </p:spPr>
        <p:txBody>
          <a:bodyPr/>
          <a:lstStyle>
            <a:lvl1pPr marL="0" indent="0">
              <a:buNone/>
              <a:defRPr/>
            </a:lvl1pPr>
          </a:lstStyle>
          <a:p>
            <a:pPr lvl="0"/>
            <a:endParaRPr lang="en-US" dirty="0"/>
          </a:p>
        </p:txBody>
      </p:sp>
      <p:sp>
        <p:nvSpPr>
          <p:cNvPr id="13" name="Content Placeholder 9">
            <a:extLst>
              <a:ext uri="{FF2B5EF4-FFF2-40B4-BE49-F238E27FC236}">
                <a16:creationId xmlns:a16="http://schemas.microsoft.com/office/drawing/2014/main" id="{6984CD2F-BCBC-482A-9A1B-65CAFB65DFB6}"/>
              </a:ext>
            </a:extLst>
          </p:cNvPr>
          <p:cNvSpPr>
            <a:spLocks noGrp="1"/>
          </p:cNvSpPr>
          <p:nvPr userDrawn="1">
            <p:ph sz="quarter" idx="14"/>
          </p:nvPr>
        </p:nvSpPr>
        <p:spPr>
          <a:xfrm>
            <a:off x="1553753" y="4432652"/>
            <a:ext cx="1624236" cy="553998"/>
          </a:xfrm>
        </p:spPr>
        <p:txBody>
          <a:bodyPr/>
          <a:lstStyle>
            <a:lvl1pPr marL="0" indent="0">
              <a:buNone/>
              <a:defRPr/>
            </a:lvl1pPr>
          </a:lstStyle>
          <a:p>
            <a:pPr lvl="0"/>
            <a:endParaRPr lang="en-US" dirty="0"/>
          </a:p>
        </p:txBody>
      </p:sp>
      <p:sp>
        <p:nvSpPr>
          <p:cNvPr id="14" name="Content Placeholder 9">
            <a:extLst>
              <a:ext uri="{FF2B5EF4-FFF2-40B4-BE49-F238E27FC236}">
                <a16:creationId xmlns:a16="http://schemas.microsoft.com/office/drawing/2014/main" id="{15BFBFF9-CBDB-43E9-9697-5900F254A745}"/>
              </a:ext>
            </a:extLst>
          </p:cNvPr>
          <p:cNvSpPr>
            <a:spLocks noGrp="1"/>
          </p:cNvSpPr>
          <p:nvPr userDrawn="1">
            <p:ph sz="quarter" idx="15"/>
          </p:nvPr>
        </p:nvSpPr>
        <p:spPr>
          <a:xfrm>
            <a:off x="1553753" y="5200840"/>
            <a:ext cx="1624236" cy="553998"/>
          </a:xfrm>
        </p:spPr>
        <p:txBody>
          <a:bodyPr/>
          <a:lstStyle>
            <a:lvl1pPr marL="0" indent="0">
              <a:buNone/>
              <a:defRPr/>
            </a:lvl1pPr>
          </a:lstStyle>
          <a:p>
            <a:pPr lvl="0"/>
            <a:endParaRPr lang="en-US" dirty="0"/>
          </a:p>
        </p:txBody>
      </p:sp>
      <p:sp>
        <p:nvSpPr>
          <p:cNvPr id="15" name="Content Placeholder 9">
            <a:extLst>
              <a:ext uri="{FF2B5EF4-FFF2-40B4-BE49-F238E27FC236}">
                <a16:creationId xmlns:a16="http://schemas.microsoft.com/office/drawing/2014/main" id="{19ED19B6-CBCA-4063-8C02-09F9B3151198}"/>
              </a:ext>
            </a:extLst>
          </p:cNvPr>
          <p:cNvSpPr>
            <a:spLocks noGrp="1"/>
          </p:cNvSpPr>
          <p:nvPr userDrawn="1">
            <p:ph sz="quarter" idx="16"/>
          </p:nvPr>
        </p:nvSpPr>
        <p:spPr>
          <a:xfrm>
            <a:off x="3967875" y="2500056"/>
            <a:ext cx="1624236" cy="553998"/>
          </a:xfrm>
        </p:spPr>
        <p:txBody>
          <a:bodyPr/>
          <a:lstStyle>
            <a:lvl1pPr marL="0" indent="0">
              <a:buNone/>
              <a:defRPr/>
            </a:lvl1pPr>
          </a:lstStyle>
          <a:p>
            <a:pPr lvl="0"/>
            <a:endParaRPr lang="en-US" dirty="0"/>
          </a:p>
        </p:txBody>
      </p:sp>
      <p:sp>
        <p:nvSpPr>
          <p:cNvPr id="16" name="Content Placeholder 9">
            <a:extLst>
              <a:ext uri="{FF2B5EF4-FFF2-40B4-BE49-F238E27FC236}">
                <a16:creationId xmlns:a16="http://schemas.microsoft.com/office/drawing/2014/main" id="{19B8955B-4F55-4178-BBAB-D6579E22904C}"/>
              </a:ext>
            </a:extLst>
          </p:cNvPr>
          <p:cNvSpPr>
            <a:spLocks noGrp="1"/>
          </p:cNvSpPr>
          <p:nvPr userDrawn="1">
            <p:ph sz="quarter" idx="17"/>
          </p:nvPr>
        </p:nvSpPr>
        <p:spPr>
          <a:xfrm>
            <a:off x="3967875" y="3159682"/>
            <a:ext cx="1624236" cy="553998"/>
          </a:xfrm>
        </p:spPr>
        <p:txBody>
          <a:bodyPr/>
          <a:lstStyle>
            <a:lvl1pPr marL="0" indent="0">
              <a:buNone/>
              <a:defRPr/>
            </a:lvl1pPr>
          </a:lstStyle>
          <a:p>
            <a:pPr lvl="0"/>
            <a:endParaRPr lang="en-US" dirty="0"/>
          </a:p>
        </p:txBody>
      </p:sp>
      <p:sp>
        <p:nvSpPr>
          <p:cNvPr id="17" name="Content Placeholder 9">
            <a:extLst>
              <a:ext uri="{FF2B5EF4-FFF2-40B4-BE49-F238E27FC236}">
                <a16:creationId xmlns:a16="http://schemas.microsoft.com/office/drawing/2014/main" id="{98B32229-A427-4B6F-B343-E1836F5E92B9}"/>
              </a:ext>
            </a:extLst>
          </p:cNvPr>
          <p:cNvSpPr>
            <a:spLocks noGrp="1"/>
          </p:cNvSpPr>
          <p:nvPr userDrawn="1">
            <p:ph sz="quarter" idx="18"/>
          </p:nvPr>
        </p:nvSpPr>
        <p:spPr>
          <a:xfrm>
            <a:off x="3967238" y="3852805"/>
            <a:ext cx="1624236" cy="553998"/>
          </a:xfrm>
        </p:spPr>
        <p:txBody>
          <a:bodyPr/>
          <a:lstStyle>
            <a:lvl1pPr marL="0" indent="0">
              <a:buNone/>
              <a:defRPr/>
            </a:lvl1pPr>
          </a:lstStyle>
          <a:p>
            <a:pPr lvl="0"/>
            <a:endParaRPr lang="en-US" dirty="0"/>
          </a:p>
        </p:txBody>
      </p:sp>
      <p:sp>
        <p:nvSpPr>
          <p:cNvPr id="18" name="Content Placeholder 9">
            <a:extLst>
              <a:ext uri="{FF2B5EF4-FFF2-40B4-BE49-F238E27FC236}">
                <a16:creationId xmlns:a16="http://schemas.microsoft.com/office/drawing/2014/main" id="{883E399C-0842-49DA-AE46-43A065CBF3D3}"/>
              </a:ext>
            </a:extLst>
          </p:cNvPr>
          <p:cNvSpPr>
            <a:spLocks noGrp="1"/>
          </p:cNvSpPr>
          <p:nvPr userDrawn="1">
            <p:ph sz="quarter" idx="19"/>
          </p:nvPr>
        </p:nvSpPr>
        <p:spPr>
          <a:xfrm>
            <a:off x="3967238" y="4538280"/>
            <a:ext cx="1624236" cy="553998"/>
          </a:xfrm>
        </p:spPr>
        <p:txBody>
          <a:bodyPr/>
          <a:lstStyle>
            <a:lvl1pPr marL="0" indent="0">
              <a:buNone/>
              <a:defRPr/>
            </a:lvl1pPr>
          </a:lstStyle>
          <a:p>
            <a:pPr lvl="0"/>
            <a:endParaRPr lang="en-US" dirty="0"/>
          </a:p>
        </p:txBody>
      </p:sp>
      <p:sp>
        <p:nvSpPr>
          <p:cNvPr id="19" name="Content Placeholder 9">
            <a:extLst>
              <a:ext uri="{FF2B5EF4-FFF2-40B4-BE49-F238E27FC236}">
                <a16:creationId xmlns:a16="http://schemas.microsoft.com/office/drawing/2014/main" id="{9B2340A9-F3AC-4408-B00C-D1FEAA537869}"/>
              </a:ext>
            </a:extLst>
          </p:cNvPr>
          <p:cNvSpPr>
            <a:spLocks noGrp="1"/>
          </p:cNvSpPr>
          <p:nvPr userDrawn="1">
            <p:ph sz="quarter" idx="20"/>
          </p:nvPr>
        </p:nvSpPr>
        <p:spPr>
          <a:xfrm>
            <a:off x="3967238" y="5306468"/>
            <a:ext cx="1624236" cy="553998"/>
          </a:xfrm>
        </p:spPr>
        <p:txBody>
          <a:bodyPr/>
          <a:lstStyle>
            <a:lvl1pPr marL="0" indent="0">
              <a:buNone/>
              <a:defRPr/>
            </a:lvl1pPr>
          </a:lstStyle>
          <a:p>
            <a:pPr lvl="0"/>
            <a:endParaRPr lang="en-US" dirty="0"/>
          </a:p>
        </p:txBody>
      </p:sp>
      <p:sp>
        <p:nvSpPr>
          <p:cNvPr id="20" name="Content Placeholder 9">
            <a:extLst>
              <a:ext uri="{FF2B5EF4-FFF2-40B4-BE49-F238E27FC236}">
                <a16:creationId xmlns:a16="http://schemas.microsoft.com/office/drawing/2014/main" id="{C5785C70-52C1-4F09-8E69-CB4D34BFD1A2}"/>
              </a:ext>
            </a:extLst>
          </p:cNvPr>
          <p:cNvSpPr>
            <a:spLocks noGrp="1"/>
          </p:cNvSpPr>
          <p:nvPr userDrawn="1">
            <p:ph sz="quarter" idx="21"/>
          </p:nvPr>
        </p:nvSpPr>
        <p:spPr>
          <a:xfrm>
            <a:off x="5787773" y="2557584"/>
            <a:ext cx="1624236" cy="553998"/>
          </a:xfrm>
        </p:spPr>
        <p:txBody>
          <a:bodyPr/>
          <a:lstStyle>
            <a:lvl1pPr marL="0" indent="0">
              <a:buNone/>
              <a:defRPr/>
            </a:lvl1pPr>
          </a:lstStyle>
          <a:p>
            <a:pPr lvl="0"/>
            <a:endParaRPr lang="en-US" dirty="0"/>
          </a:p>
        </p:txBody>
      </p:sp>
      <p:sp>
        <p:nvSpPr>
          <p:cNvPr id="21" name="Content Placeholder 9">
            <a:extLst>
              <a:ext uri="{FF2B5EF4-FFF2-40B4-BE49-F238E27FC236}">
                <a16:creationId xmlns:a16="http://schemas.microsoft.com/office/drawing/2014/main" id="{B4A38C84-0784-4D28-A1BA-279932F88587}"/>
              </a:ext>
            </a:extLst>
          </p:cNvPr>
          <p:cNvSpPr>
            <a:spLocks noGrp="1"/>
          </p:cNvSpPr>
          <p:nvPr userDrawn="1">
            <p:ph sz="quarter" idx="22"/>
          </p:nvPr>
        </p:nvSpPr>
        <p:spPr>
          <a:xfrm>
            <a:off x="5787773" y="3217210"/>
            <a:ext cx="1624236" cy="553998"/>
          </a:xfrm>
        </p:spPr>
        <p:txBody>
          <a:bodyPr/>
          <a:lstStyle>
            <a:lvl1pPr marL="0" indent="0">
              <a:buNone/>
              <a:defRPr/>
            </a:lvl1pPr>
          </a:lstStyle>
          <a:p>
            <a:pPr lvl="0"/>
            <a:endParaRPr lang="en-US" dirty="0"/>
          </a:p>
        </p:txBody>
      </p:sp>
      <p:sp>
        <p:nvSpPr>
          <p:cNvPr id="22" name="Content Placeholder 9">
            <a:extLst>
              <a:ext uri="{FF2B5EF4-FFF2-40B4-BE49-F238E27FC236}">
                <a16:creationId xmlns:a16="http://schemas.microsoft.com/office/drawing/2014/main" id="{A211566D-FC49-4FBE-B598-9641AB244F8E}"/>
              </a:ext>
            </a:extLst>
          </p:cNvPr>
          <p:cNvSpPr>
            <a:spLocks noGrp="1"/>
          </p:cNvSpPr>
          <p:nvPr userDrawn="1">
            <p:ph sz="quarter" idx="23"/>
          </p:nvPr>
        </p:nvSpPr>
        <p:spPr>
          <a:xfrm>
            <a:off x="5787136" y="3910333"/>
            <a:ext cx="1624236" cy="553998"/>
          </a:xfrm>
        </p:spPr>
        <p:txBody>
          <a:bodyPr/>
          <a:lstStyle>
            <a:lvl1pPr marL="0" indent="0">
              <a:buNone/>
              <a:defRPr/>
            </a:lvl1pPr>
          </a:lstStyle>
          <a:p>
            <a:pPr lvl="0"/>
            <a:endParaRPr lang="en-US" dirty="0"/>
          </a:p>
        </p:txBody>
      </p:sp>
      <p:sp>
        <p:nvSpPr>
          <p:cNvPr id="23" name="Content Placeholder 9">
            <a:extLst>
              <a:ext uri="{FF2B5EF4-FFF2-40B4-BE49-F238E27FC236}">
                <a16:creationId xmlns:a16="http://schemas.microsoft.com/office/drawing/2014/main" id="{8FBC0D20-0EF3-4EB2-95D5-644D4731DC7D}"/>
              </a:ext>
            </a:extLst>
          </p:cNvPr>
          <p:cNvSpPr>
            <a:spLocks noGrp="1"/>
          </p:cNvSpPr>
          <p:nvPr userDrawn="1">
            <p:ph sz="quarter" idx="24"/>
          </p:nvPr>
        </p:nvSpPr>
        <p:spPr>
          <a:xfrm>
            <a:off x="5787136" y="4595808"/>
            <a:ext cx="1624236" cy="553998"/>
          </a:xfrm>
        </p:spPr>
        <p:txBody>
          <a:bodyPr/>
          <a:lstStyle>
            <a:lvl1pPr marL="0" indent="0">
              <a:buNone/>
              <a:defRPr/>
            </a:lvl1pPr>
          </a:lstStyle>
          <a:p>
            <a:pPr lvl="0"/>
            <a:endParaRPr lang="en-US" dirty="0"/>
          </a:p>
        </p:txBody>
      </p:sp>
      <p:sp>
        <p:nvSpPr>
          <p:cNvPr id="24" name="Content Placeholder 9">
            <a:extLst>
              <a:ext uri="{FF2B5EF4-FFF2-40B4-BE49-F238E27FC236}">
                <a16:creationId xmlns:a16="http://schemas.microsoft.com/office/drawing/2014/main" id="{35ABC6B0-3244-4D59-97AA-3D8D9BE28C84}"/>
              </a:ext>
            </a:extLst>
          </p:cNvPr>
          <p:cNvSpPr>
            <a:spLocks noGrp="1"/>
          </p:cNvSpPr>
          <p:nvPr userDrawn="1">
            <p:ph sz="quarter" idx="25"/>
          </p:nvPr>
        </p:nvSpPr>
        <p:spPr>
          <a:xfrm>
            <a:off x="5787136" y="5363996"/>
            <a:ext cx="1624236" cy="553998"/>
          </a:xfrm>
        </p:spPr>
        <p:txBody>
          <a:bodyPr/>
          <a:lstStyle>
            <a:lvl1pPr marL="0" indent="0">
              <a:buNone/>
              <a:defRPr/>
            </a:lvl1pPr>
          </a:lstStyle>
          <a:p>
            <a:pPr lvl="0"/>
            <a:endParaRPr lang="en-US" dirty="0"/>
          </a:p>
        </p:txBody>
      </p:sp>
      <p:sp>
        <p:nvSpPr>
          <p:cNvPr id="25" name="Content Placeholder 9">
            <a:extLst>
              <a:ext uri="{FF2B5EF4-FFF2-40B4-BE49-F238E27FC236}">
                <a16:creationId xmlns:a16="http://schemas.microsoft.com/office/drawing/2014/main" id="{050ECD61-A8FD-4856-A4A6-EC1D751A166B}"/>
              </a:ext>
            </a:extLst>
          </p:cNvPr>
          <p:cNvSpPr>
            <a:spLocks noGrp="1"/>
          </p:cNvSpPr>
          <p:nvPr userDrawn="1">
            <p:ph sz="quarter" idx="26"/>
          </p:nvPr>
        </p:nvSpPr>
        <p:spPr>
          <a:xfrm>
            <a:off x="8495921" y="2543040"/>
            <a:ext cx="1624236" cy="553998"/>
          </a:xfrm>
        </p:spPr>
        <p:txBody>
          <a:bodyPr/>
          <a:lstStyle>
            <a:lvl1pPr marL="0" indent="0">
              <a:buNone/>
              <a:defRPr/>
            </a:lvl1pPr>
          </a:lstStyle>
          <a:p>
            <a:pPr lvl="0"/>
            <a:endParaRPr lang="en-US" dirty="0"/>
          </a:p>
        </p:txBody>
      </p:sp>
      <p:sp>
        <p:nvSpPr>
          <p:cNvPr id="26" name="Content Placeholder 9">
            <a:extLst>
              <a:ext uri="{FF2B5EF4-FFF2-40B4-BE49-F238E27FC236}">
                <a16:creationId xmlns:a16="http://schemas.microsoft.com/office/drawing/2014/main" id="{B89C9628-DB32-4BBD-81D5-1593AD50EE04}"/>
              </a:ext>
            </a:extLst>
          </p:cNvPr>
          <p:cNvSpPr>
            <a:spLocks noGrp="1"/>
          </p:cNvSpPr>
          <p:nvPr userDrawn="1">
            <p:ph sz="quarter" idx="27"/>
          </p:nvPr>
        </p:nvSpPr>
        <p:spPr>
          <a:xfrm>
            <a:off x="8495921" y="3202666"/>
            <a:ext cx="1624236" cy="553998"/>
          </a:xfrm>
        </p:spPr>
        <p:txBody>
          <a:bodyPr/>
          <a:lstStyle>
            <a:lvl1pPr marL="0" indent="0">
              <a:buNone/>
              <a:defRPr/>
            </a:lvl1pPr>
          </a:lstStyle>
          <a:p>
            <a:pPr lvl="0"/>
            <a:endParaRPr lang="en-US" dirty="0"/>
          </a:p>
        </p:txBody>
      </p:sp>
      <p:sp>
        <p:nvSpPr>
          <p:cNvPr id="27" name="Content Placeholder 9">
            <a:extLst>
              <a:ext uri="{FF2B5EF4-FFF2-40B4-BE49-F238E27FC236}">
                <a16:creationId xmlns:a16="http://schemas.microsoft.com/office/drawing/2014/main" id="{600FF914-D697-4EAD-8B33-DAD7B21C5FA6}"/>
              </a:ext>
            </a:extLst>
          </p:cNvPr>
          <p:cNvSpPr>
            <a:spLocks noGrp="1"/>
          </p:cNvSpPr>
          <p:nvPr userDrawn="1">
            <p:ph sz="quarter" idx="28"/>
          </p:nvPr>
        </p:nvSpPr>
        <p:spPr>
          <a:xfrm>
            <a:off x="8495284" y="3895789"/>
            <a:ext cx="1624236" cy="553998"/>
          </a:xfrm>
        </p:spPr>
        <p:txBody>
          <a:bodyPr/>
          <a:lstStyle>
            <a:lvl1pPr marL="0" indent="0">
              <a:buNone/>
              <a:defRPr/>
            </a:lvl1pPr>
          </a:lstStyle>
          <a:p>
            <a:pPr lvl="0"/>
            <a:endParaRPr lang="en-US" dirty="0"/>
          </a:p>
        </p:txBody>
      </p:sp>
      <p:sp>
        <p:nvSpPr>
          <p:cNvPr id="28" name="Content Placeholder 9">
            <a:extLst>
              <a:ext uri="{FF2B5EF4-FFF2-40B4-BE49-F238E27FC236}">
                <a16:creationId xmlns:a16="http://schemas.microsoft.com/office/drawing/2014/main" id="{3CDBF165-8B85-4954-ACB3-7DA04428FCF1}"/>
              </a:ext>
            </a:extLst>
          </p:cNvPr>
          <p:cNvSpPr>
            <a:spLocks noGrp="1"/>
          </p:cNvSpPr>
          <p:nvPr userDrawn="1">
            <p:ph sz="quarter" idx="29"/>
          </p:nvPr>
        </p:nvSpPr>
        <p:spPr>
          <a:xfrm>
            <a:off x="8495284" y="4581264"/>
            <a:ext cx="1624236" cy="553998"/>
          </a:xfrm>
        </p:spPr>
        <p:txBody>
          <a:bodyPr/>
          <a:lstStyle>
            <a:lvl1pPr marL="0" indent="0">
              <a:buNone/>
              <a:defRPr/>
            </a:lvl1pPr>
          </a:lstStyle>
          <a:p>
            <a:pPr lvl="0"/>
            <a:endParaRPr lang="en-US" dirty="0"/>
          </a:p>
        </p:txBody>
      </p:sp>
      <p:sp>
        <p:nvSpPr>
          <p:cNvPr id="29" name="Content Placeholder 9">
            <a:extLst>
              <a:ext uri="{FF2B5EF4-FFF2-40B4-BE49-F238E27FC236}">
                <a16:creationId xmlns:a16="http://schemas.microsoft.com/office/drawing/2014/main" id="{D2DF224E-4B19-46F4-BE22-676355F61917}"/>
              </a:ext>
            </a:extLst>
          </p:cNvPr>
          <p:cNvSpPr>
            <a:spLocks noGrp="1"/>
          </p:cNvSpPr>
          <p:nvPr userDrawn="1">
            <p:ph sz="quarter" idx="30"/>
          </p:nvPr>
        </p:nvSpPr>
        <p:spPr>
          <a:xfrm>
            <a:off x="8495284" y="5349452"/>
            <a:ext cx="1624236" cy="553998"/>
          </a:xfrm>
        </p:spPr>
        <p:txBody>
          <a:bodyPr/>
          <a:lstStyle>
            <a:lvl1pPr marL="0" indent="0">
              <a:buNone/>
              <a:defRPr/>
            </a:lvl1pPr>
          </a:lstStyle>
          <a:p>
            <a:pPr lvl="0"/>
            <a:endParaRPr lang="en-US" dirty="0"/>
          </a:p>
        </p:txBody>
      </p:sp>
      <p:sp>
        <p:nvSpPr>
          <p:cNvPr id="30" name="Content Placeholder 9">
            <a:extLst>
              <a:ext uri="{FF2B5EF4-FFF2-40B4-BE49-F238E27FC236}">
                <a16:creationId xmlns:a16="http://schemas.microsoft.com/office/drawing/2014/main" id="{62A49222-2C1D-45F6-B1A3-8BBF2C1724DD}"/>
              </a:ext>
            </a:extLst>
          </p:cNvPr>
          <p:cNvSpPr>
            <a:spLocks noGrp="1"/>
          </p:cNvSpPr>
          <p:nvPr userDrawn="1">
            <p:ph sz="quarter" idx="31"/>
          </p:nvPr>
        </p:nvSpPr>
        <p:spPr>
          <a:xfrm>
            <a:off x="10391314" y="2500056"/>
            <a:ext cx="1624236" cy="553998"/>
          </a:xfrm>
        </p:spPr>
        <p:txBody>
          <a:bodyPr/>
          <a:lstStyle>
            <a:lvl1pPr marL="0" indent="0">
              <a:buNone/>
              <a:defRPr/>
            </a:lvl1pPr>
          </a:lstStyle>
          <a:p>
            <a:pPr lvl="0"/>
            <a:endParaRPr lang="en-US" dirty="0"/>
          </a:p>
        </p:txBody>
      </p:sp>
      <p:sp>
        <p:nvSpPr>
          <p:cNvPr id="31" name="Content Placeholder 9">
            <a:extLst>
              <a:ext uri="{FF2B5EF4-FFF2-40B4-BE49-F238E27FC236}">
                <a16:creationId xmlns:a16="http://schemas.microsoft.com/office/drawing/2014/main" id="{9F7BBE58-F851-4672-A7CB-AE7B1CAFC023}"/>
              </a:ext>
            </a:extLst>
          </p:cNvPr>
          <p:cNvSpPr>
            <a:spLocks noGrp="1"/>
          </p:cNvSpPr>
          <p:nvPr userDrawn="1">
            <p:ph sz="quarter" idx="32"/>
          </p:nvPr>
        </p:nvSpPr>
        <p:spPr>
          <a:xfrm>
            <a:off x="10391314" y="3159682"/>
            <a:ext cx="1624236" cy="553998"/>
          </a:xfrm>
        </p:spPr>
        <p:txBody>
          <a:bodyPr/>
          <a:lstStyle>
            <a:lvl1pPr marL="0" indent="0">
              <a:buNone/>
              <a:defRPr/>
            </a:lvl1pPr>
          </a:lstStyle>
          <a:p>
            <a:pPr lvl="0"/>
            <a:endParaRPr lang="en-US" dirty="0"/>
          </a:p>
        </p:txBody>
      </p:sp>
      <p:sp>
        <p:nvSpPr>
          <p:cNvPr id="32" name="Content Placeholder 9">
            <a:extLst>
              <a:ext uri="{FF2B5EF4-FFF2-40B4-BE49-F238E27FC236}">
                <a16:creationId xmlns:a16="http://schemas.microsoft.com/office/drawing/2014/main" id="{381F702D-42A0-46D7-97A0-5E9B52D578B9}"/>
              </a:ext>
            </a:extLst>
          </p:cNvPr>
          <p:cNvSpPr>
            <a:spLocks noGrp="1"/>
          </p:cNvSpPr>
          <p:nvPr userDrawn="1">
            <p:ph sz="quarter" idx="33"/>
          </p:nvPr>
        </p:nvSpPr>
        <p:spPr>
          <a:xfrm>
            <a:off x="10390677" y="3852805"/>
            <a:ext cx="1624236" cy="553998"/>
          </a:xfrm>
        </p:spPr>
        <p:txBody>
          <a:bodyPr/>
          <a:lstStyle>
            <a:lvl1pPr marL="0" indent="0">
              <a:buNone/>
              <a:defRPr/>
            </a:lvl1pPr>
          </a:lstStyle>
          <a:p>
            <a:pPr lvl="0"/>
            <a:endParaRPr lang="en-US" dirty="0"/>
          </a:p>
        </p:txBody>
      </p:sp>
      <p:sp>
        <p:nvSpPr>
          <p:cNvPr id="33" name="Content Placeholder 9">
            <a:extLst>
              <a:ext uri="{FF2B5EF4-FFF2-40B4-BE49-F238E27FC236}">
                <a16:creationId xmlns:a16="http://schemas.microsoft.com/office/drawing/2014/main" id="{1E9EE5C1-FD9A-49DF-9D6A-298802F250C2}"/>
              </a:ext>
            </a:extLst>
          </p:cNvPr>
          <p:cNvSpPr>
            <a:spLocks noGrp="1"/>
          </p:cNvSpPr>
          <p:nvPr userDrawn="1">
            <p:ph sz="quarter" idx="34"/>
          </p:nvPr>
        </p:nvSpPr>
        <p:spPr>
          <a:xfrm>
            <a:off x="10390677" y="4538280"/>
            <a:ext cx="1624236" cy="553998"/>
          </a:xfrm>
        </p:spPr>
        <p:txBody>
          <a:bodyPr/>
          <a:lstStyle>
            <a:lvl1pPr marL="0" indent="0">
              <a:buNone/>
              <a:defRPr/>
            </a:lvl1pPr>
          </a:lstStyle>
          <a:p>
            <a:pPr lvl="0"/>
            <a:endParaRPr lang="en-US" dirty="0"/>
          </a:p>
        </p:txBody>
      </p:sp>
      <p:sp>
        <p:nvSpPr>
          <p:cNvPr id="34" name="Content Placeholder 9">
            <a:extLst>
              <a:ext uri="{FF2B5EF4-FFF2-40B4-BE49-F238E27FC236}">
                <a16:creationId xmlns:a16="http://schemas.microsoft.com/office/drawing/2014/main" id="{453A3759-5960-4974-9E8D-7CF665E09D50}"/>
              </a:ext>
            </a:extLst>
          </p:cNvPr>
          <p:cNvSpPr>
            <a:spLocks noGrp="1"/>
          </p:cNvSpPr>
          <p:nvPr userDrawn="1">
            <p:ph sz="quarter" idx="35"/>
          </p:nvPr>
        </p:nvSpPr>
        <p:spPr>
          <a:xfrm>
            <a:off x="10390677" y="5306468"/>
            <a:ext cx="1624236"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99161180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643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8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10" name="Content Placeholder 9">
            <a:extLst>
              <a:ext uri="{FF2B5EF4-FFF2-40B4-BE49-F238E27FC236}">
                <a16:creationId xmlns:a16="http://schemas.microsoft.com/office/drawing/2014/main" id="{8338C1B9-F484-4CAB-96CC-B11A79F7BE6B}"/>
              </a:ext>
            </a:extLst>
          </p:cNvPr>
          <p:cNvSpPr>
            <a:spLocks noGrp="1"/>
          </p:cNvSpPr>
          <p:nvPr>
            <p:ph sz="quarter" idx="11"/>
          </p:nvPr>
        </p:nvSpPr>
        <p:spPr>
          <a:xfrm>
            <a:off x="358775" y="2384425"/>
            <a:ext cx="1698625" cy="456746"/>
          </a:xfrm>
        </p:spPr>
        <p:txBody>
          <a:bodyPr/>
          <a:lstStyle>
            <a:lvl1pPr marL="0" indent="0">
              <a:buNone/>
              <a:defRPr/>
            </a:lvl1pPr>
          </a:lstStyle>
          <a:p>
            <a:pPr lvl="0"/>
            <a:endParaRPr lang="en-US" dirty="0"/>
          </a:p>
        </p:txBody>
      </p:sp>
      <p:sp>
        <p:nvSpPr>
          <p:cNvPr id="11" name="Content Placeholder 9">
            <a:extLst>
              <a:ext uri="{FF2B5EF4-FFF2-40B4-BE49-F238E27FC236}">
                <a16:creationId xmlns:a16="http://schemas.microsoft.com/office/drawing/2014/main" id="{A03894D3-3AFD-4BAB-95A1-C0FE931F0A52}"/>
              </a:ext>
            </a:extLst>
          </p:cNvPr>
          <p:cNvSpPr>
            <a:spLocks noGrp="1"/>
          </p:cNvSpPr>
          <p:nvPr>
            <p:ph sz="quarter" idx="12"/>
          </p:nvPr>
        </p:nvSpPr>
        <p:spPr>
          <a:xfrm>
            <a:off x="358774" y="2972254"/>
            <a:ext cx="1698625" cy="456746"/>
          </a:xfrm>
        </p:spPr>
        <p:txBody>
          <a:bodyPr/>
          <a:lstStyle>
            <a:lvl1pPr marL="0" indent="0">
              <a:buNone/>
              <a:defRPr/>
            </a:lvl1pPr>
          </a:lstStyle>
          <a:p>
            <a:pPr lvl="0"/>
            <a:endParaRPr lang="en-US" dirty="0"/>
          </a:p>
        </p:txBody>
      </p:sp>
      <p:sp>
        <p:nvSpPr>
          <p:cNvPr id="12" name="Content Placeholder 9">
            <a:extLst>
              <a:ext uri="{FF2B5EF4-FFF2-40B4-BE49-F238E27FC236}">
                <a16:creationId xmlns:a16="http://schemas.microsoft.com/office/drawing/2014/main" id="{272077CF-D27C-4ACC-8979-B293C527AFC5}"/>
              </a:ext>
            </a:extLst>
          </p:cNvPr>
          <p:cNvSpPr>
            <a:spLocks noGrp="1"/>
          </p:cNvSpPr>
          <p:nvPr>
            <p:ph sz="quarter" idx="13"/>
          </p:nvPr>
        </p:nvSpPr>
        <p:spPr>
          <a:xfrm>
            <a:off x="358773" y="3525306"/>
            <a:ext cx="1698625" cy="456746"/>
          </a:xfrm>
        </p:spPr>
        <p:txBody>
          <a:bodyPr/>
          <a:lstStyle>
            <a:lvl1pPr marL="0" indent="0">
              <a:buNone/>
              <a:defRPr/>
            </a:lvl1pPr>
          </a:lstStyle>
          <a:p>
            <a:pPr lvl="0"/>
            <a:endParaRPr lang="en-US" dirty="0"/>
          </a:p>
        </p:txBody>
      </p:sp>
      <p:sp>
        <p:nvSpPr>
          <p:cNvPr id="13" name="Content Placeholder 9">
            <a:extLst>
              <a:ext uri="{FF2B5EF4-FFF2-40B4-BE49-F238E27FC236}">
                <a16:creationId xmlns:a16="http://schemas.microsoft.com/office/drawing/2014/main" id="{0427B1DA-F3E9-48E4-8825-3E7D3FCAB63B}"/>
              </a:ext>
            </a:extLst>
          </p:cNvPr>
          <p:cNvSpPr>
            <a:spLocks noGrp="1"/>
          </p:cNvSpPr>
          <p:nvPr>
            <p:ph sz="quarter" idx="14"/>
          </p:nvPr>
        </p:nvSpPr>
        <p:spPr>
          <a:xfrm>
            <a:off x="358773" y="4100292"/>
            <a:ext cx="1698625" cy="456746"/>
          </a:xfrm>
        </p:spPr>
        <p:txBody>
          <a:bodyPr/>
          <a:lstStyle>
            <a:lvl1pPr marL="0" indent="0">
              <a:buNone/>
              <a:defRPr/>
            </a:lvl1pPr>
          </a:lstStyle>
          <a:p>
            <a:pPr lvl="0"/>
            <a:endParaRPr lang="en-US" dirty="0"/>
          </a:p>
        </p:txBody>
      </p:sp>
      <p:sp>
        <p:nvSpPr>
          <p:cNvPr id="14" name="Content Placeholder 9">
            <a:extLst>
              <a:ext uri="{FF2B5EF4-FFF2-40B4-BE49-F238E27FC236}">
                <a16:creationId xmlns:a16="http://schemas.microsoft.com/office/drawing/2014/main" id="{286699AB-80B3-4272-BA05-9137020F8623}"/>
              </a:ext>
            </a:extLst>
          </p:cNvPr>
          <p:cNvSpPr>
            <a:spLocks noGrp="1"/>
          </p:cNvSpPr>
          <p:nvPr>
            <p:ph sz="quarter" idx="15"/>
          </p:nvPr>
        </p:nvSpPr>
        <p:spPr>
          <a:xfrm>
            <a:off x="358773" y="4646084"/>
            <a:ext cx="1698625" cy="456746"/>
          </a:xfrm>
        </p:spPr>
        <p:txBody>
          <a:bodyPr/>
          <a:lstStyle>
            <a:lvl1pPr marL="0" indent="0">
              <a:buNone/>
              <a:defRPr/>
            </a:lvl1pPr>
          </a:lstStyle>
          <a:p>
            <a:pPr lvl="0"/>
            <a:endParaRPr lang="en-US" dirty="0"/>
          </a:p>
        </p:txBody>
      </p:sp>
      <p:sp>
        <p:nvSpPr>
          <p:cNvPr id="15" name="Content Placeholder 9">
            <a:extLst>
              <a:ext uri="{FF2B5EF4-FFF2-40B4-BE49-F238E27FC236}">
                <a16:creationId xmlns:a16="http://schemas.microsoft.com/office/drawing/2014/main" id="{7BC5E844-2151-4AF8-893E-3DB933DC640E}"/>
              </a:ext>
            </a:extLst>
          </p:cNvPr>
          <p:cNvSpPr>
            <a:spLocks noGrp="1"/>
          </p:cNvSpPr>
          <p:nvPr>
            <p:ph sz="quarter" idx="16"/>
          </p:nvPr>
        </p:nvSpPr>
        <p:spPr>
          <a:xfrm>
            <a:off x="2223594" y="2362653"/>
            <a:ext cx="1698625" cy="456746"/>
          </a:xfrm>
        </p:spPr>
        <p:txBody>
          <a:bodyPr/>
          <a:lstStyle>
            <a:lvl1pPr marL="0" indent="0">
              <a:buNone/>
              <a:defRPr/>
            </a:lvl1pPr>
          </a:lstStyle>
          <a:p>
            <a:pPr lvl="0"/>
            <a:endParaRPr lang="en-US" dirty="0"/>
          </a:p>
        </p:txBody>
      </p:sp>
      <p:sp>
        <p:nvSpPr>
          <p:cNvPr id="16" name="Content Placeholder 9">
            <a:extLst>
              <a:ext uri="{FF2B5EF4-FFF2-40B4-BE49-F238E27FC236}">
                <a16:creationId xmlns:a16="http://schemas.microsoft.com/office/drawing/2014/main" id="{51DDDC58-6A10-4D61-BAD1-4EA37EAA57F5}"/>
              </a:ext>
            </a:extLst>
          </p:cNvPr>
          <p:cNvSpPr>
            <a:spLocks noGrp="1"/>
          </p:cNvSpPr>
          <p:nvPr>
            <p:ph sz="quarter" idx="17"/>
          </p:nvPr>
        </p:nvSpPr>
        <p:spPr>
          <a:xfrm>
            <a:off x="2223593" y="2950482"/>
            <a:ext cx="1698625" cy="456746"/>
          </a:xfrm>
        </p:spPr>
        <p:txBody>
          <a:bodyPr/>
          <a:lstStyle>
            <a:lvl1pPr marL="0" indent="0">
              <a:buNone/>
              <a:defRPr/>
            </a:lvl1pPr>
          </a:lstStyle>
          <a:p>
            <a:pPr lvl="0"/>
            <a:endParaRPr lang="en-US" dirty="0"/>
          </a:p>
        </p:txBody>
      </p:sp>
      <p:sp>
        <p:nvSpPr>
          <p:cNvPr id="17" name="Content Placeholder 9">
            <a:extLst>
              <a:ext uri="{FF2B5EF4-FFF2-40B4-BE49-F238E27FC236}">
                <a16:creationId xmlns:a16="http://schemas.microsoft.com/office/drawing/2014/main" id="{1874E047-13F2-4752-BBDC-D2442AAE3427}"/>
              </a:ext>
            </a:extLst>
          </p:cNvPr>
          <p:cNvSpPr>
            <a:spLocks noGrp="1"/>
          </p:cNvSpPr>
          <p:nvPr>
            <p:ph sz="quarter" idx="18"/>
          </p:nvPr>
        </p:nvSpPr>
        <p:spPr>
          <a:xfrm>
            <a:off x="2223592" y="3503534"/>
            <a:ext cx="1698625" cy="456746"/>
          </a:xfrm>
        </p:spPr>
        <p:txBody>
          <a:bodyPr/>
          <a:lstStyle>
            <a:lvl1pPr marL="0" indent="0">
              <a:buNone/>
              <a:defRPr/>
            </a:lvl1pPr>
          </a:lstStyle>
          <a:p>
            <a:pPr lvl="0"/>
            <a:endParaRPr lang="en-US" dirty="0"/>
          </a:p>
        </p:txBody>
      </p:sp>
      <p:sp>
        <p:nvSpPr>
          <p:cNvPr id="18" name="Content Placeholder 9">
            <a:extLst>
              <a:ext uri="{FF2B5EF4-FFF2-40B4-BE49-F238E27FC236}">
                <a16:creationId xmlns:a16="http://schemas.microsoft.com/office/drawing/2014/main" id="{0F73B878-AF12-49B8-8FAE-10FAD2B2F4DB}"/>
              </a:ext>
            </a:extLst>
          </p:cNvPr>
          <p:cNvSpPr>
            <a:spLocks noGrp="1"/>
          </p:cNvSpPr>
          <p:nvPr>
            <p:ph sz="quarter" idx="19"/>
          </p:nvPr>
        </p:nvSpPr>
        <p:spPr>
          <a:xfrm>
            <a:off x="2223592" y="4078520"/>
            <a:ext cx="1698625" cy="456746"/>
          </a:xfrm>
        </p:spPr>
        <p:txBody>
          <a:bodyPr/>
          <a:lstStyle>
            <a:lvl1pPr marL="0" indent="0">
              <a:buNone/>
              <a:defRPr/>
            </a:lvl1pPr>
          </a:lstStyle>
          <a:p>
            <a:pPr lvl="0"/>
            <a:endParaRPr lang="en-US" dirty="0"/>
          </a:p>
        </p:txBody>
      </p:sp>
      <p:sp>
        <p:nvSpPr>
          <p:cNvPr id="19" name="Content Placeholder 9">
            <a:extLst>
              <a:ext uri="{FF2B5EF4-FFF2-40B4-BE49-F238E27FC236}">
                <a16:creationId xmlns:a16="http://schemas.microsoft.com/office/drawing/2014/main" id="{EB5F786C-7080-497E-A13E-36D38336CE08}"/>
              </a:ext>
            </a:extLst>
          </p:cNvPr>
          <p:cNvSpPr>
            <a:spLocks noGrp="1"/>
          </p:cNvSpPr>
          <p:nvPr>
            <p:ph sz="quarter" idx="20"/>
          </p:nvPr>
        </p:nvSpPr>
        <p:spPr>
          <a:xfrm>
            <a:off x="2223592" y="4624312"/>
            <a:ext cx="1698625" cy="456746"/>
          </a:xfrm>
        </p:spPr>
        <p:txBody>
          <a:bodyPr/>
          <a:lstStyle>
            <a:lvl1pPr marL="0" indent="0">
              <a:buNone/>
              <a:defRPr/>
            </a:lvl1pPr>
          </a:lstStyle>
          <a:p>
            <a:pPr lvl="0"/>
            <a:endParaRPr lang="en-US" dirty="0"/>
          </a:p>
        </p:txBody>
      </p:sp>
      <p:sp>
        <p:nvSpPr>
          <p:cNvPr id="20" name="Content Placeholder 9">
            <a:extLst>
              <a:ext uri="{FF2B5EF4-FFF2-40B4-BE49-F238E27FC236}">
                <a16:creationId xmlns:a16="http://schemas.microsoft.com/office/drawing/2014/main" id="{A65707CC-BEB7-48CD-B20F-1B9AE0C11F26}"/>
              </a:ext>
            </a:extLst>
          </p:cNvPr>
          <p:cNvSpPr>
            <a:spLocks noGrp="1"/>
          </p:cNvSpPr>
          <p:nvPr>
            <p:ph sz="quarter" idx="21"/>
          </p:nvPr>
        </p:nvSpPr>
        <p:spPr>
          <a:xfrm>
            <a:off x="4088413" y="2355710"/>
            <a:ext cx="1698625" cy="456746"/>
          </a:xfrm>
        </p:spPr>
        <p:txBody>
          <a:bodyPr/>
          <a:lstStyle>
            <a:lvl1pPr marL="0" indent="0">
              <a:buNone/>
              <a:defRPr/>
            </a:lvl1pPr>
          </a:lstStyle>
          <a:p>
            <a:pPr lvl="0"/>
            <a:endParaRPr lang="en-US" dirty="0"/>
          </a:p>
        </p:txBody>
      </p:sp>
      <p:sp>
        <p:nvSpPr>
          <p:cNvPr id="21" name="Content Placeholder 9">
            <a:extLst>
              <a:ext uri="{FF2B5EF4-FFF2-40B4-BE49-F238E27FC236}">
                <a16:creationId xmlns:a16="http://schemas.microsoft.com/office/drawing/2014/main" id="{8A3E8335-857B-4291-B87F-8C5EB1AE047A}"/>
              </a:ext>
            </a:extLst>
          </p:cNvPr>
          <p:cNvSpPr>
            <a:spLocks noGrp="1"/>
          </p:cNvSpPr>
          <p:nvPr>
            <p:ph sz="quarter" idx="22"/>
          </p:nvPr>
        </p:nvSpPr>
        <p:spPr>
          <a:xfrm>
            <a:off x="4088412" y="2943539"/>
            <a:ext cx="1698625" cy="456746"/>
          </a:xfrm>
        </p:spPr>
        <p:txBody>
          <a:bodyPr/>
          <a:lstStyle>
            <a:lvl1pPr marL="0" indent="0">
              <a:buNone/>
              <a:defRPr/>
            </a:lvl1pPr>
          </a:lstStyle>
          <a:p>
            <a:pPr lvl="0"/>
            <a:endParaRPr lang="en-US" dirty="0"/>
          </a:p>
        </p:txBody>
      </p:sp>
      <p:sp>
        <p:nvSpPr>
          <p:cNvPr id="22" name="Content Placeholder 9">
            <a:extLst>
              <a:ext uri="{FF2B5EF4-FFF2-40B4-BE49-F238E27FC236}">
                <a16:creationId xmlns:a16="http://schemas.microsoft.com/office/drawing/2014/main" id="{F77B1138-53D3-48C0-A6CE-1BAC6FDC8CA5}"/>
              </a:ext>
            </a:extLst>
          </p:cNvPr>
          <p:cNvSpPr>
            <a:spLocks noGrp="1"/>
          </p:cNvSpPr>
          <p:nvPr>
            <p:ph sz="quarter" idx="23"/>
          </p:nvPr>
        </p:nvSpPr>
        <p:spPr>
          <a:xfrm>
            <a:off x="4088411" y="3496591"/>
            <a:ext cx="1698625" cy="456746"/>
          </a:xfrm>
        </p:spPr>
        <p:txBody>
          <a:bodyPr/>
          <a:lstStyle>
            <a:lvl1pPr marL="0" indent="0">
              <a:buNone/>
              <a:defRPr/>
            </a:lvl1pPr>
          </a:lstStyle>
          <a:p>
            <a:pPr lvl="0"/>
            <a:endParaRPr lang="en-US" dirty="0"/>
          </a:p>
        </p:txBody>
      </p:sp>
      <p:sp>
        <p:nvSpPr>
          <p:cNvPr id="23" name="Content Placeholder 9">
            <a:extLst>
              <a:ext uri="{FF2B5EF4-FFF2-40B4-BE49-F238E27FC236}">
                <a16:creationId xmlns:a16="http://schemas.microsoft.com/office/drawing/2014/main" id="{B57D9ED3-67AD-4CFD-81F8-C6E07709A1CB}"/>
              </a:ext>
            </a:extLst>
          </p:cNvPr>
          <p:cNvSpPr>
            <a:spLocks noGrp="1"/>
          </p:cNvSpPr>
          <p:nvPr>
            <p:ph sz="quarter" idx="24"/>
          </p:nvPr>
        </p:nvSpPr>
        <p:spPr>
          <a:xfrm>
            <a:off x="4088411" y="4071577"/>
            <a:ext cx="1698625" cy="456746"/>
          </a:xfrm>
        </p:spPr>
        <p:txBody>
          <a:bodyPr/>
          <a:lstStyle>
            <a:lvl1pPr marL="0" indent="0">
              <a:buNone/>
              <a:defRPr/>
            </a:lvl1pPr>
          </a:lstStyle>
          <a:p>
            <a:pPr lvl="0"/>
            <a:endParaRPr lang="en-US" dirty="0"/>
          </a:p>
        </p:txBody>
      </p:sp>
      <p:sp>
        <p:nvSpPr>
          <p:cNvPr id="24" name="Content Placeholder 9">
            <a:extLst>
              <a:ext uri="{FF2B5EF4-FFF2-40B4-BE49-F238E27FC236}">
                <a16:creationId xmlns:a16="http://schemas.microsoft.com/office/drawing/2014/main" id="{0A222358-A704-4B0D-89C0-840D1D0B33FB}"/>
              </a:ext>
            </a:extLst>
          </p:cNvPr>
          <p:cNvSpPr>
            <a:spLocks noGrp="1"/>
          </p:cNvSpPr>
          <p:nvPr>
            <p:ph sz="quarter" idx="25"/>
          </p:nvPr>
        </p:nvSpPr>
        <p:spPr>
          <a:xfrm>
            <a:off x="4088411" y="4617369"/>
            <a:ext cx="1698625" cy="456746"/>
          </a:xfrm>
        </p:spPr>
        <p:txBody>
          <a:bodyPr/>
          <a:lstStyle>
            <a:lvl1pPr marL="0" indent="0">
              <a:buNone/>
              <a:defRPr/>
            </a:lvl1pPr>
          </a:lstStyle>
          <a:p>
            <a:pPr lvl="0"/>
            <a:endParaRPr lang="en-US" dirty="0"/>
          </a:p>
        </p:txBody>
      </p:sp>
      <p:sp>
        <p:nvSpPr>
          <p:cNvPr id="25" name="Content Placeholder 9">
            <a:extLst>
              <a:ext uri="{FF2B5EF4-FFF2-40B4-BE49-F238E27FC236}">
                <a16:creationId xmlns:a16="http://schemas.microsoft.com/office/drawing/2014/main" id="{6581BBCC-4666-477B-A12C-BE7E6AC15742}"/>
              </a:ext>
            </a:extLst>
          </p:cNvPr>
          <p:cNvSpPr>
            <a:spLocks noGrp="1"/>
          </p:cNvSpPr>
          <p:nvPr>
            <p:ph sz="quarter" idx="26"/>
          </p:nvPr>
        </p:nvSpPr>
        <p:spPr>
          <a:xfrm>
            <a:off x="6044674" y="2362653"/>
            <a:ext cx="1698625" cy="456746"/>
          </a:xfrm>
        </p:spPr>
        <p:txBody>
          <a:bodyPr/>
          <a:lstStyle>
            <a:lvl1pPr marL="0" indent="0">
              <a:buNone/>
              <a:defRPr/>
            </a:lvl1pPr>
          </a:lstStyle>
          <a:p>
            <a:pPr lvl="0"/>
            <a:endParaRPr lang="en-US" dirty="0"/>
          </a:p>
        </p:txBody>
      </p:sp>
      <p:sp>
        <p:nvSpPr>
          <p:cNvPr id="26" name="Content Placeholder 9">
            <a:extLst>
              <a:ext uri="{FF2B5EF4-FFF2-40B4-BE49-F238E27FC236}">
                <a16:creationId xmlns:a16="http://schemas.microsoft.com/office/drawing/2014/main" id="{6271137C-D690-4C28-A01D-FC20AFB54E13}"/>
              </a:ext>
            </a:extLst>
          </p:cNvPr>
          <p:cNvSpPr>
            <a:spLocks noGrp="1"/>
          </p:cNvSpPr>
          <p:nvPr>
            <p:ph sz="quarter" idx="27"/>
          </p:nvPr>
        </p:nvSpPr>
        <p:spPr>
          <a:xfrm>
            <a:off x="6044673" y="2950482"/>
            <a:ext cx="1698625" cy="456746"/>
          </a:xfrm>
        </p:spPr>
        <p:txBody>
          <a:bodyPr/>
          <a:lstStyle>
            <a:lvl1pPr marL="0" indent="0">
              <a:buNone/>
              <a:defRPr/>
            </a:lvl1pPr>
          </a:lstStyle>
          <a:p>
            <a:pPr lvl="0"/>
            <a:endParaRPr lang="en-US" dirty="0"/>
          </a:p>
        </p:txBody>
      </p:sp>
      <p:sp>
        <p:nvSpPr>
          <p:cNvPr id="27" name="Content Placeholder 9">
            <a:extLst>
              <a:ext uri="{FF2B5EF4-FFF2-40B4-BE49-F238E27FC236}">
                <a16:creationId xmlns:a16="http://schemas.microsoft.com/office/drawing/2014/main" id="{01ECC499-AFE5-42BE-9AE6-D4C1BED01F98}"/>
              </a:ext>
            </a:extLst>
          </p:cNvPr>
          <p:cNvSpPr>
            <a:spLocks noGrp="1"/>
          </p:cNvSpPr>
          <p:nvPr>
            <p:ph sz="quarter" idx="28"/>
          </p:nvPr>
        </p:nvSpPr>
        <p:spPr>
          <a:xfrm>
            <a:off x="6044672" y="3503534"/>
            <a:ext cx="1698625" cy="456746"/>
          </a:xfrm>
        </p:spPr>
        <p:txBody>
          <a:bodyPr/>
          <a:lstStyle>
            <a:lvl1pPr marL="0" indent="0">
              <a:buNone/>
              <a:defRPr/>
            </a:lvl1pPr>
          </a:lstStyle>
          <a:p>
            <a:pPr lvl="0"/>
            <a:endParaRPr lang="en-US" dirty="0"/>
          </a:p>
        </p:txBody>
      </p:sp>
      <p:sp>
        <p:nvSpPr>
          <p:cNvPr id="28" name="Content Placeholder 9">
            <a:extLst>
              <a:ext uri="{FF2B5EF4-FFF2-40B4-BE49-F238E27FC236}">
                <a16:creationId xmlns:a16="http://schemas.microsoft.com/office/drawing/2014/main" id="{BCCFB830-E853-4ACE-AB82-D92133836D01}"/>
              </a:ext>
            </a:extLst>
          </p:cNvPr>
          <p:cNvSpPr>
            <a:spLocks noGrp="1"/>
          </p:cNvSpPr>
          <p:nvPr>
            <p:ph sz="quarter" idx="29"/>
          </p:nvPr>
        </p:nvSpPr>
        <p:spPr>
          <a:xfrm>
            <a:off x="6044672" y="4078520"/>
            <a:ext cx="1698625" cy="456746"/>
          </a:xfrm>
        </p:spPr>
        <p:txBody>
          <a:bodyPr/>
          <a:lstStyle>
            <a:lvl1pPr marL="0" indent="0">
              <a:buNone/>
              <a:defRPr/>
            </a:lvl1pPr>
          </a:lstStyle>
          <a:p>
            <a:pPr lvl="0"/>
            <a:endParaRPr lang="en-US" dirty="0"/>
          </a:p>
        </p:txBody>
      </p:sp>
      <p:sp>
        <p:nvSpPr>
          <p:cNvPr id="29" name="Content Placeholder 9">
            <a:extLst>
              <a:ext uri="{FF2B5EF4-FFF2-40B4-BE49-F238E27FC236}">
                <a16:creationId xmlns:a16="http://schemas.microsoft.com/office/drawing/2014/main" id="{A4B8C90C-A71D-44C3-866A-DF5E9B6E66CA}"/>
              </a:ext>
            </a:extLst>
          </p:cNvPr>
          <p:cNvSpPr>
            <a:spLocks noGrp="1"/>
          </p:cNvSpPr>
          <p:nvPr>
            <p:ph sz="quarter" idx="30"/>
          </p:nvPr>
        </p:nvSpPr>
        <p:spPr>
          <a:xfrm>
            <a:off x="6044672" y="4624312"/>
            <a:ext cx="1698625" cy="456746"/>
          </a:xfrm>
        </p:spPr>
        <p:txBody>
          <a:bodyPr/>
          <a:lstStyle>
            <a:lvl1pPr marL="0" indent="0">
              <a:buNone/>
              <a:defRPr/>
            </a:lvl1pPr>
          </a:lstStyle>
          <a:p>
            <a:pPr lvl="0"/>
            <a:endParaRPr lang="en-US" dirty="0"/>
          </a:p>
        </p:txBody>
      </p:sp>
      <p:sp>
        <p:nvSpPr>
          <p:cNvPr id="30" name="Content Placeholder 9">
            <a:extLst>
              <a:ext uri="{FF2B5EF4-FFF2-40B4-BE49-F238E27FC236}">
                <a16:creationId xmlns:a16="http://schemas.microsoft.com/office/drawing/2014/main" id="{0F241B33-D867-4071-A542-5D9E6E364582}"/>
              </a:ext>
            </a:extLst>
          </p:cNvPr>
          <p:cNvSpPr>
            <a:spLocks noGrp="1"/>
          </p:cNvSpPr>
          <p:nvPr>
            <p:ph sz="quarter" idx="31"/>
          </p:nvPr>
        </p:nvSpPr>
        <p:spPr>
          <a:xfrm>
            <a:off x="8694671" y="2355710"/>
            <a:ext cx="1698625" cy="456746"/>
          </a:xfrm>
        </p:spPr>
        <p:txBody>
          <a:bodyPr/>
          <a:lstStyle>
            <a:lvl1pPr marL="0" indent="0">
              <a:buNone/>
              <a:defRPr/>
            </a:lvl1pPr>
          </a:lstStyle>
          <a:p>
            <a:pPr lvl="0"/>
            <a:endParaRPr lang="en-US" dirty="0"/>
          </a:p>
        </p:txBody>
      </p:sp>
      <p:sp>
        <p:nvSpPr>
          <p:cNvPr id="31" name="Content Placeholder 9">
            <a:extLst>
              <a:ext uri="{FF2B5EF4-FFF2-40B4-BE49-F238E27FC236}">
                <a16:creationId xmlns:a16="http://schemas.microsoft.com/office/drawing/2014/main" id="{DDD28CF5-959C-4389-B594-4B25F2DC83EF}"/>
              </a:ext>
            </a:extLst>
          </p:cNvPr>
          <p:cNvSpPr>
            <a:spLocks noGrp="1"/>
          </p:cNvSpPr>
          <p:nvPr>
            <p:ph sz="quarter" idx="32"/>
          </p:nvPr>
        </p:nvSpPr>
        <p:spPr>
          <a:xfrm>
            <a:off x="8694670" y="2943539"/>
            <a:ext cx="1698625" cy="456746"/>
          </a:xfrm>
        </p:spPr>
        <p:txBody>
          <a:bodyPr/>
          <a:lstStyle>
            <a:lvl1pPr marL="0" indent="0">
              <a:buNone/>
              <a:defRPr/>
            </a:lvl1pPr>
          </a:lstStyle>
          <a:p>
            <a:pPr lvl="0"/>
            <a:endParaRPr lang="en-US" dirty="0"/>
          </a:p>
        </p:txBody>
      </p:sp>
      <p:sp>
        <p:nvSpPr>
          <p:cNvPr id="32" name="Content Placeholder 9">
            <a:extLst>
              <a:ext uri="{FF2B5EF4-FFF2-40B4-BE49-F238E27FC236}">
                <a16:creationId xmlns:a16="http://schemas.microsoft.com/office/drawing/2014/main" id="{968B758A-675C-470E-81D2-F34C0773AA79}"/>
              </a:ext>
            </a:extLst>
          </p:cNvPr>
          <p:cNvSpPr>
            <a:spLocks noGrp="1"/>
          </p:cNvSpPr>
          <p:nvPr>
            <p:ph sz="quarter" idx="33"/>
          </p:nvPr>
        </p:nvSpPr>
        <p:spPr>
          <a:xfrm>
            <a:off x="8694669" y="3496591"/>
            <a:ext cx="1698625" cy="456746"/>
          </a:xfrm>
        </p:spPr>
        <p:txBody>
          <a:bodyPr/>
          <a:lstStyle>
            <a:lvl1pPr marL="0" indent="0">
              <a:buNone/>
              <a:defRPr/>
            </a:lvl1pPr>
          </a:lstStyle>
          <a:p>
            <a:pPr lvl="0"/>
            <a:endParaRPr lang="en-US" dirty="0"/>
          </a:p>
        </p:txBody>
      </p:sp>
      <p:sp>
        <p:nvSpPr>
          <p:cNvPr id="33" name="Content Placeholder 9">
            <a:extLst>
              <a:ext uri="{FF2B5EF4-FFF2-40B4-BE49-F238E27FC236}">
                <a16:creationId xmlns:a16="http://schemas.microsoft.com/office/drawing/2014/main" id="{1704EA65-D738-44CD-AB1B-D735988AC951}"/>
              </a:ext>
            </a:extLst>
          </p:cNvPr>
          <p:cNvSpPr>
            <a:spLocks noGrp="1"/>
          </p:cNvSpPr>
          <p:nvPr>
            <p:ph sz="quarter" idx="34"/>
          </p:nvPr>
        </p:nvSpPr>
        <p:spPr>
          <a:xfrm>
            <a:off x="8694669" y="4071577"/>
            <a:ext cx="1698625" cy="456746"/>
          </a:xfrm>
        </p:spPr>
        <p:txBody>
          <a:bodyPr/>
          <a:lstStyle>
            <a:lvl1pPr marL="0" indent="0">
              <a:buNone/>
              <a:defRPr/>
            </a:lvl1pPr>
          </a:lstStyle>
          <a:p>
            <a:pPr lvl="0"/>
            <a:endParaRPr lang="en-US" dirty="0"/>
          </a:p>
        </p:txBody>
      </p:sp>
      <p:sp>
        <p:nvSpPr>
          <p:cNvPr id="34" name="Content Placeholder 9">
            <a:extLst>
              <a:ext uri="{FF2B5EF4-FFF2-40B4-BE49-F238E27FC236}">
                <a16:creationId xmlns:a16="http://schemas.microsoft.com/office/drawing/2014/main" id="{5C9E7D9C-F679-40D9-8A30-E98BD3D0FC66}"/>
              </a:ext>
            </a:extLst>
          </p:cNvPr>
          <p:cNvSpPr>
            <a:spLocks noGrp="1"/>
          </p:cNvSpPr>
          <p:nvPr>
            <p:ph sz="quarter" idx="35"/>
          </p:nvPr>
        </p:nvSpPr>
        <p:spPr>
          <a:xfrm>
            <a:off x="8694669" y="4617369"/>
            <a:ext cx="1698625" cy="456746"/>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56349475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6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C086D7AE-0AFA-49A5-9EA2-B5DBB50E032D}"/>
              </a:ext>
            </a:extLst>
          </p:cNvPr>
          <p:cNvSpPr>
            <a:spLocks noGrp="1"/>
          </p:cNvSpPr>
          <p:nvPr>
            <p:ph sz="quarter" idx="11"/>
          </p:nvPr>
        </p:nvSpPr>
        <p:spPr>
          <a:xfrm>
            <a:off x="800100" y="3098800"/>
            <a:ext cx="2133600" cy="55399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A8D9253A-5A02-4C70-8C1D-0EBD1546E3B5}"/>
              </a:ext>
            </a:extLst>
          </p:cNvPr>
          <p:cNvSpPr>
            <a:spLocks noGrp="1"/>
          </p:cNvSpPr>
          <p:nvPr>
            <p:ph sz="quarter" idx="12"/>
          </p:nvPr>
        </p:nvSpPr>
        <p:spPr>
          <a:xfrm>
            <a:off x="825500" y="3987800"/>
            <a:ext cx="2133600" cy="55399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EB1608D0-4D45-483F-9512-4F942158ADEF}"/>
              </a:ext>
            </a:extLst>
          </p:cNvPr>
          <p:cNvSpPr>
            <a:spLocks noGrp="1"/>
          </p:cNvSpPr>
          <p:nvPr>
            <p:ph sz="quarter" idx="13"/>
          </p:nvPr>
        </p:nvSpPr>
        <p:spPr>
          <a:xfrm>
            <a:off x="825500" y="4823884"/>
            <a:ext cx="2133600" cy="553998"/>
          </a:xfrm>
        </p:spPr>
        <p:txBody>
          <a:bodyPr/>
          <a:lstStyle>
            <a:lvl1pPr marL="0" indent="0">
              <a:buNone/>
              <a:defRPr/>
            </a:lvl1pPr>
          </a:lstStyle>
          <a:p>
            <a:pPr lvl="0"/>
            <a:endParaRPr lang="en-US" dirty="0"/>
          </a:p>
        </p:txBody>
      </p:sp>
      <p:sp>
        <p:nvSpPr>
          <p:cNvPr id="9" name="Content Placeholder 4">
            <a:extLst>
              <a:ext uri="{FF2B5EF4-FFF2-40B4-BE49-F238E27FC236}">
                <a16:creationId xmlns:a16="http://schemas.microsoft.com/office/drawing/2014/main" id="{9F92FAD2-DC3F-4FFF-8BAE-D8FA5BFDDA0B}"/>
              </a:ext>
            </a:extLst>
          </p:cNvPr>
          <p:cNvSpPr>
            <a:spLocks noGrp="1"/>
          </p:cNvSpPr>
          <p:nvPr>
            <p:ph sz="quarter" idx="14"/>
          </p:nvPr>
        </p:nvSpPr>
        <p:spPr>
          <a:xfrm>
            <a:off x="3441700" y="3055165"/>
            <a:ext cx="2133600" cy="553998"/>
          </a:xfrm>
        </p:spPr>
        <p:txBody>
          <a:bodyPr/>
          <a:lstStyle>
            <a:lvl1pPr marL="0" indent="0">
              <a:buNone/>
              <a:defRPr/>
            </a:lvl1pPr>
          </a:lstStyle>
          <a:p>
            <a:pPr lvl="0"/>
            <a:endParaRPr lang="en-US" dirty="0"/>
          </a:p>
        </p:txBody>
      </p:sp>
      <p:sp>
        <p:nvSpPr>
          <p:cNvPr id="10" name="Content Placeholder 4">
            <a:extLst>
              <a:ext uri="{FF2B5EF4-FFF2-40B4-BE49-F238E27FC236}">
                <a16:creationId xmlns:a16="http://schemas.microsoft.com/office/drawing/2014/main" id="{2013DAB4-58B4-4F8C-8CC9-DBD7F67A8EFA}"/>
              </a:ext>
            </a:extLst>
          </p:cNvPr>
          <p:cNvSpPr>
            <a:spLocks noGrp="1"/>
          </p:cNvSpPr>
          <p:nvPr>
            <p:ph sz="quarter" idx="15"/>
          </p:nvPr>
        </p:nvSpPr>
        <p:spPr>
          <a:xfrm>
            <a:off x="3441700" y="3891249"/>
            <a:ext cx="2133600" cy="553998"/>
          </a:xfrm>
        </p:spPr>
        <p:txBody>
          <a:bodyPr/>
          <a:lstStyle>
            <a:lvl1pPr marL="0" indent="0">
              <a:buNone/>
              <a:defRPr/>
            </a:lvl1pPr>
          </a:lstStyle>
          <a:p>
            <a:pPr lvl="0"/>
            <a:endParaRPr lang="en-US" dirty="0"/>
          </a:p>
        </p:txBody>
      </p:sp>
      <p:sp>
        <p:nvSpPr>
          <p:cNvPr id="11" name="Content Placeholder 4">
            <a:extLst>
              <a:ext uri="{FF2B5EF4-FFF2-40B4-BE49-F238E27FC236}">
                <a16:creationId xmlns:a16="http://schemas.microsoft.com/office/drawing/2014/main" id="{64308955-81E7-41D3-9E00-FC23E215A656}"/>
              </a:ext>
            </a:extLst>
          </p:cNvPr>
          <p:cNvSpPr>
            <a:spLocks noGrp="1"/>
          </p:cNvSpPr>
          <p:nvPr>
            <p:ph sz="quarter" idx="16"/>
          </p:nvPr>
        </p:nvSpPr>
        <p:spPr>
          <a:xfrm>
            <a:off x="6375400" y="3055165"/>
            <a:ext cx="2133600" cy="553998"/>
          </a:xfrm>
        </p:spPr>
        <p:txBody>
          <a:bodyPr/>
          <a:lstStyle>
            <a:lvl1pPr marL="0" indent="0">
              <a:buNone/>
              <a:defRPr/>
            </a:lvl1pPr>
          </a:lstStyle>
          <a:p>
            <a:pPr lvl="0"/>
            <a:endParaRPr lang="en-US" dirty="0"/>
          </a:p>
        </p:txBody>
      </p:sp>
      <p:sp>
        <p:nvSpPr>
          <p:cNvPr id="12" name="Content Placeholder 4">
            <a:extLst>
              <a:ext uri="{FF2B5EF4-FFF2-40B4-BE49-F238E27FC236}">
                <a16:creationId xmlns:a16="http://schemas.microsoft.com/office/drawing/2014/main" id="{75F35786-C498-4A60-9941-DBC74D275BC3}"/>
              </a:ext>
            </a:extLst>
          </p:cNvPr>
          <p:cNvSpPr>
            <a:spLocks noGrp="1"/>
          </p:cNvSpPr>
          <p:nvPr>
            <p:ph sz="quarter" idx="17"/>
          </p:nvPr>
        </p:nvSpPr>
        <p:spPr>
          <a:xfrm>
            <a:off x="6375400" y="3891249"/>
            <a:ext cx="2133600" cy="553998"/>
          </a:xfrm>
        </p:spPr>
        <p:txBody>
          <a:bodyPr/>
          <a:lstStyle>
            <a:lvl1pPr marL="0" indent="0">
              <a:buNone/>
              <a:defRPr/>
            </a:lvl1pPr>
          </a:lstStyle>
          <a:p>
            <a:pPr lvl="0"/>
            <a:endParaRPr lang="en-US" dirty="0"/>
          </a:p>
        </p:txBody>
      </p:sp>
      <p:sp>
        <p:nvSpPr>
          <p:cNvPr id="13" name="Content Placeholder 4">
            <a:extLst>
              <a:ext uri="{FF2B5EF4-FFF2-40B4-BE49-F238E27FC236}">
                <a16:creationId xmlns:a16="http://schemas.microsoft.com/office/drawing/2014/main" id="{A48CCC5B-18B3-43EA-9E8B-B12B28C6A1E1}"/>
              </a:ext>
            </a:extLst>
          </p:cNvPr>
          <p:cNvSpPr>
            <a:spLocks noGrp="1"/>
          </p:cNvSpPr>
          <p:nvPr>
            <p:ph sz="quarter" idx="18"/>
          </p:nvPr>
        </p:nvSpPr>
        <p:spPr>
          <a:xfrm>
            <a:off x="9017000" y="3055165"/>
            <a:ext cx="2133600" cy="553998"/>
          </a:xfrm>
        </p:spPr>
        <p:txBody>
          <a:bodyPr/>
          <a:lstStyle>
            <a:lvl1pPr marL="0" indent="0">
              <a:buNone/>
              <a:defRPr/>
            </a:lvl1pPr>
          </a:lstStyle>
          <a:p>
            <a:pPr lvl="0"/>
            <a:endParaRPr lang="en-US" dirty="0"/>
          </a:p>
        </p:txBody>
      </p:sp>
      <p:sp>
        <p:nvSpPr>
          <p:cNvPr id="14" name="Content Placeholder 4">
            <a:extLst>
              <a:ext uri="{FF2B5EF4-FFF2-40B4-BE49-F238E27FC236}">
                <a16:creationId xmlns:a16="http://schemas.microsoft.com/office/drawing/2014/main" id="{ED127AAA-BE00-4657-AD9E-FC2C86C1C2C2}"/>
              </a:ext>
            </a:extLst>
          </p:cNvPr>
          <p:cNvSpPr>
            <a:spLocks noGrp="1"/>
          </p:cNvSpPr>
          <p:nvPr>
            <p:ph sz="quarter" idx="19"/>
          </p:nvPr>
        </p:nvSpPr>
        <p:spPr>
          <a:xfrm>
            <a:off x="9017000" y="3891249"/>
            <a:ext cx="21336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4246237269"/>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4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44CD971F-4406-47BE-A628-45688CD3AD42}"/>
              </a:ext>
            </a:extLst>
          </p:cNvPr>
          <p:cNvSpPr>
            <a:spLocks noGrp="1"/>
          </p:cNvSpPr>
          <p:nvPr>
            <p:ph sz="quarter" idx="11"/>
          </p:nvPr>
        </p:nvSpPr>
        <p:spPr>
          <a:xfrm>
            <a:off x="269239" y="2551194"/>
            <a:ext cx="2888095" cy="56038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4B79B657-78DD-4296-9608-C7332D35D6A9}"/>
              </a:ext>
            </a:extLst>
          </p:cNvPr>
          <p:cNvSpPr>
            <a:spLocks noGrp="1"/>
          </p:cNvSpPr>
          <p:nvPr>
            <p:ph sz="quarter" idx="12"/>
          </p:nvPr>
        </p:nvSpPr>
        <p:spPr>
          <a:xfrm>
            <a:off x="269239" y="3401895"/>
            <a:ext cx="2888095" cy="56038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86A79FDE-EF43-4F75-907C-D38637C62F09}"/>
              </a:ext>
            </a:extLst>
          </p:cNvPr>
          <p:cNvSpPr>
            <a:spLocks noGrp="1"/>
          </p:cNvSpPr>
          <p:nvPr>
            <p:ph sz="quarter" idx="13"/>
          </p:nvPr>
        </p:nvSpPr>
        <p:spPr>
          <a:xfrm>
            <a:off x="172257" y="4127148"/>
            <a:ext cx="2888095" cy="560388"/>
          </a:xfrm>
        </p:spPr>
        <p:txBody>
          <a:bodyPr/>
          <a:lstStyle>
            <a:lvl1pPr marL="0" indent="0">
              <a:buNone/>
              <a:defRPr/>
            </a:lvl1pPr>
          </a:lstStyle>
          <a:p>
            <a:pPr lvl="0"/>
            <a:endParaRPr lang="en-US" dirty="0"/>
          </a:p>
        </p:txBody>
      </p:sp>
      <p:sp>
        <p:nvSpPr>
          <p:cNvPr id="9" name="Content Placeholder 4">
            <a:extLst>
              <a:ext uri="{FF2B5EF4-FFF2-40B4-BE49-F238E27FC236}">
                <a16:creationId xmlns:a16="http://schemas.microsoft.com/office/drawing/2014/main" id="{4C3A9C72-963E-4F7F-A8DB-DA68C5F9E346}"/>
              </a:ext>
            </a:extLst>
          </p:cNvPr>
          <p:cNvSpPr>
            <a:spLocks noGrp="1"/>
          </p:cNvSpPr>
          <p:nvPr>
            <p:ph sz="quarter" idx="14"/>
          </p:nvPr>
        </p:nvSpPr>
        <p:spPr>
          <a:xfrm>
            <a:off x="172257" y="4977849"/>
            <a:ext cx="2888095" cy="560388"/>
          </a:xfrm>
        </p:spPr>
        <p:txBody>
          <a:bodyPr/>
          <a:lstStyle>
            <a:lvl1pPr marL="0" indent="0">
              <a:buNone/>
              <a:defRPr/>
            </a:lvl1pPr>
          </a:lstStyle>
          <a:p>
            <a:pPr lvl="0"/>
            <a:endParaRPr lang="en-US" dirty="0"/>
          </a:p>
        </p:txBody>
      </p:sp>
      <p:sp>
        <p:nvSpPr>
          <p:cNvPr id="10" name="Content Placeholder 4">
            <a:extLst>
              <a:ext uri="{FF2B5EF4-FFF2-40B4-BE49-F238E27FC236}">
                <a16:creationId xmlns:a16="http://schemas.microsoft.com/office/drawing/2014/main" id="{F6D920C3-DB9F-4307-B6B9-BBA04809EF34}"/>
              </a:ext>
            </a:extLst>
          </p:cNvPr>
          <p:cNvSpPr>
            <a:spLocks noGrp="1"/>
          </p:cNvSpPr>
          <p:nvPr>
            <p:ph sz="quarter" idx="15"/>
          </p:nvPr>
        </p:nvSpPr>
        <p:spPr>
          <a:xfrm>
            <a:off x="3684384" y="2533683"/>
            <a:ext cx="2888095" cy="560388"/>
          </a:xfrm>
        </p:spPr>
        <p:txBody>
          <a:bodyPr/>
          <a:lstStyle>
            <a:lvl1pPr marL="0" indent="0">
              <a:buNone/>
              <a:defRPr/>
            </a:lvl1pPr>
          </a:lstStyle>
          <a:p>
            <a:pPr lvl="0"/>
            <a:endParaRPr lang="en-US" dirty="0"/>
          </a:p>
        </p:txBody>
      </p:sp>
      <p:sp>
        <p:nvSpPr>
          <p:cNvPr id="11" name="Content Placeholder 4">
            <a:extLst>
              <a:ext uri="{FF2B5EF4-FFF2-40B4-BE49-F238E27FC236}">
                <a16:creationId xmlns:a16="http://schemas.microsoft.com/office/drawing/2014/main" id="{E039D167-D4D8-488F-9CCA-EF3037BFC3DA}"/>
              </a:ext>
            </a:extLst>
          </p:cNvPr>
          <p:cNvSpPr>
            <a:spLocks noGrp="1"/>
          </p:cNvSpPr>
          <p:nvPr>
            <p:ph sz="quarter" idx="16"/>
          </p:nvPr>
        </p:nvSpPr>
        <p:spPr>
          <a:xfrm>
            <a:off x="3684384" y="3384384"/>
            <a:ext cx="2888095" cy="560388"/>
          </a:xfrm>
        </p:spPr>
        <p:txBody>
          <a:bodyPr/>
          <a:lstStyle>
            <a:lvl1pPr marL="0" indent="0">
              <a:buNone/>
              <a:defRPr/>
            </a:lvl1pPr>
          </a:lstStyle>
          <a:p>
            <a:pPr lvl="0"/>
            <a:endParaRPr lang="en-US" dirty="0"/>
          </a:p>
        </p:txBody>
      </p:sp>
      <p:sp>
        <p:nvSpPr>
          <p:cNvPr id="12" name="Content Placeholder 4">
            <a:extLst>
              <a:ext uri="{FF2B5EF4-FFF2-40B4-BE49-F238E27FC236}">
                <a16:creationId xmlns:a16="http://schemas.microsoft.com/office/drawing/2014/main" id="{ADB825E8-5364-4C56-9FA3-D2479E1D8BB9}"/>
              </a:ext>
            </a:extLst>
          </p:cNvPr>
          <p:cNvSpPr>
            <a:spLocks noGrp="1"/>
          </p:cNvSpPr>
          <p:nvPr>
            <p:ph sz="quarter" idx="17"/>
          </p:nvPr>
        </p:nvSpPr>
        <p:spPr>
          <a:xfrm>
            <a:off x="3587402" y="4109637"/>
            <a:ext cx="2888095" cy="560388"/>
          </a:xfrm>
        </p:spPr>
        <p:txBody>
          <a:bodyPr/>
          <a:lstStyle>
            <a:lvl1pPr marL="0" indent="0">
              <a:buNone/>
              <a:defRPr/>
            </a:lvl1pPr>
          </a:lstStyle>
          <a:p>
            <a:pPr lvl="0"/>
            <a:endParaRPr lang="en-US" dirty="0"/>
          </a:p>
        </p:txBody>
      </p:sp>
      <p:sp>
        <p:nvSpPr>
          <p:cNvPr id="13" name="Content Placeholder 4">
            <a:extLst>
              <a:ext uri="{FF2B5EF4-FFF2-40B4-BE49-F238E27FC236}">
                <a16:creationId xmlns:a16="http://schemas.microsoft.com/office/drawing/2014/main" id="{27ACE704-AFCC-4017-BFC2-C3767824BB80}"/>
              </a:ext>
            </a:extLst>
          </p:cNvPr>
          <p:cNvSpPr>
            <a:spLocks noGrp="1"/>
          </p:cNvSpPr>
          <p:nvPr>
            <p:ph sz="quarter" idx="18"/>
          </p:nvPr>
        </p:nvSpPr>
        <p:spPr>
          <a:xfrm>
            <a:off x="3587402" y="4960338"/>
            <a:ext cx="2888095" cy="56038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328001106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57622662-7806-4603-96E5-331583839643}"/>
              </a:ext>
            </a:extLst>
          </p:cNvPr>
          <p:cNvSpPr>
            <a:spLocks noGrp="1"/>
          </p:cNvSpPr>
          <p:nvPr>
            <p:ph sz="quarter" idx="11"/>
          </p:nvPr>
        </p:nvSpPr>
        <p:spPr>
          <a:xfrm>
            <a:off x="436563" y="2835275"/>
            <a:ext cx="5897562" cy="55399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9D469558-B03B-4AED-8B20-F3ED32FAD439}"/>
              </a:ext>
            </a:extLst>
          </p:cNvPr>
          <p:cNvSpPr>
            <a:spLocks noGrp="1"/>
          </p:cNvSpPr>
          <p:nvPr>
            <p:ph sz="quarter" idx="12"/>
          </p:nvPr>
        </p:nvSpPr>
        <p:spPr>
          <a:xfrm>
            <a:off x="436563" y="3766776"/>
            <a:ext cx="5897562" cy="55399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04E17DD8-FF0B-4D69-BFC0-80FA3F17D9D5}"/>
              </a:ext>
            </a:extLst>
          </p:cNvPr>
          <p:cNvSpPr>
            <a:spLocks noGrp="1"/>
          </p:cNvSpPr>
          <p:nvPr>
            <p:ph sz="quarter" idx="13"/>
          </p:nvPr>
        </p:nvSpPr>
        <p:spPr>
          <a:xfrm>
            <a:off x="436563" y="4666441"/>
            <a:ext cx="5897562"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3082910165"/>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2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CD4B7B34-F41B-47C1-8656-69556262D247}"/>
              </a:ext>
            </a:extLst>
          </p:cNvPr>
          <p:cNvSpPr>
            <a:spLocks noGrp="1"/>
          </p:cNvSpPr>
          <p:nvPr>
            <p:ph sz="quarter" idx="11"/>
          </p:nvPr>
        </p:nvSpPr>
        <p:spPr>
          <a:xfrm>
            <a:off x="269876" y="2690812"/>
            <a:ext cx="4249116" cy="55399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2433280E-000A-42BD-B15E-6E08F21FC699}"/>
              </a:ext>
            </a:extLst>
          </p:cNvPr>
          <p:cNvSpPr>
            <a:spLocks noGrp="1"/>
          </p:cNvSpPr>
          <p:nvPr>
            <p:ph sz="quarter" idx="12"/>
          </p:nvPr>
        </p:nvSpPr>
        <p:spPr>
          <a:xfrm>
            <a:off x="269876" y="3658111"/>
            <a:ext cx="4249116"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84310885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982417967"/>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0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68140616-724C-4938-B97A-6A3AF6C165C8}"/>
              </a:ext>
            </a:extLst>
          </p:cNvPr>
          <p:cNvSpPr>
            <a:spLocks noGrp="1"/>
          </p:cNvSpPr>
          <p:nvPr>
            <p:ph sz="quarter" idx="11"/>
          </p:nvPr>
        </p:nvSpPr>
        <p:spPr>
          <a:xfrm>
            <a:off x="658813" y="3803650"/>
            <a:ext cx="6242050" cy="553998"/>
          </a:xfrm>
        </p:spPr>
        <p:txBody>
          <a:bodyPr/>
          <a:lstStyle>
            <a:lvl1pPr marL="0" indent="0">
              <a:buNone/>
              <a:defRPr/>
            </a:lvl1pPr>
          </a:lstStyle>
          <a:p>
            <a:pPr lvl="0"/>
            <a:endParaRPr lang="en-US" dirty="0"/>
          </a:p>
        </p:txBody>
      </p:sp>
      <p:graphicFrame>
        <p:nvGraphicFramePr>
          <p:cNvPr id="7" name="Table 6">
            <a:extLst>
              <a:ext uri="{FF2B5EF4-FFF2-40B4-BE49-F238E27FC236}">
                <a16:creationId xmlns:a16="http://schemas.microsoft.com/office/drawing/2014/main" id="{93A39143-0AD7-4B53-89D3-ABFF5C387825}"/>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567959700"/>
              </p:ext>
            </p:extLst>
          </p:nvPr>
        </p:nvGraphicFramePr>
        <p:xfrm>
          <a:off x="6703292" y="4377916"/>
          <a:ext cx="5059218" cy="2011680"/>
        </p:xfrm>
        <a:graphic>
          <a:graphicData uri="http://schemas.openxmlformats.org/drawingml/2006/table">
            <a:tbl>
              <a:tblPr firstRow="1" bandRow="1">
                <a:tableStyleId>{5940675A-B579-460E-94D1-54222C63F5DA}</a:tableStyleId>
              </a:tblPr>
              <a:tblGrid>
                <a:gridCol w="671510">
                  <a:extLst>
                    <a:ext uri="{9D8B030D-6E8A-4147-A177-3AD203B41FA5}">
                      <a16:colId xmlns:a16="http://schemas.microsoft.com/office/drawing/2014/main" val="2670246503"/>
                    </a:ext>
                  </a:extLst>
                </a:gridCol>
                <a:gridCol w="772203">
                  <a:extLst>
                    <a:ext uri="{9D8B030D-6E8A-4147-A177-3AD203B41FA5}">
                      <a16:colId xmlns:a16="http://schemas.microsoft.com/office/drawing/2014/main" val="2840900199"/>
                    </a:ext>
                  </a:extLst>
                </a:gridCol>
                <a:gridCol w="872842">
                  <a:extLst>
                    <a:ext uri="{9D8B030D-6E8A-4147-A177-3AD203B41FA5}">
                      <a16:colId xmlns:a16="http://schemas.microsoft.com/office/drawing/2014/main" val="1650129827"/>
                    </a:ext>
                  </a:extLst>
                </a:gridCol>
                <a:gridCol w="845286">
                  <a:extLst>
                    <a:ext uri="{9D8B030D-6E8A-4147-A177-3AD203B41FA5}">
                      <a16:colId xmlns:a16="http://schemas.microsoft.com/office/drawing/2014/main" val="950206156"/>
                    </a:ext>
                  </a:extLst>
                </a:gridCol>
                <a:gridCol w="592510">
                  <a:extLst>
                    <a:ext uri="{9D8B030D-6E8A-4147-A177-3AD203B41FA5}">
                      <a16:colId xmlns:a16="http://schemas.microsoft.com/office/drawing/2014/main" val="3466473001"/>
                    </a:ext>
                  </a:extLst>
                </a:gridCol>
                <a:gridCol w="670386">
                  <a:extLst>
                    <a:ext uri="{9D8B030D-6E8A-4147-A177-3AD203B41FA5}">
                      <a16:colId xmlns:a16="http://schemas.microsoft.com/office/drawing/2014/main" val="2620842981"/>
                    </a:ext>
                  </a:extLst>
                </a:gridCol>
                <a:gridCol w="634481">
                  <a:extLst>
                    <a:ext uri="{9D8B030D-6E8A-4147-A177-3AD203B41FA5}">
                      <a16:colId xmlns:a16="http://schemas.microsoft.com/office/drawing/2014/main" val="4196825317"/>
                    </a:ext>
                  </a:extLst>
                </a:gridCol>
              </a:tblGrid>
              <a:tr h="365760">
                <a:tc>
                  <a:txBody>
                    <a:bodyPr/>
                    <a:lstStyle/>
                    <a:p>
                      <a:endParaRPr lang="en-US" sz="900" dirty="0">
                        <a:solidFill>
                          <a:srgbClr val="F3F3F3"/>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endParaRPr lang="en-US" sz="900" dirty="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endParaRPr lang="en-US" sz="90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endParaRPr lang="en-US" sz="900" dirty="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endParaRPr lang="en-US" sz="90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endParaRPr lang="en-US" sz="90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endParaRPr lang="en-US" sz="90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3070670819"/>
                  </a:ext>
                </a:extLst>
              </a:tr>
              <a:tr h="365760">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50616045"/>
                  </a:ext>
                </a:extLst>
              </a:tr>
              <a:tr h="502920">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355582824"/>
                  </a:ext>
                </a:extLst>
              </a:tr>
              <a:tr h="777240">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369059149"/>
                  </a:ext>
                </a:extLst>
              </a:tr>
            </a:tbl>
          </a:graphicData>
        </a:graphic>
      </p:graphicFrame>
    </p:spTree>
    <p:extLst>
      <p:ext uri="{BB962C8B-B14F-4D97-AF65-F5344CB8AC3E}">
        <p14:creationId xmlns:p14="http://schemas.microsoft.com/office/powerpoint/2010/main" val="2703838984"/>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20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7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1FABE159-8F57-44AD-9BB0-DD974D3C053A}"/>
              </a:ext>
            </a:extLst>
          </p:cNvPr>
          <p:cNvSpPr>
            <a:spLocks noGrp="1"/>
          </p:cNvSpPr>
          <p:nvPr>
            <p:ph sz="quarter" idx="11"/>
          </p:nvPr>
        </p:nvSpPr>
        <p:spPr>
          <a:xfrm>
            <a:off x="406400" y="2940286"/>
            <a:ext cx="4927600" cy="55399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9D904183-877A-4DD7-AA68-67F9F878A223}"/>
              </a:ext>
            </a:extLst>
          </p:cNvPr>
          <p:cNvSpPr>
            <a:spLocks noGrp="1"/>
          </p:cNvSpPr>
          <p:nvPr>
            <p:ph sz="quarter" idx="12"/>
          </p:nvPr>
        </p:nvSpPr>
        <p:spPr>
          <a:xfrm>
            <a:off x="406400" y="3718668"/>
            <a:ext cx="49276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50544120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5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469984"/>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39"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
        <p:nvSpPr>
          <p:cNvPr id="5" name="Content Placeholder 4">
            <a:extLst>
              <a:ext uri="{FF2B5EF4-FFF2-40B4-BE49-F238E27FC236}">
                <a16:creationId xmlns:a16="http://schemas.microsoft.com/office/drawing/2014/main" id="{5277C98D-E47D-4BA8-960A-1FCC7397467A}"/>
              </a:ext>
            </a:extLst>
          </p:cNvPr>
          <p:cNvSpPr>
            <a:spLocks noGrp="1"/>
          </p:cNvSpPr>
          <p:nvPr>
            <p:ph sz="quarter" idx="11"/>
          </p:nvPr>
        </p:nvSpPr>
        <p:spPr>
          <a:xfrm>
            <a:off x="560388" y="3429000"/>
            <a:ext cx="4779962" cy="553998"/>
          </a:xfrm>
        </p:spPr>
        <p:txBody>
          <a:bodyPr/>
          <a:lstStyle>
            <a:lvl1pPr marL="0" indent="0">
              <a:buNone/>
              <a:defRPr/>
            </a:lvl1pPr>
          </a:lstStyle>
          <a:p>
            <a:pPr lvl="0"/>
            <a:endParaRPr lang="en-US" dirty="0"/>
          </a:p>
        </p:txBody>
      </p:sp>
      <p:graphicFrame>
        <p:nvGraphicFramePr>
          <p:cNvPr id="8" name="Table 7">
            <a:extLst>
              <a:ext uri="{FF2B5EF4-FFF2-40B4-BE49-F238E27FC236}">
                <a16:creationId xmlns:a16="http://schemas.microsoft.com/office/drawing/2014/main" id="{D1107911-17E4-4617-9E37-4B88AF7613F4}"/>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976984729"/>
              </p:ext>
            </p:extLst>
          </p:nvPr>
        </p:nvGraphicFramePr>
        <p:xfrm>
          <a:off x="6703292" y="4377916"/>
          <a:ext cx="5059218" cy="2011680"/>
        </p:xfrm>
        <a:graphic>
          <a:graphicData uri="http://schemas.openxmlformats.org/drawingml/2006/table">
            <a:tbl>
              <a:tblPr bandRow="1">
                <a:tableStyleId>{5940675A-B579-460E-94D1-54222C63F5DA}</a:tableStyleId>
              </a:tblPr>
              <a:tblGrid>
                <a:gridCol w="671510">
                  <a:extLst>
                    <a:ext uri="{9D8B030D-6E8A-4147-A177-3AD203B41FA5}">
                      <a16:colId xmlns:a16="http://schemas.microsoft.com/office/drawing/2014/main" val="2670246503"/>
                    </a:ext>
                  </a:extLst>
                </a:gridCol>
                <a:gridCol w="772203">
                  <a:extLst>
                    <a:ext uri="{9D8B030D-6E8A-4147-A177-3AD203B41FA5}">
                      <a16:colId xmlns:a16="http://schemas.microsoft.com/office/drawing/2014/main" val="2840900199"/>
                    </a:ext>
                  </a:extLst>
                </a:gridCol>
                <a:gridCol w="872842">
                  <a:extLst>
                    <a:ext uri="{9D8B030D-6E8A-4147-A177-3AD203B41FA5}">
                      <a16:colId xmlns:a16="http://schemas.microsoft.com/office/drawing/2014/main" val="1650129827"/>
                    </a:ext>
                  </a:extLst>
                </a:gridCol>
                <a:gridCol w="845286">
                  <a:extLst>
                    <a:ext uri="{9D8B030D-6E8A-4147-A177-3AD203B41FA5}">
                      <a16:colId xmlns:a16="http://schemas.microsoft.com/office/drawing/2014/main" val="950206156"/>
                    </a:ext>
                  </a:extLst>
                </a:gridCol>
                <a:gridCol w="592510">
                  <a:extLst>
                    <a:ext uri="{9D8B030D-6E8A-4147-A177-3AD203B41FA5}">
                      <a16:colId xmlns:a16="http://schemas.microsoft.com/office/drawing/2014/main" val="3466473001"/>
                    </a:ext>
                  </a:extLst>
                </a:gridCol>
                <a:gridCol w="670386">
                  <a:extLst>
                    <a:ext uri="{9D8B030D-6E8A-4147-A177-3AD203B41FA5}">
                      <a16:colId xmlns:a16="http://schemas.microsoft.com/office/drawing/2014/main" val="2620842981"/>
                    </a:ext>
                  </a:extLst>
                </a:gridCol>
                <a:gridCol w="634481">
                  <a:extLst>
                    <a:ext uri="{9D8B030D-6E8A-4147-A177-3AD203B41FA5}">
                      <a16:colId xmlns:a16="http://schemas.microsoft.com/office/drawing/2014/main" val="4196825317"/>
                    </a:ext>
                  </a:extLst>
                </a:gridCol>
              </a:tblGrid>
              <a:tr h="365760">
                <a:tc>
                  <a:txBody>
                    <a:bodyPr/>
                    <a:lstStyle/>
                    <a:p>
                      <a:endParaRPr lang="en-US" sz="900" dirty="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78D7"/>
                    </a:solidFill>
                  </a:tcPr>
                </a:tc>
                <a:tc>
                  <a:txBody>
                    <a:bodyPr/>
                    <a:lstStyle/>
                    <a:p>
                      <a:endParaRPr lang="en-US" sz="900" dirty="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endParaRPr lang="en-US" sz="900" dirty="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endParaRPr lang="en-US" sz="900" dirty="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endParaRPr lang="en-US" sz="900" dirty="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endParaRPr lang="en-US" sz="900" dirty="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endParaRPr lang="en-US" sz="900" dirty="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3070670819"/>
                  </a:ext>
                </a:extLst>
              </a:tr>
              <a:tr h="365760">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50616045"/>
                  </a:ext>
                </a:extLst>
              </a:tr>
              <a:tr h="502920">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355582824"/>
                  </a:ext>
                </a:extLst>
              </a:tr>
              <a:tr h="777240">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sz="9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369059149"/>
                  </a:ext>
                </a:extLst>
              </a:tr>
            </a:tbl>
          </a:graphicData>
        </a:graphic>
      </p:graphicFrame>
    </p:spTree>
    <p:extLst>
      <p:ext uri="{BB962C8B-B14F-4D97-AF65-F5344CB8AC3E}">
        <p14:creationId xmlns:p14="http://schemas.microsoft.com/office/powerpoint/2010/main" val="4220078730"/>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20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2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32828557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57091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
        <p:nvSpPr>
          <p:cNvPr id="6" name="Pentagon 684">
            <a:extLst>
              <a:ext uri="{C183D7F6-B498-43B3-948B-1728B52AA6E4}">
                <adec:decorative xmlns:adec="http://schemas.microsoft.com/office/drawing/2017/decorative" val="1"/>
              </a:ext>
            </a:extLst>
          </p:cNvPr>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780863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Pentagon 684">
            <a:extLst>
              <a:ext uri="{C183D7F6-B498-43B3-948B-1728B52AA6E4}">
                <adec:decorative xmlns:adec="http://schemas.microsoft.com/office/drawing/2017/decorative" val="1"/>
              </a:ext>
            </a:extLst>
          </p:cNvPr>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
        <p:nvSpPr>
          <p:cNvPr id="4" name="Content Placeholder 3">
            <a:extLst>
              <a:ext uri="{FF2B5EF4-FFF2-40B4-BE49-F238E27FC236}">
                <a16:creationId xmlns:a16="http://schemas.microsoft.com/office/drawing/2014/main" id="{0729CC6B-D75D-4667-9683-764BA8FE376C}"/>
              </a:ext>
            </a:extLst>
          </p:cNvPr>
          <p:cNvSpPr>
            <a:spLocks noGrp="1"/>
          </p:cNvSpPr>
          <p:nvPr>
            <p:ph sz="quarter" idx="10"/>
          </p:nvPr>
        </p:nvSpPr>
        <p:spPr>
          <a:xfrm>
            <a:off x="6192838" y="1195388"/>
            <a:ext cx="5230812" cy="553998"/>
          </a:xfrm>
        </p:spPr>
        <p:txBody>
          <a:bodyPr/>
          <a:lstStyle>
            <a:lvl1pPr marL="0" indent="0">
              <a:buNone/>
              <a:defRPr/>
            </a:lvl1pPr>
          </a:lstStyle>
          <a:p>
            <a:pPr lvl="0"/>
            <a:endParaRPr lang="en-US" dirty="0"/>
          </a:p>
        </p:txBody>
      </p:sp>
      <p:sp>
        <p:nvSpPr>
          <p:cNvPr id="7" name="Content Placeholder 3">
            <a:extLst>
              <a:ext uri="{FF2B5EF4-FFF2-40B4-BE49-F238E27FC236}">
                <a16:creationId xmlns:a16="http://schemas.microsoft.com/office/drawing/2014/main" id="{E6B6AFB9-EE87-4174-805A-90C6C3697326}"/>
              </a:ext>
            </a:extLst>
          </p:cNvPr>
          <p:cNvSpPr>
            <a:spLocks noGrp="1"/>
          </p:cNvSpPr>
          <p:nvPr>
            <p:ph sz="quarter" idx="11"/>
          </p:nvPr>
        </p:nvSpPr>
        <p:spPr>
          <a:xfrm>
            <a:off x="6192838" y="2029636"/>
            <a:ext cx="5230812"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56572164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3989" y="1995715"/>
            <a:ext cx="4147828" cy="2866570"/>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
        <p:nvSpPr>
          <p:cNvPr id="6" name="Pentagon 684">
            <a:extLst>
              <a:ext uri="{C183D7F6-B498-43B3-948B-1728B52AA6E4}">
                <adec:decorative xmlns:adec="http://schemas.microsoft.com/office/drawing/2017/decorative" val="1"/>
              </a:ext>
            </a:extLst>
          </p:cNvPr>
          <p:cNvSpPr/>
          <p:nvPr userDrawn="1"/>
        </p:nvSpPr>
        <p:spPr>
          <a:xfrm>
            <a:off x="1" y="0"/>
            <a:ext cx="5347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2CB469AD-1E64-4345-AB2E-15D6C9802DCB}"/>
              </a:ext>
            </a:extLst>
          </p:cNvPr>
          <p:cNvSpPr>
            <a:spLocks noGrp="1"/>
          </p:cNvSpPr>
          <p:nvPr>
            <p:ph sz="quarter" idx="10"/>
          </p:nvPr>
        </p:nvSpPr>
        <p:spPr>
          <a:xfrm>
            <a:off x="6192838" y="695325"/>
            <a:ext cx="5133975" cy="553998"/>
          </a:xfrm>
        </p:spPr>
        <p:txBody>
          <a:bodyPr/>
          <a:lstStyle>
            <a:lvl1pPr marL="0" indent="0">
              <a:buNone/>
              <a:defRPr/>
            </a:lvl1pPr>
          </a:lstStyle>
          <a:p>
            <a:pPr lvl="0"/>
            <a:endParaRPr lang="en-US" dirty="0"/>
          </a:p>
        </p:txBody>
      </p:sp>
      <p:sp>
        <p:nvSpPr>
          <p:cNvPr id="7" name="Content Placeholder 3">
            <a:extLst>
              <a:ext uri="{FF2B5EF4-FFF2-40B4-BE49-F238E27FC236}">
                <a16:creationId xmlns:a16="http://schemas.microsoft.com/office/drawing/2014/main" id="{246CFA93-2CDF-472B-9EB4-13A440826682}"/>
              </a:ext>
            </a:extLst>
          </p:cNvPr>
          <p:cNvSpPr>
            <a:spLocks noGrp="1"/>
          </p:cNvSpPr>
          <p:nvPr>
            <p:ph sz="quarter" idx="11"/>
          </p:nvPr>
        </p:nvSpPr>
        <p:spPr>
          <a:xfrm>
            <a:off x="6192838" y="1578150"/>
            <a:ext cx="5133975"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556365612"/>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
        <p:nvSpPr>
          <p:cNvPr id="9" name="Text Placeholder 8"/>
          <p:cNvSpPr>
            <a:spLocks noGrp="1"/>
          </p:cNvSpPr>
          <p:nvPr>
            <p:ph type="body" sz="quarter" idx="10"/>
          </p:nvPr>
        </p:nvSpPr>
        <p:spPr>
          <a:xfrm>
            <a:off x="269240" y="1591728"/>
            <a:ext cx="5265119" cy="4743757"/>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 uri="{C183D7F6-B498-43B3-948B-1728B52AA6E4}">
                <adec:decorative xmlns:adec="http://schemas.microsoft.com/office/drawing/2017/decorative" val="1"/>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88836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9_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1591728"/>
            <a:ext cx="5265119" cy="4743757"/>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 uri="{C183D7F6-B498-43B3-948B-1728B52AA6E4}">
                <adec:decorative xmlns:adec="http://schemas.microsoft.com/office/drawing/2017/decorative" val="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
        <p:nvSpPr>
          <p:cNvPr id="3" name="Content Placeholder 2">
            <a:extLst>
              <a:ext uri="{FF2B5EF4-FFF2-40B4-BE49-F238E27FC236}">
                <a16:creationId xmlns:a16="http://schemas.microsoft.com/office/drawing/2014/main" id="{C096A49D-5206-47FF-BFF2-C88BB0C783EB}"/>
              </a:ext>
            </a:extLst>
          </p:cNvPr>
          <p:cNvSpPr>
            <a:spLocks noGrp="1"/>
          </p:cNvSpPr>
          <p:nvPr>
            <p:ph sz="quarter" idx="11"/>
          </p:nvPr>
        </p:nvSpPr>
        <p:spPr>
          <a:xfrm>
            <a:off x="6827838" y="1695450"/>
            <a:ext cx="455930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7421415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8_Case study">
    <p:bg>
      <p:bgRef idx="1001">
        <a:schemeClr val="bg1"/>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
        <p:nvSpPr>
          <p:cNvPr id="9" name="Text Placeholder 8"/>
          <p:cNvSpPr>
            <a:spLocks noGrp="1"/>
          </p:cNvSpPr>
          <p:nvPr>
            <p:ph type="body" sz="quarter" idx="10"/>
          </p:nvPr>
        </p:nvSpPr>
        <p:spPr>
          <a:xfrm>
            <a:off x="269240" y="1591728"/>
            <a:ext cx="5265119" cy="4743757"/>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 uri="{C183D7F6-B498-43B3-948B-1728B52AA6E4}">
                <adec:decorative xmlns:adec="http://schemas.microsoft.com/office/drawing/2017/decorative" val="1"/>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EF0B1AD-4780-4A57-AB14-80023D89F4F5}"/>
              </a:ext>
            </a:extLst>
          </p:cNvPr>
          <p:cNvSpPr>
            <a:spLocks noGrp="1"/>
          </p:cNvSpPr>
          <p:nvPr>
            <p:ph sz="quarter" idx="11"/>
          </p:nvPr>
        </p:nvSpPr>
        <p:spPr>
          <a:xfrm>
            <a:off x="6718300" y="1755775"/>
            <a:ext cx="4157663"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569727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7_Case study">
    <p:bg>
      <p:bgRef idx="1001">
        <a:schemeClr val="bg1"/>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
        <p:nvSpPr>
          <p:cNvPr id="9" name="Text Placeholder 8"/>
          <p:cNvSpPr>
            <a:spLocks noGrp="1"/>
          </p:cNvSpPr>
          <p:nvPr>
            <p:ph type="body" sz="quarter" idx="10"/>
          </p:nvPr>
        </p:nvSpPr>
        <p:spPr>
          <a:xfrm>
            <a:off x="269240" y="1591728"/>
            <a:ext cx="5265119" cy="4743757"/>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 uri="{C183D7F6-B498-43B3-948B-1728B52AA6E4}">
                <adec:decorative xmlns:adec="http://schemas.microsoft.com/office/drawing/2017/decorative" val="1"/>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58E5E94-95E9-4D39-9ADE-E95970664C8A}"/>
              </a:ext>
            </a:extLst>
          </p:cNvPr>
          <p:cNvSpPr>
            <a:spLocks noGrp="1"/>
          </p:cNvSpPr>
          <p:nvPr>
            <p:ph sz="quarter" idx="11"/>
          </p:nvPr>
        </p:nvSpPr>
        <p:spPr>
          <a:xfrm>
            <a:off x="6688138" y="1592263"/>
            <a:ext cx="4560887"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3911240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6_Case study">
    <p:bg>
      <p:bgRef idx="1001">
        <a:schemeClr val="bg1"/>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
        <p:nvSpPr>
          <p:cNvPr id="9" name="Text Placeholder 8"/>
          <p:cNvSpPr>
            <a:spLocks noGrp="1"/>
          </p:cNvSpPr>
          <p:nvPr>
            <p:ph type="body" sz="quarter" idx="10"/>
          </p:nvPr>
        </p:nvSpPr>
        <p:spPr>
          <a:xfrm>
            <a:off x="269240" y="1591728"/>
            <a:ext cx="5265119" cy="4743757"/>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 uri="{C183D7F6-B498-43B3-948B-1728B52AA6E4}">
                <adec:decorative xmlns:adec="http://schemas.microsoft.com/office/drawing/2017/decorative" val="1"/>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70EA608-2BAD-407E-A40F-B5913A7480CB}"/>
              </a:ext>
            </a:extLst>
          </p:cNvPr>
          <p:cNvSpPr>
            <a:spLocks noGrp="1"/>
          </p:cNvSpPr>
          <p:nvPr>
            <p:ph sz="quarter" idx="11"/>
          </p:nvPr>
        </p:nvSpPr>
        <p:spPr>
          <a:xfrm>
            <a:off x="304800" y="6388100"/>
            <a:ext cx="4826000" cy="393700"/>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8627055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5_Case study">
    <p:bg>
      <p:bgRef idx="1001">
        <a:schemeClr val="bg1"/>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
        <p:nvSpPr>
          <p:cNvPr id="9" name="Text Placeholder 8"/>
          <p:cNvSpPr>
            <a:spLocks noGrp="1"/>
          </p:cNvSpPr>
          <p:nvPr>
            <p:ph type="body" sz="quarter" idx="10"/>
          </p:nvPr>
        </p:nvSpPr>
        <p:spPr>
          <a:xfrm>
            <a:off x="269240" y="1591728"/>
            <a:ext cx="5265119" cy="4743757"/>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a:extLst>
              <a:ext uri="{FF2B5EF4-FFF2-40B4-BE49-F238E27FC236}">
                <a16:creationId xmlns:a16="http://schemas.microsoft.com/office/drawing/2014/main" id="{21FF6CF7-0DB2-4364-8FA3-3A31E5E043FC}"/>
              </a:ext>
            </a:extLst>
          </p:cNvPr>
          <p:cNvSpPr>
            <a:spLocks noGrp="1"/>
          </p:cNvSpPr>
          <p:nvPr>
            <p:ph sz="quarter" idx="11"/>
          </p:nvPr>
        </p:nvSpPr>
        <p:spPr>
          <a:xfrm>
            <a:off x="269875" y="6335713"/>
            <a:ext cx="4313238" cy="446087"/>
          </a:xfrm>
        </p:spPr>
        <p:txBody>
          <a:bodyPr/>
          <a:lstStyle>
            <a:lvl1pPr marL="0" indent="0">
              <a:buNone/>
              <a:defRPr/>
            </a:lvl1pPr>
          </a:lstStyle>
          <a:p>
            <a:pPr lvl="0"/>
            <a:endParaRPr lang="en-US" dirty="0"/>
          </a:p>
        </p:txBody>
      </p:sp>
      <p:sp>
        <p:nvSpPr>
          <p:cNvPr id="4" name="Rectangle 3">
            <a:extLst>
              <a:ext uri="{FF2B5EF4-FFF2-40B4-BE49-F238E27FC236}">
                <a16:creationId xmlns:a16="http://schemas.microsoft.com/office/drawing/2014/main" id="{3D3ED6A4-84B5-4E0F-AACB-5DDD65A08580}"/>
              </a:ext>
              <a:ext uri="{C183D7F6-B498-43B3-948B-1728B52AA6E4}">
                <adec:decorative xmlns:adec="http://schemas.microsoft.com/office/drawing/2017/decorative" val="1"/>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41401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4_Case study">
    <p:bg>
      <p:bgRef idx="1001">
        <a:schemeClr val="bg1"/>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
        <p:nvSpPr>
          <p:cNvPr id="9" name="Text Placeholder 8"/>
          <p:cNvSpPr>
            <a:spLocks noGrp="1"/>
          </p:cNvSpPr>
          <p:nvPr>
            <p:ph type="body" sz="quarter" idx="10"/>
          </p:nvPr>
        </p:nvSpPr>
        <p:spPr>
          <a:xfrm>
            <a:off x="269240" y="1591729"/>
            <a:ext cx="5265119" cy="3437471"/>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endParaRPr lang="en-US" dirty="0"/>
          </a:p>
        </p:txBody>
      </p:sp>
      <p:sp>
        <p:nvSpPr>
          <p:cNvPr id="4" name="Rectangle 3">
            <a:extLst>
              <a:ext uri="{FF2B5EF4-FFF2-40B4-BE49-F238E27FC236}">
                <a16:creationId xmlns:a16="http://schemas.microsoft.com/office/drawing/2014/main" id="{3D3ED6A4-84B5-4E0F-AACB-5DDD65A08580}"/>
              </a:ext>
              <a:ext uri="{C183D7F6-B498-43B3-948B-1728B52AA6E4}">
                <adec:decorative xmlns:adec="http://schemas.microsoft.com/office/drawing/2017/decorative" val="1"/>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C75F9686-481F-42DD-A1D9-9E75DFA8D508}"/>
              </a:ext>
            </a:extLst>
          </p:cNvPr>
          <p:cNvSpPr>
            <a:spLocks noGrp="1"/>
          </p:cNvSpPr>
          <p:nvPr>
            <p:ph sz="quarter" idx="11"/>
          </p:nvPr>
        </p:nvSpPr>
        <p:spPr>
          <a:xfrm>
            <a:off x="269875" y="5511800"/>
            <a:ext cx="526415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910373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2776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3_Case study">
    <p:bg>
      <p:bgRef idx="1001">
        <a:schemeClr val="bg1"/>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976860"/>
          </a:xfrm>
        </p:spPr>
        <p:txBody>
          <a:bodyPr/>
          <a:lstStyle>
            <a:lvl1pPr algn="l">
              <a:defRPr/>
            </a:lvl1pPr>
          </a:lstStyle>
          <a:p>
            <a:r>
              <a:rPr lang="en-US"/>
              <a:t>Click to edit Master title style</a:t>
            </a:r>
          </a:p>
        </p:txBody>
      </p:sp>
      <p:sp>
        <p:nvSpPr>
          <p:cNvPr id="9" name="Text Placeholder 8"/>
          <p:cNvSpPr>
            <a:spLocks noGrp="1"/>
          </p:cNvSpPr>
          <p:nvPr>
            <p:ph type="body" sz="quarter" idx="10"/>
          </p:nvPr>
        </p:nvSpPr>
        <p:spPr>
          <a:xfrm>
            <a:off x="269240" y="1591729"/>
            <a:ext cx="5265119" cy="3606200"/>
          </a:xfrm>
        </p:spPr>
        <p:txBody>
          <a:bodyPr/>
          <a:lstStyle>
            <a:lvl1pPr marL="0" indent="0">
              <a:spcBef>
                <a:spcPts val="1200"/>
              </a:spcBef>
              <a:spcAft>
                <a:spcPts val="800"/>
              </a:spcAft>
              <a:buNone/>
              <a:defRPr sz="1800" spc="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z="1200" spc="0" baseline="0">
                <a:solidFill>
                  <a:schemeClr val="tx1"/>
                </a:solidFill>
              </a:defRPr>
            </a:lvl3pPr>
            <a:lvl4pPr marL="914400" indent="-228600" defTabSz="762000">
              <a:buClr>
                <a:schemeClr val="tx2"/>
              </a:buClr>
              <a:defRPr sz="1100" spc="0" baseline="0">
                <a:solidFill>
                  <a:schemeClr val="tx1"/>
                </a:solidFill>
              </a:defRPr>
            </a:lvl4pPr>
            <a:lvl5pPr marL="1258888" indent="-228600" defTabSz="76200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 uri="{C183D7F6-B498-43B3-948B-1728B52AA6E4}">
                <adec:decorative xmlns:adec="http://schemas.microsoft.com/office/drawing/2017/decorative" val="1"/>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39C54185-FC31-492C-A142-2CB028F48AC7}"/>
              </a:ext>
            </a:extLst>
          </p:cNvPr>
          <p:cNvSpPr>
            <a:spLocks noGrp="1"/>
          </p:cNvSpPr>
          <p:nvPr>
            <p:ph sz="quarter" idx="11"/>
          </p:nvPr>
        </p:nvSpPr>
        <p:spPr>
          <a:xfrm>
            <a:off x="269875" y="5473700"/>
            <a:ext cx="526415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8514794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56642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_Case study">
    <p:bg>
      <p:bgPr>
        <a:solidFill>
          <a:schemeClr val="tx2"/>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0" y="289511"/>
            <a:ext cx="5265119" cy="1617666"/>
          </a:xfrm>
        </p:spPr>
        <p:txBody>
          <a:bodyPr/>
          <a:lstStyle>
            <a:lvl1pPr algn="l">
              <a:defRPr>
                <a:solidFill>
                  <a:schemeClr val="bg1"/>
                </a:solidFill>
              </a:defRPr>
            </a:lvl1pPr>
          </a:lstStyle>
          <a:p>
            <a:r>
              <a:rPr lang="en-US"/>
              <a:t>Click to edit Master title style</a:t>
            </a:r>
          </a:p>
        </p:txBody>
      </p:sp>
      <p:sp>
        <p:nvSpPr>
          <p:cNvPr id="9" name="Text Placeholder 8"/>
          <p:cNvSpPr>
            <a:spLocks noGrp="1"/>
          </p:cNvSpPr>
          <p:nvPr>
            <p:ph type="body" sz="quarter" idx="10"/>
          </p:nvPr>
        </p:nvSpPr>
        <p:spPr>
          <a:xfrm>
            <a:off x="269240" y="2197702"/>
            <a:ext cx="5265119" cy="1898981"/>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a:extLst>
              <a:ext uri="{FF2B5EF4-FFF2-40B4-BE49-F238E27FC236}">
                <a16:creationId xmlns:a16="http://schemas.microsoft.com/office/drawing/2014/main" id="{3D3ED6A4-84B5-4E0F-AACB-5DDD65A08580}"/>
              </a:ext>
              <a:ext uri="{C183D7F6-B498-43B3-948B-1728B52AA6E4}">
                <adec:decorative xmlns:adec="http://schemas.microsoft.com/office/drawing/2017/decorative" val="1"/>
              </a:ext>
            </a:extLst>
          </p:cNvPr>
          <p:cNvSpPr/>
          <p:nvPr userDrawn="1"/>
        </p:nvSpPr>
        <p:spPr>
          <a:xfrm>
            <a:off x="6253842" y="1"/>
            <a:ext cx="5938157" cy="68652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13752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476008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4_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3" name="Rectangle 2">
            <a:extLst>
              <a:ext uri="{FF2B5EF4-FFF2-40B4-BE49-F238E27FC236}">
                <a16:creationId xmlns:a16="http://schemas.microsoft.com/office/drawing/2014/main" id="{C5A76C7B-04FC-4265-B6AE-C00EB1222E46}"/>
              </a:ext>
              <a:ext uri="{C183D7F6-B498-43B3-948B-1728B52AA6E4}">
                <adec:decorative xmlns:adec="http://schemas.microsoft.com/office/drawing/2017/decorative" val="1"/>
              </a:ext>
            </a:extLst>
          </p:cNvPr>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4030164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4" name="Content Placeholder 3">
            <a:extLst>
              <a:ext uri="{FF2B5EF4-FFF2-40B4-BE49-F238E27FC236}">
                <a16:creationId xmlns:a16="http://schemas.microsoft.com/office/drawing/2014/main" id="{D49475BC-5742-477B-83FB-3C5DAA00A3F7}"/>
              </a:ext>
            </a:extLst>
          </p:cNvPr>
          <p:cNvSpPr>
            <a:spLocks noGrp="1"/>
          </p:cNvSpPr>
          <p:nvPr>
            <p:ph sz="quarter" idx="10"/>
          </p:nvPr>
        </p:nvSpPr>
        <p:spPr>
          <a:xfrm>
            <a:off x="4181475" y="1865313"/>
            <a:ext cx="3584575" cy="553998"/>
          </a:xfrm>
        </p:spPr>
        <p:txBody>
          <a:bodyPr/>
          <a:lstStyle>
            <a:lvl1pPr marL="0" indent="0">
              <a:buNone/>
              <a:defRPr/>
            </a:lvl1pPr>
          </a:lstStyle>
          <a:p>
            <a:pPr lvl="0"/>
            <a:endParaRPr lang="en-US" dirty="0"/>
          </a:p>
        </p:txBody>
      </p:sp>
      <p:sp>
        <p:nvSpPr>
          <p:cNvPr id="5" name="Rectangle 4">
            <a:extLst>
              <a:ext uri="{FF2B5EF4-FFF2-40B4-BE49-F238E27FC236}">
                <a16:creationId xmlns:a16="http://schemas.microsoft.com/office/drawing/2014/main" id="{688984D3-55C9-4D3C-AAD2-154F6B750145}"/>
              </a:ext>
              <a:ext uri="{C183D7F6-B498-43B3-948B-1728B52AA6E4}">
                <adec:decorative xmlns:adec="http://schemas.microsoft.com/office/drawing/2017/decorative" val="1"/>
              </a:ext>
            </a:extLst>
          </p:cNvPr>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2000585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084533"/>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3" name="Rectangle 2">
            <a:extLst>
              <a:ext uri="{FF2B5EF4-FFF2-40B4-BE49-F238E27FC236}">
                <a16:creationId xmlns:a16="http://schemas.microsoft.com/office/drawing/2014/main" id="{BBB236CD-EF8D-401B-9D89-F9BC1C7A5A40}"/>
              </a:ext>
              <a:ext uri="{C183D7F6-B498-43B3-948B-1728B52AA6E4}">
                <adec:decorative xmlns:adec="http://schemas.microsoft.com/office/drawing/2017/decorative" val="1"/>
              </a:ext>
            </a:extLst>
          </p:cNvPr>
          <p:cNvSpPr/>
          <p:nvPr userDrawn="1"/>
        </p:nvSpPr>
        <p:spPr>
          <a:xfrm>
            <a:off x="5550818" y="2715201"/>
            <a:ext cx="1090363" cy="369332"/>
          </a:xfrm>
          <a:prstGeom prst="rect">
            <a:avLst/>
          </a:prstGeom>
        </p:spPr>
        <p:txBody>
          <a:bodyPr wrap="none">
            <a:spAutoFit/>
          </a:bodyPr>
          <a:lstStyle/>
          <a:p>
            <a:pPr algn="ctr">
              <a:spcBef>
                <a:spcPts val="1200"/>
              </a:spcBef>
              <a:defRPr/>
            </a:pPr>
            <a:r>
              <a:rPr lang="en-US" sz="1800" cap="all" spc="50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370936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84533"/>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563272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92731668"/>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34791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91622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 uri="{C183D7F6-B498-43B3-948B-1728B52AA6E4}">
                <adec:decorative xmlns:adec="http://schemas.microsoft.com/office/drawing/2017/decorative" val="1"/>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Tree>
    <p:extLst>
      <p:ext uri="{BB962C8B-B14F-4D97-AF65-F5344CB8AC3E}">
        <p14:creationId xmlns:p14="http://schemas.microsoft.com/office/powerpoint/2010/main" val="3551648598"/>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2"/>
            <a:ext cx="5826760" cy="1213352"/>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4"/>
            <a:ext cx="5826761" cy="2675436"/>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 uri="{C183D7F6-B498-43B3-948B-1728B52AA6E4}">
                <adec:decorative xmlns:adec="http://schemas.microsoft.com/office/drawing/2017/decorative" val="1"/>
              </a:ext>
            </a:extLst>
          </p:cNvPr>
          <p:cNvSpPr/>
          <p:nvPr userDrawn="1"/>
        </p:nvSpPr>
        <p:spPr bwMode="auto">
          <a:xfrm>
            <a:off x="0" y="5566611"/>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p>
        </p:txBody>
      </p:sp>
      <p:sp>
        <p:nvSpPr>
          <p:cNvPr id="6" name="Content Placeholder 5">
            <a:extLst>
              <a:ext uri="{FF2B5EF4-FFF2-40B4-BE49-F238E27FC236}">
                <a16:creationId xmlns:a16="http://schemas.microsoft.com/office/drawing/2014/main" id="{DB6A4C8A-A3F8-497C-8577-D46D0ABBE7F2}"/>
              </a:ext>
            </a:extLst>
          </p:cNvPr>
          <p:cNvSpPr>
            <a:spLocks noGrp="1"/>
          </p:cNvSpPr>
          <p:nvPr>
            <p:ph sz="quarter" idx="12"/>
          </p:nvPr>
        </p:nvSpPr>
        <p:spPr>
          <a:xfrm>
            <a:off x="269875" y="4889500"/>
            <a:ext cx="2282825" cy="553998"/>
          </a:xfrm>
        </p:spPr>
        <p:txBody>
          <a:bodyPr/>
          <a:lstStyle>
            <a:lvl1pPr marL="0" indent="0">
              <a:buNone/>
              <a:defRPr/>
            </a:lvl1pPr>
          </a:lstStyle>
          <a:p>
            <a:pPr lvl="0"/>
            <a:endParaRPr lang="en-US" dirty="0"/>
          </a:p>
        </p:txBody>
      </p:sp>
      <p:sp>
        <p:nvSpPr>
          <p:cNvPr id="8" name="Content Placeholder 5">
            <a:extLst>
              <a:ext uri="{FF2B5EF4-FFF2-40B4-BE49-F238E27FC236}">
                <a16:creationId xmlns:a16="http://schemas.microsoft.com/office/drawing/2014/main" id="{FB6C429B-582A-48B6-ACDA-D0AA7A6B4B04}"/>
              </a:ext>
            </a:extLst>
          </p:cNvPr>
          <p:cNvSpPr>
            <a:spLocks noGrp="1"/>
          </p:cNvSpPr>
          <p:nvPr>
            <p:ph sz="quarter" idx="13"/>
          </p:nvPr>
        </p:nvSpPr>
        <p:spPr>
          <a:xfrm>
            <a:off x="2771775" y="4889500"/>
            <a:ext cx="2282825" cy="553998"/>
          </a:xfrm>
        </p:spPr>
        <p:txBody>
          <a:bodyPr/>
          <a:lstStyle>
            <a:lvl1pPr marL="0" indent="0">
              <a:buNone/>
              <a:defRPr/>
            </a:lvl1pPr>
          </a:lstStyle>
          <a:p>
            <a:pPr lvl="0"/>
            <a:endParaRPr lang="en-US" dirty="0"/>
          </a:p>
        </p:txBody>
      </p:sp>
      <p:sp>
        <p:nvSpPr>
          <p:cNvPr id="10" name="Content Placeholder 5">
            <a:extLst>
              <a:ext uri="{FF2B5EF4-FFF2-40B4-BE49-F238E27FC236}">
                <a16:creationId xmlns:a16="http://schemas.microsoft.com/office/drawing/2014/main" id="{45E8BD17-5BCD-4BA6-9407-F3BEE207B25D}"/>
              </a:ext>
            </a:extLst>
          </p:cNvPr>
          <p:cNvSpPr>
            <a:spLocks noGrp="1"/>
          </p:cNvSpPr>
          <p:nvPr>
            <p:ph sz="quarter" idx="14"/>
          </p:nvPr>
        </p:nvSpPr>
        <p:spPr>
          <a:xfrm>
            <a:off x="5273675" y="4889500"/>
            <a:ext cx="2282825" cy="553998"/>
          </a:xfrm>
        </p:spPr>
        <p:txBody>
          <a:bodyPr/>
          <a:lstStyle>
            <a:lvl1pPr marL="0" indent="0">
              <a:buNone/>
              <a:defRPr/>
            </a:lvl1pPr>
          </a:lstStyle>
          <a:p>
            <a:pPr lvl="0"/>
            <a:endParaRPr lang="en-US" dirty="0"/>
          </a:p>
        </p:txBody>
      </p:sp>
      <p:sp>
        <p:nvSpPr>
          <p:cNvPr id="11" name="Content Placeholder 5">
            <a:extLst>
              <a:ext uri="{FF2B5EF4-FFF2-40B4-BE49-F238E27FC236}">
                <a16:creationId xmlns:a16="http://schemas.microsoft.com/office/drawing/2014/main" id="{66B43C2D-DF78-46CB-9813-3004243ED7A0}"/>
              </a:ext>
            </a:extLst>
          </p:cNvPr>
          <p:cNvSpPr>
            <a:spLocks noGrp="1"/>
          </p:cNvSpPr>
          <p:nvPr>
            <p:ph sz="quarter" idx="15"/>
          </p:nvPr>
        </p:nvSpPr>
        <p:spPr>
          <a:xfrm>
            <a:off x="7902575" y="4889500"/>
            <a:ext cx="2282825"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4030917401"/>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776958"/>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269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6" name="Rectangle 5">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40468"/>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0_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FEAB55-0BF8-4E0E-B31A-E18B9E15BB7C}"/>
              </a:ext>
            </a:extLst>
          </p:cNvPr>
          <p:cNvSpPr>
            <a:spLocks noGrp="1"/>
          </p:cNvSpPr>
          <p:nvPr>
            <p:ph sz="quarter" idx="11"/>
          </p:nvPr>
        </p:nvSpPr>
        <p:spPr>
          <a:xfrm>
            <a:off x="8412163" y="5254625"/>
            <a:ext cx="2292350"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4278021933"/>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9_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peech Bubble: Rectangle 6">
            <a:extLst>
              <a:ext uri="{FF2B5EF4-FFF2-40B4-BE49-F238E27FC236}">
                <a16:creationId xmlns:a16="http://schemas.microsoft.com/office/drawing/2014/main" id="{F7C62A16-288F-4C77-A742-D888D9BAC499}"/>
              </a:ext>
              <a:ext uri="{C183D7F6-B498-43B3-948B-1728B52AA6E4}">
                <adec:decorative xmlns:adec="http://schemas.microsoft.com/office/drawing/2017/decorative" val="1"/>
              </a:ext>
            </a:extLst>
          </p:cNvPr>
          <p:cNvSpPr/>
          <p:nvPr userDrawn="1"/>
        </p:nvSpPr>
        <p:spPr bwMode="auto">
          <a:xfrm>
            <a:off x="6607926" y="2933302"/>
            <a:ext cx="3093720" cy="832104"/>
          </a:xfrm>
          <a:prstGeom prst="wedgeRectCallout">
            <a:avLst>
              <a:gd name="adj1" fmla="val -40783"/>
              <a:gd name="adj2" fmla="val -85418"/>
            </a:avLst>
          </a:pr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0" rIns="91440" bIns="91440" numCol="1" anchor="ctr" anchorCtr="0" compatLnSpc="1">
            <a:prstTxWarp prst="textNoShape">
              <a:avLst/>
            </a:prstTxWarp>
            <a:spAutoFit/>
          </a:bodyPr>
          <a:lstStyle/>
          <a:p>
            <a:pPr algn="ctr"/>
            <a:endParaRPr lang="en-US" sz="1400" dirty="0">
              <a:gradFill>
                <a:gsLst>
                  <a:gs pos="0">
                    <a:srgbClr val="505050"/>
                  </a:gs>
                  <a:gs pos="100000">
                    <a:srgbClr val="505050"/>
                  </a:gs>
                </a:gsLst>
              </a:gradFill>
            </a:endParaRPr>
          </a:p>
        </p:txBody>
      </p:sp>
      <p:sp>
        <p:nvSpPr>
          <p:cNvPr id="4" name="Content Placeholder 3">
            <a:extLst>
              <a:ext uri="{FF2B5EF4-FFF2-40B4-BE49-F238E27FC236}">
                <a16:creationId xmlns:a16="http://schemas.microsoft.com/office/drawing/2014/main" id="{4DF20412-5FD8-4B19-A1EC-34681B4FD72A}"/>
              </a:ext>
            </a:extLst>
          </p:cNvPr>
          <p:cNvSpPr>
            <a:spLocks noGrp="1"/>
          </p:cNvSpPr>
          <p:nvPr>
            <p:ph sz="quarter" idx="11"/>
          </p:nvPr>
        </p:nvSpPr>
        <p:spPr>
          <a:xfrm>
            <a:off x="987425" y="4449763"/>
            <a:ext cx="4986338"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2726746928"/>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8_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Oval 6">
            <a:extLst>
              <a:ext uri="{FF2B5EF4-FFF2-40B4-BE49-F238E27FC236}">
                <a16:creationId xmlns:a16="http://schemas.microsoft.com/office/drawing/2014/main" id="{DA28E43B-4868-4F8F-91D7-04F2A75920D5}"/>
              </a:ext>
              <a:ext uri="{C183D7F6-B498-43B3-948B-1728B52AA6E4}">
                <adec:decorative xmlns:adec="http://schemas.microsoft.com/office/drawing/2017/decorative" val="1"/>
              </a:ext>
            </a:extLst>
          </p:cNvPr>
          <p:cNvSpPr/>
          <p:nvPr userDrawn="1"/>
        </p:nvSpPr>
        <p:spPr bwMode="auto">
          <a:xfrm>
            <a:off x="6570980" y="2067998"/>
            <a:ext cx="91440" cy="914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BFC6A8D3-83AD-4C24-BBAE-D8647E37B1A1}"/>
              </a:ext>
              <a:ext uri="{C183D7F6-B498-43B3-948B-1728B52AA6E4}">
                <adec:decorative xmlns:adec="http://schemas.microsoft.com/office/drawing/2017/decorative" val="1"/>
              </a:ext>
            </a:extLst>
          </p:cNvPr>
          <p:cNvSpPr/>
          <p:nvPr userDrawn="1"/>
        </p:nvSpPr>
        <p:spPr bwMode="auto">
          <a:xfrm>
            <a:off x="6965950" y="2847778"/>
            <a:ext cx="91440" cy="914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9F989CF9-8D47-4058-900D-0D7BB7E0C792}"/>
              </a:ext>
              <a:ext uri="{C183D7F6-B498-43B3-948B-1728B52AA6E4}">
                <adec:decorative xmlns:adec="http://schemas.microsoft.com/office/drawing/2017/decorative" val="1"/>
              </a:ext>
            </a:extLst>
          </p:cNvPr>
          <p:cNvSpPr/>
          <p:nvPr userDrawn="1"/>
        </p:nvSpPr>
        <p:spPr bwMode="auto">
          <a:xfrm>
            <a:off x="617220" y="2308860"/>
            <a:ext cx="7307580" cy="1485900"/>
          </a:xfrm>
          <a:prstGeom prst="rect">
            <a:avLst/>
          </a:prstGeom>
          <a:solidFill>
            <a:srgbClr val="C7C7C7">
              <a:alpha val="14902"/>
            </a:srgbClr>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0" name="Connector: Elbow 9">
            <a:extLst>
              <a:ext uri="{FF2B5EF4-FFF2-40B4-BE49-F238E27FC236}">
                <a16:creationId xmlns:a16="http://schemas.microsoft.com/office/drawing/2014/main" id="{53EDD6B2-FD09-4842-99CF-FFF278A921B2}"/>
              </a:ext>
              <a:ext uri="{C183D7F6-B498-43B3-948B-1728B52AA6E4}">
                <adec:decorative xmlns:adec="http://schemas.microsoft.com/office/drawing/2017/decorative" val="1"/>
              </a:ext>
            </a:extLst>
          </p:cNvPr>
          <p:cNvCxnSpPr>
            <a:cxnSpLocks/>
            <a:stCxn id="9" idx="3"/>
            <a:endCxn id="7" idx="0"/>
          </p:cNvCxnSpPr>
          <p:nvPr userDrawn="1"/>
        </p:nvCxnSpPr>
        <p:spPr>
          <a:xfrm flipH="1" flipV="1">
            <a:off x="6616700" y="2067998"/>
            <a:ext cx="1308100" cy="983812"/>
          </a:xfrm>
          <a:prstGeom prst="bentConnector4">
            <a:avLst>
              <a:gd name="adj1" fmla="val -17476"/>
              <a:gd name="adj2" fmla="val 113683"/>
            </a:avLst>
          </a:prstGeom>
          <a:solidFill>
            <a:srgbClr val="C7C7C7">
              <a:alpha val="14902"/>
            </a:srgbClr>
          </a:solidFill>
          <a:ln w="12700">
            <a:solidFill>
              <a:schemeClr val="tx2"/>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11" name="Rectangle 10">
            <a:extLst>
              <a:ext uri="{FF2B5EF4-FFF2-40B4-BE49-F238E27FC236}">
                <a16:creationId xmlns:a16="http://schemas.microsoft.com/office/drawing/2014/main" id="{ECA4339A-BFCB-426D-A34E-C7622A702BFB}"/>
              </a:ext>
              <a:ext uri="{C183D7F6-B498-43B3-948B-1728B52AA6E4}">
                <adec:decorative xmlns:adec="http://schemas.microsoft.com/office/drawing/2017/decorative" val="1"/>
              </a:ext>
            </a:extLst>
          </p:cNvPr>
          <p:cNvSpPr/>
          <p:nvPr userDrawn="1"/>
        </p:nvSpPr>
        <p:spPr bwMode="auto">
          <a:xfrm>
            <a:off x="617220" y="3818146"/>
            <a:ext cx="4450080" cy="2148313"/>
          </a:xfrm>
          <a:prstGeom prst="rect">
            <a:avLst/>
          </a:prstGeom>
          <a:solidFill>
            <a:srgbClr val="C7C7C7">
              <a:alpha val="14902"/>
            </a:srgbClr>
          </a:solid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2" name="Connector: Elbow 11">
            <a:extLst>
              <a:ext uri="{FF2B5EF4-FFF2-40B4-BE49-F238E27FC236}">
                <a16:creationId xmlns:a16="http://schemas.microsoft.com/office/drawing/2014/main" id="{58B16E6C-F016-483D-A7C0-467D5B45A63C}"/>
              </a:ext>
              <a:ext uri="{C183D7F6-B498-43B3-948B-1728B52AA6E4}">
                <adec:decorative xmlns:adec="http://schemas.microsoft.com/office/drawing/2017/decorative" val="1"/>
              </a:ext>
            </a:extLst>
          </p:cNvPr>
          <p:cNvCxnSpPr>
            <a:cxnSpLocks/>
            <a:stCxn id="11" idx="3"/>
            <a:endCxn id="8" idx="4"/>
          </p:cNvCxnSpPr>
          <p:nvPr userDrawn="1"/>
        </p:nvCxnSpPr>
        <p:spPr>
          <a:xfrm flipV="1">
            <a:off x="5067300" y="2939218"/>
            <a:ext cx="1944370" cy="1953085"/>
          </a:xfrm>
          <a:prstGeom prst="bentConnector2">
            <a:avLst/>
          </a:prstGeom>
          <a:solidFill>
            <a:srgbClr val="C7C7C7">
              <a:alpha val="14902"/>
            </a:srgbClr>
          </a:solidFill>
          <a:ln w="12700">
            <a:solidFill>
              <a:srgbClr val="FF0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874721323"/>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7_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3059033"/>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899CFDA-51BF-4BD6-9E8C-A8E853D47458}"/>
              </a:ext>
            </a:extLst>
          </p:cNvPr>
          <p:cNvSpPr>
            <a:spLocks noGrp="1"/>
          </p:cNvSpPr>
          <p:nvPr>
            <p:ph sz="quarter" idx="11"/>
          </p:nvPr>
        </p:nvSpPr>
        <p:spPr>
          <a:xfrm>
            <a:off x="633413" y="4511675"/>
            <a:ext cx="8570912"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790687987"/>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6_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5873D51-B0FC-44C5-B3EB-62E444A69530}"/>
              </a:ext>
            </a:extLst>
          </p:cNvPr>
          <p:cNvSpPr>
            <a:spLocks noGrp="1"/>
          </p:cNvSpPr>
          <p:nvPr>
            <p:ph sz="quarter" idx="11"/>
          </p:nvPr>
        </p:nvSpPr>
        <p:spPr>
          <a:xfrm>
            <a:off x="573087" y="3779837"/>
            <a:ext cx="4310427" cy="553998"/>
          </a:xfrm>
        </p:spPr>
        <p:txBody>
          <a:bodyPr/>
          <a:lstStyle>
            <a:lvl1pPr marL="0" indent="0">
              <a:buNone/>
              <a:defRPr/>
            </a:lvl1pPr>
          </a:lstStyle>
          <a:p>
            <a:pPr lvl="0"/>
            <a:endParaRPr lang="en-US" dirty="0"/>
          </a:p>
        </p:txBody>
      </p:sp>
      <p:sp>
        <p:nvSpPr>
          <p:cNvPr id="8" name="Content Placeholder 3">
            <a:extLst>
              <a:ext uri="{FF2B5EF4-FFF2-40B4-BE49-F238E27FC236}">
                <a16:creationId xmlns:a16="http://schemas.microsoft.com/office/drawing/2014/main" id="{F945E86E-B478-4D4F-B618-091861C438A2}"/>
              </a:ext>
            </a:extLst>
          </p:cNvPr>
          <p:cNvSpPr>
            <a:spLocks noGrp="1"/>
          </p:cNvSpPr>
          <p:nvPr>
            <p:ph sz="quarter" idx="12"/>
          </p:nvPr>
        </p:nvSpPr>
        <p:spPr>
          <a:xfrm>
            <a:off x="573087" y="4556069"/>
            <a:ext cx="4310427" cy="553998"/>
          </a:xfrm>
        </p:spPr>
        <p:txBody>
          <a:bodyPr/>
          <a:lstStyle>
            <a:lvl1pPr marL="0" indent="0">
              <a:buNone/>
              <a:defRPr/>
            </a:lvl1pPr>
          </a:lstStyle>
          <a:p>
            <a:pPr lvl="0"/>
            <a:endParaRPr lang="en-US" dirty="0"/>
          </a:p>
        </p:txBody>
      </p:sp>
      <p:sp>
        <p:nvSpPr>
          <p:cNvPr id="9" name="Content Placeholder 3">
            <a:extLst>
              <a:ext uri="{FF2B5EF4-FFF2-40B4-BE49-F238E27FC236}">
                <a16:creationId xmlns:a16="http://schemas.microsoft.com/office/drawing/2014/main" id="{DED4742D-9A0D-4D88-AD51-EE7C40F55360}"/>
              </a:ext>
            </a:extLst>
          </p:cNvPr>
          <p:cNvSpPr>
            <a:spLocks noGrp="1"/>
          </p:cNvSpPr>
          <p:nvPr>
            <p:ph sz="quarter" idx="13"/>
          </p:nvPr>
        </p:nvSpPr>
        <p:spPr>
          <a:xfrm>
            <a:off x="573086" y="5411176"/>
            <a:ext cx="4310427" cy="553998"/>
          </a:xfrm>
        </p:spPr>
        <p:txBody>
          <a:bodyPr/>
          <a:lstStyle>
            <a:lvl1pPr marL="0" indent="0">
              <a:buNone/>
              <a:defRPr/>
            </a:lvl1pPr>
          </a:lstStyle>
          <a:p>
            <a:pPr lvl="0"/>
            <a:endParaRPr lang="en-US" dirty="0"/>
          </a:p>
        </p:txBody>
      </p:sp>
      <p:sp>
        <p:nvSpPr>
          <p:cNvPr id="10" name="Speech Bubble: Rectangle 9">
            <a:extLst>
              <a:ext uri="{FF2B5EF4-FFF2-40B4-BE49-F238E27FC236}">
                <a16:creationId xmlns:a16="http://schemas.microsoft.com/office/drawing/2014/main" id="{1EA0ADF3-28E8-4E29-87A7-53B55E529CC3}"/>
              </a:ext>
              <a:ext uri="{C183D7F6-B498-43B3-948B-1728B52AA6E4}">
                <adec:decorative xmlns:adec="http://schemas.microsoft.com/office/drawing/2017/decorative" val="1"/>
              </a:ext>
            </a:extLst>
          </p:cNvPr>
          <p:cNvSpPr/>
          <p:nvPr userDrawn="1"/>
        </p:nvSpPr>
        <p:spPr bwMode="auto">
          <a:xfrm>
            <a:off x="2740131" y="4159389"/>
            <a:ext cx="3093720" cy="612648"/>
          </a:xfrm>
          <a:prstGeom prst="wedgeRectCallout">
            <a:avLst>
              <a:gd name="adj1" fmla="val -40783"/>
              <a:gd name="adj2" fmla="val -85418"/>
            </a:avLst>
          </a:pr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0" rIns="91440" bIns="91440" numCol="1" anchor="ctr" anchorCtr="0" compatLnSpc="1">
            <a:prstTxWarp prst="textNoShape">
              <a:avLst/>
            </a:prstTxWarp>
            <a:spAutoFit/>
          </a:bodyPr>
          <a:lstStyle/>
          <a:p>
            <a:pPr algn="ctr"/>
            <a:endParaRPr lang="en-US" sz="1400" dirty="0">
              <a:gradFill>
                <a:gsLst>
                  <a:gs pos="0">
                    <a:srgbClr val="505050"/>
                  </a:gs>
                  <a:gs pos="100000">
                    <a:srgbClr val="505050"/>
                  </a:gs>
                </a:gsLst>
              </a:gradFill>
            </a:endParaRPr>
          </a:p>
        </p:txBody>
      </p:sp>
    </p:spTree>
    <p:extLst>
      <p:ext uri="{BB962C8B-B14F-4D97-AF65-F5344CB8AC3E}">
        <p14:creationId xmlns:p14="http://schemas.microsoft.com/office/powerpoint/2010/main" val="211311149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548721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5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p:cNvSpPr>
            <a:spLocks noGrp="1"/>
          </p:cNvSpPr>
          <p:nvPr>
            <p:ph type="body" sz="quarter" idx="10"/>
          </p:nvPr>
        </p:nvSpPr>
        <p:spPr>
          <a:xfrm>
            <a:off x="269239" y="1366663"/>
            <a:ext cx="6497321" cy="5095097"/>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249ED9D-867B-4197-B293-A477D73E2B7A}"/>
              </a:ext>
            </a:extLst>
          </p:cNvPr>
          <p:cNvSpPr>
            <a:spLocks noGrp="1"/>
          </p:cNvSpPr>
          <p:nvPr>
            <p:ph sz="quarter" idx="11"/>
          </p:nvPr>
        </p:nvSpPr>
        <p:spPr>
          <a:xfrm>
            <a:off x="7094856" y="2523300"/>
            <a:ext cx="4827905"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3697456541"/>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4_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A287BFD-3983-439E-9E64-F804DB85817A}"/>
              </a:ext>
            </a:extLst>
          </p:cNvPr>
          <p:cNvSpPr>
            <a:spLocks noGrp="1"/>
          </p:cNvSpPr>
          <p:nvPr>
            <p:ph sz="quarter" idx="11"/>
          </p:nvPr>
        </p:nvSpPr>
        <p:spPr>
          <a:xfrm>
            <a:off x="450851" y="3429000"/>
            <a:ext cx="3084830" cy="423672"/>
          </a:xfrm>
        </p:spPr>
        <p:txBody>
          <a:bodyPr/>
          <a:lstStyle>
            <a:lvl1pPr marL="0" indent="0">
              <a:buNone/>
              <a:defRPr/>
            </a:lvl1pPr>
          </a:lstStyle>
          <a:p>
            <a:pPr lvl="0"/>
            <a:endParaRPr lang="en-US" dirty="0"/>
          </a:p>
        </p:txBody>
      </p:sp>
      <p:sp>
        <p:nvSpPr>
          <p:cNvPr id="7" name="Content Placeholder 3">
            <a:extLst>
              <a:ext uri="{FF2B5EF4-FFF2-40B4-BE49-F238E27FC236}">
                <a16:creationId xmlns:a16="http://schemas.microsoft.com/office/drawing/2014/main" id="{985B4906-A7DA-43A2-B44C-E0B15B079312}"/>
              </a:ext>
            </a:extLst>
          </p:cNvPr>
          <p:cNvSpPr>
            <a:spLocks noGrp="1"/>
          </p:cNvSpPr>
          <p:nvPr>
            <p:ph sz="quarter" idx="12"/>
          </p:nvPr>
        </p:nvSpPr>
        <p:spPr>
          <a:xfrm>
            <a:off x="450851" y="4036560"/>
            <a:ext cx="3084830" cy="423672"/>
          </a:xfrm>
        </p:spPr>
        <p:txBody>
          <a:bodyPr/>
          <a:lstStyle>
            <a:lvl1pPr marL="0" indent="0">
              <a:buNone/>
              <a:defRPr/>
            </a:lvl1pPr>
          </a:lstStyle>
          <a:p>
            <a:pPr lvl="0"/>
            <a:endParaRPr lang="en-US" dirty="0"/>
          </a:p>
        </p:txBody>
      </p:sp>
      <p:sp>
        <p:nvSpPr>
          <p:cNvPr id="8" name="Content Placeholder 3">
            <a:extLst>
              <a:ext uri="{FF2B5EF4-FFF2-40B4-BE49-F238E27FC236}">
                <a16:creationId xmlns:a16="http://schemas.microsoft.com/office/drawing/2014/main" id="{EACCE1F5-C801-4DD1-938B-B4C13D941F7B}"/>
              </a:ext>
            </a:extLst>
          </p:cNvPr>
          <p:cNvSpPr>
            <a:spLocks noGrp="1"/>
          </p:cNvSpPr>
          <p:nvPr>
            <p:ph sz="quarter" idx="13"/>
          </p:nvPr>
        </p:nvSpPr>
        <p:spPr>
          <a:xfrm>
            <a:off x="450851" y="4752337"/>
            <a:ext cx="3084830" cy="423672"/>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386973295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3_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CE7BD87-A2CA-4EAA-848B-7EB73993ECE9}"/>
              </a:ext>
            </a:extLst>
          </p:cNvPr>
          <p:cNvSpPr>
            <a:spLocks noGrp="1"/>
          </p:cNvSpPr>
          <p:nvPr>
            <p:ph sz="quarter" idx="11"/>
          </p:nvPr>
        </p:nvSpPr>
        <p:spPr>
          <a:xfrm>
            <a:off x="269875" y="3060700"/>
            <a:ext cx="4533773" cy="553998"/>
          </a:xfrm>
        </p:spPr>
        <p:txBody>
          <a:bodyPr/>
          <a:lstStyle>
            <a:lvl1pPr marL="0" indent="0">
              <a:buNone/>
              <a:defRPr/>
            </a:lvl1pPr>
          </a:lstStyle>
          <a:p>
            <a:pPr lvl="0"/>
            <a:endParaRPr lang="en-US" dirty="0"/>
          </a:p>
        </p:txBody>
      </p:sp>
      <p:sp>
        <p:nvSpPr>
          <p:cNvPr id="7" name="Content Placeholder 3">
            <a:extLst>
              <a:ext uri="{FF2B5EF4-FFF2-40B4-BE49-F238E27FC236}">
                <a16:creationId xmlns:a16="http://schemas.microsoft.com/office/drawing/2014/main" id="{5D673601-1407-4D96-8E49-082734A965FD}"/>
              </a:ext>
            </a:extLst>
          </p:cNvPr>
          <p:cNvSpPr>
            <a:spLocks noGrp="1"/>
          </p:cNvSpPr>
          <p:nvPr>
            <p:ph sz="quarter" idx="12"/>
          </p:nvPr>
        </p:nvSpPr>
        <p:spPr>
          <a:xfrm>
            <a:off x="269875" y="3780100"/>
            <a:ext cx="4533773" cy="553998"/>
          </a:xfrm>
        </p:spPr>
        <p:txBody>
          <a:bodyPr/>
          <a:lstStyle>
            <a:lvl1pPr marL="0" indent="0">
              <a:buNone/>
              <a:defRPr/>
            </a:lvl1pPr>
          </a:lstStyle>
          <a:p>
            <a:pPr lvl="0"/>
            <a:endParaRPr lang="en-US" dirty="0"/>
          </a:p>
        </p:txBody>
      </p:sp>
      <p:sp>
        <p:nvSpPr>
          <p:cNvPr id="8" name="Content Placeholder 3">
            <a:extLst>
              <a:ext uri="{FF2B5EF4-FFF2-40B4-BE49-F238E27FC236}">
                <a16:creationId xmlns:a16="http://schemas.microsoft.com/office/drawing/2014/main" id="{7268A6B5-E588-49CD-8143-3E9B29430E16}"/>
              </a:ext>
            </a:extLst>
          </p:cNvPr>
          <p:cNvSpPr>
            <a:spLocks noGrp="1"/>
          </p:cNvSpPr>
          <p:nvPr>
            <p:ph sz="quarter" idx="13"/>
          </p:nvPr>
        </p:nvSpPr>
        <p:spPr>
          <a:xfrm>
            <a:off x="269875" y="4603267"/>
            <a:ext cx="4533773"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638363181"/>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6" name="Rectangle 5">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3B71E7-0230-41E2-9D5C-2F5084389676}"/>
              </a:ext>
            </a:extLst>
          </p:cNvPr>
          <p:cNvSpPr>
            <a:spLocks noGrp="1"/>
          </p:cNvSpPr>
          <p:nvPr>
            <p:ph sz="quarter" idx="11"/>
          </p:nvPr>
        </p:nvSpPr>
        <p:spPr>
          <a:xfrm>
            <a:off x="269239" y="2944343"/>
            <a:ext cx="4046538" cy="553998"/>
          </a:xfrm>
        </p:spPr>
        <p:txBody>
          <a:bodyPr/>
          <a:lstStyle>
            <a:lvl1pPr marL="0" indent="0">
              <a:buNone/>
              <a:defRPr/>
            </a:lvl1pPr>
          </a:lstStyle>
          <a:p>
            <a:pPr lvl="0"/>
            <a:endParaRPr lang="en-US" dirty="0"/>
          </a:p>
        </p:txBody>
      </p:sp>
      <p:sp>
        <p:nvSpPr>
          <p:cNvPr id="7" name="Content Placeholder 3">
            <a:extLst>
              <a:ext uri="{FF2B5EF4-FFF2-40B4-BE49-F238E27FC236}">
                <a16:creationId xmlns:a16="http://schemas.microsoft.com/office/drawing/2014/main" id="{0AE9FCDD-829D-471A-AE9E-843B6E5A3E1C}"/>
              </a:ext>
            </a:extLst>
          </p:cNvPr>
          <p:cNvSpPr>
            <a:spLocks noGrp="1"/>
          </p:cNvSpPr>
          <p:nvPr>
            <p:ph sz="quarter" idx="12"/>
          </p:nvPr>
        </p:nvSpPr>
        <p:spPr>
          <a:xfrm>
            <a:off x="269239" y="3641782"/>
            <a:ext cx="4046538" cy="553998"/>
          </a:xfrm>
        </p:spPr>
        <p:txBody>
          <a:bodyPr/>
          <a:lstStyle>
            <a:lvl1pPr marL="0" indent="0">
              <a:buNone/>
              <a:defRPr/>
            </a:lvl1pPr>
          </a:lstStyle>
          <a:p>
            <a:pPr lvl="0"/>
            <a:endParaRPr lang="en-US" dirty="0"/>
          </a:p>
        </p:txBody>
      </p:sp>
      <p:sp>
        <p:nvSpPr>
          <p:cNvPr id="8" name="Content Placeholder 3">
            <a:extLst>
              <a:ext uri="{FF2B5EF4-FFF2-40B4-BE49-F238E27FC236}">
                <a16:creationId xmlns:a16="http://schemas.microsoft.com/office/drawing/2014/main" id="{FD48D221-964F-4045-B89D-DA60722BC8AD}"/>
              </a:ext>
            </a:extLst>
          </p:cNvPr>
          <p:cNvSpPr>
            <a:spLocks noGrp="1"/>
          </p:cNvSpPr>
          <p:nvPr>
            <p:ph sz="quarter" idx="13"/>
          </p:nvPr>
        </p:nvSpPr>
        <p:spPr>
          <a:xfrm>
            <a:off x="269239" y="4398006"/>
            <a:ext cx="4046538"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700798582"/>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6" name="Rectangle 5">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4"/>
          <p:cNvSpPr>
            <a:spLocks noGrp="1"/>
          </p:cNvSpPr>
          <p:nvPr>
            <p:ph type="body" sz="quarter" idx="10"/>
          </p:nvPr>
        </p:nvSpPr>
        <p:spPr>
          <a:xfrm>
            <a:off x="269239" y="1366663"/>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FD5875-77A5-44D1-988D-11C824E136B6}"/>
              </a:ext>
            </a:extLst>
          </p:cNvPr>
          <p:cNvSpPr>
            <a:spLocks noGrp="1"/>
          </p:cNvSpPr>
          <p:nvPr>
            <p:ph sz="quarter" idx="11"/>
          </p:nvPr>
        </p:nvSpPr>
        <p:spPr>
          <a:xfrm>
            <a:off x="6973889" y="3157538"/>
            <a:ext cx="3243008" cy="543029"/>
          </a:xfrm>
        </p:spPr>
        <p:txBody>
          <a:bodyPr/>
          <a:lstStyle>
            <a:lvl1pPr marL="0" indent="0">
              <a:buNone/>
              <a:defRPr/>
            </a:lvl1pPr>
          </a:lstStyle>
          <a:p>
            <a:pPr lvl="0"/>
            <a:endParaRPr lang="en-US" dirty="0"/>
          </a:p>
        </p:txBody>
      </p:sp>
      <p:sp>
        <p:nvSpPr>
          <p:cNvPr id="8" name="Content Placeholder 3">
            <a:extLst>
              <a:ext uri="{FF2B5EF4-FFF2-40B4-BE49-F238E27FC236}">
                <a16:creationId xmlns:a16="http://schemas.microsoft.com/office/drawing/2014/main" id="{A6326806-D798-4434-B951-10499D2D1128}"/>
              </a:ext>
            </a:extLst>
          </p:cNvPr>
          <p:cNvSpPr>
            <a:spLocks noGrp="1"/>
          </p:cNvSpPr>
          <p:nvPr>
            <p:ph sz="quarter" idx="12"/>
          </p:nvPr>
        </p:nvSpPr>
        <p:spPr>
          <a:xfrm>
            <a:off x="6973889" y="3840206"/>
            <a:ext cx="3243008" cy="543029"/>
          </a:xfrm>
        </p:spPr>
        <p:txBody>
          <a:bodyPr/>
          <a:lstStyle>
            <a:lvl1pPr marL="0" indent="0">
              <a:buNone/>
              <a:defRPr/>
            </a:lvl1pPr>
          </a:lstStyle>
          <a:p>
            <a:pPr lvl="0"/>
            <a:endParaRPr lang="en-US" dirty="0"/>
          </a:p>
        </p:txBody>
      </p:sp>
      <p:sp>
        <p:nvSpPr>
          <p:cNvPr id="9" name="Content Placeholder 3">
            <a:extLst>
              <a:ext uri="{FF2B5EF4-FFF2-40B4-BE49-F238E27FC236}">
                <a16:creationId xmlns:a16="http://schemas.microsoft.com/office/drawing/2014/main" id="{6E546836-9898-4FA4-A2C8-E8323E8A4440}"/>
              </a:ext>
            </a:extLst>
          </p:cNvPr>
          <p:cNvSpPr>
            <a:spLocks noGrp="1"/>
          </p:cNvSpPr>
          <p:nvPr>
            <p:ph sz="quarter" idx="13"/>
          </p:nvPr>
        </p:nvSpPr>
        <p:spPr>
          <a:xfrm>
            <a:off x="6973889" y="4563298"/>
            <a:ext cx="3243008" cy="543029"/>
          </a:xfrm>
        </p:spPr>
        <p:txBody>
          <a:bodyPr/>
          <a:lstStyle>
            <a:lvl1pPr marL="0" indent="0">
              <a:buNone/>
              <a:defRPr/>
            </a:lvl1pPr>
          </a:lstStyle>
          <a:p>
            <a:pPr lvl="0"/>
            <a:endParaRPr lang="en-US" dirty="0"/>
          </a:p>
        </p:txBody>
      </p:sp>
      <p:sp>
        <p:nvSpPr>
          <p:cNvPr id="10" name="Content Placeholder 3">
            <a:extLst>
              <a:ext uri="{FF2B5EF4-FFF2-40B4-BE49-F238E27FC236}">
                <a16:creationId xmlns:a16="http://schemas.microsoft.com/office/drawing/2014/main" id="{94A75763-FFAE-4185-941D-C3A0910E7C16}"/>
              </a:ext>
            </a:extLst>
          </p:cNvPr>
          <p:cNvSpPr>
            <a:spLocks noGrp="1"/>
          </p:cNvSpPr>
          <p:nvPr>
            <p:ph sz="quarter" idx="14"/>
          </p:nvPr>
        </p:nvSpPr>
        <p:spPr>
          <a:xfrm>
            <a:off x="6973889" y="5171237"/>
            <a:ext cx="3243008" cy="543029"/>
          </a:xfrm>
        </p:spPr>
        <p:txBody>
          <a:bodyPr/>
          <a:lstStyle>
            <a:lvl1pPr marL="0" indent="0">
              <a:buNone/>
              <a:defRPr/>
            </a:lvl1pPr>
          </a:lstStyle>
          <a:p>
            <a:pPr lvl="0"/>
            <a:endParaRPr lang="en-US" dirty="0"/>
          </a:p>
        </p:txBody>
      </p:sp>
      <p:sp>
        <p:nvSpPr>
          <p:cNvPr id="11" name="Content Placeholder 3">
            <a:extLst>
              <a:ext uri="{FF2B5EF4-FFF2-40B4-BE49-F238E27FC236}">
                <a16:creationId xmlns:a16="http://schemas.microsoft.com/office/drawing/2014/main" id="{4F1B2332-2F10-4FC8-A081-13054DDA9131}"/>
              </a:ext>
            </a:extLst>
          </p:cNvPr>
          <p:cNvSpPr>
            <a:spLocks noGrp="1"/>
          </p:cNvSpPr>
          <p:nvPr>
            <p:ph sz="quarter" idx="15"/>
          </p:nvPr>
        </p:nvSpPr>
        <p:spPr>
          <a:xfrm>
            <a:off x="6973889" y="5779176"/>
            <a:ext cx="3243008" cy="543029"/>
          </a:xfrm>
        </p:spPr>
        <p:txBody>
          <a:bodyPr/>
          <a:lstStyle>
            <a:lvl1pPr marL="0" indent="0">
              <a:buNone/>
              <a:defRPr/>
            </a:lvl1pPr>
          </a:lstStyle>
          <a:p>
            <a:pPr lvl="0"/>
            <a:endParaRPr lang="en-US" dirty="0"/>
          </a:p>
        </p:txBody>
      </p:sp>
      <p:sp>
        <p:nvSpPr>
          <p:cNvPr id="12" name="Content Placeholder 3">
            <a:extLst>
              <a:ext uri="{FF2B5EF4-FFF2-40B4-BE49-F238E27FC236}">
                <a16:creationId xmlns:a16="http://schemas.microsoft.com/office/drawing/2014/main" id="{6E347FEC-138A-4EFD-AF12-2AB6466F197C}"/>
              </a:ext>
            </a:extLst>
          </p:cNvPr>
          <p:cNvSpPr>
            <a:spLocks noGrp="1"/>
          </p:cNvSpPr>
          <p:nvPr>
            <p:ph sz="quarter" idx="16"/>
          </p:nvPr>
        </p:nvSpPr>
        <p:spPr>
          <a:xfrm>
            <a:off x="10758490" y="6216061"/>
            <a:ext cx="1164271" cy="543029"/>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238241359"/>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98867471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3587418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72501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1"/>
      </p:bgRef>
    </p:bg>
    <p:spTree>
      <p:nvGrpSpPr>
        <p:cNvPr id="1" name=""/>
        <p:cNvGrpSpPr/>
        <p:nvPr/>
      </p:nvGrpSpPr>
      <p:grpSpPr>
        <a:xfrm>
          <a:off x="0" y="0"/>
          <a:ext cx="0" cy="0"/>
          <a:chOff x="0" y="0"/>
          <a:chExt cx="0" cy="0"/>
        </a:xfrm>
      </p:grpSpPr>
      <p:pic>
        <p:nvPicPr>
          <p:cNvPr id="6" name="Picture 5" descr="People walking inside a building">
            <a:extLst>
              <a:ext uri="{FF2B5EF4-FFF2-40B4-BE49-F238E27FC236}">
                <a16:creationId xmlns:a16="http://schemas.microsoft.com/office/drawing/2014/main" id="{18C9E532-0781-4F83-8257-C4E2F0DF4E08}"/>
              </a:ext>
            </a:extLst>
          </p:cNvPr>
          <p:cNvPicPr>
            <a:picLocks noChangeAspect="1"/>
          </p:cNvPicPr>
          <p:nvPr userDrawn="1"/>
        </p:nvPicPr>
        <p:blipFill>
          <a:blip r:embed="rId2"/>
          <a:srcRect/>
          <a:stretch/>
        </p:blipFill>
        <p:spPr bwMode="auto">
          <a:xfrm>
            <a:off x="5326063" y="609"/>
            <a:ext cx="6865937" cy="685678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64645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4" name="Picture 3" descr="People walking outside of a building">
            <a:extLst>
              <a:ext uri="{FF2B5EF4-FFF2-40B4-BE49-F238E27FC236}">
                <a16:creationId xmlns:a16="http://schemas.microsoft.com/office/drawing/2014/main" id="{27A30450-231A-472F-8283-664DDDDDBA28}"/>
              </a:ext>
            </a:extLst>
          </p:cNvPr>
          <p:cNvPicPr>
            <a:picLocks noChangeAspect="1"/>
          </p:cNvPicPr>
          <p:nvPr userDrawn="1"/>
        </p:nvPicPr>
        <p:blipFill>
          <a:blip r:embed="rId2"/>
          <a:srcRect/>
          <a:stretch/>
        </p:blipFill>
        <p:spPr>
          <a:xfrm>
            <a:off x="1525" y="0"/>
            <a:ext cx="12188950" cy="685799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10" name="Rectangle 9">
            <a:extLst>
              <a:ext uri="{FF2B5EF4-FFF2-40B4-BE49-F238E27FC236}">
                <a16:creationId xmlns:a16="http://schemas.microsoft.com/office/drawing/2014/main" id="{B4F9EC6D-F4DD-4865-84A3-4549C8763D30}"/>
              </a:ext>
              <a:ext uri="{C183D7F6-B498-43B3-948B-1728B52AA6E4}">
                <adec:decorative xmlns:adec="http://schemas.microsoft.com/office/drawing/2017/decorative" val="1"/>
              </a:ext>
            </a:extLst>
          </p:cNvPr>
          <p:cNvSpPr/>
          <p:nvPr userDrawn="1"/>
        </p:nvSpPr>
        <p:spPr bwMode="auto">
          <a:xfrm>
            <a:off x="-9525" y="5383762"/>
            <a:ext cx="12211049" cy="1474238"/>
          </a:xfrm>
          <a:prstGeom prst="rect">
            <a:avLst/>
          </a:prstGeom>
          <a:solidFill>
            <a:schemeClr val="bg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837133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01333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43495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21125" cy="553998"/>
          </a:xfrm>
        </p:spPr>
        <p:txBody>
          <a:bodyPr>
            <a:normAutofit/>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6201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6647" cy="553998"/>
          </a:xfr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74003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ormAutofit/>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9791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21125" cy="553998"/>
          </a:xfrm>
        </p:spPr>
        <p:txBody>
          <a:bodyPr>
            <a:normAutofit/>
          </a:bodyPr>
          <a:lstStyle/>
          <a:p>
            <a:r>
              <a:rPr lang="en-US"/>
              <a:t>Click to edit Master title style</a:t>
            </a:r>
          </a:p>
        </p:txBody>
      </p:sp>
    </p:spTree>
    <p:extLst>
      <p:ext uri="{BB962C8B-B14F-4D97-AF65-F5344CB8AC3E}">
        <p14:creationId xmlns:p14="http://schemas.microsoft.com/office/powerpoint/2010/main" val="13547356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normAutofit/>
          </a:bodyPr>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61524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normAutofit/>
          </a:bodyPr>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normAutofit/>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85832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normAutofit/>
          </a:body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32167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normAutofit/>
          </a:bodyPr>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190816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normAutofit/>
          </a:bodyP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312839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248947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47420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8143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2737556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rmAutofit/>
          </a:bodyP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rmAutofit/>
          </a:bodyP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24655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descr="A building next to a body of water">
            <a:extLst>
              <a:ext uri="{FF2B5EF4-FFF2-40B4-BE49-F238E27FC236}">
                <a16:creationId xmlns:a16="http://schemas.microsoft.com/office/drawing/2014/main" id="{12356880-928A-4C82-8970-B37FC0866B56}"/>
              </a:ext>
            </a:extLst>
          </p:cNvPr>
          <p:cNvPicPr>
            <a:picLocks noChangeAspect="1"/>
          </p:cNvPicPr>
          <p:nvPr userDrawn="1"/>
        </p:nvPicPr>
        <p:blipFill rotWithShape="1">
          <a:blip r:embed="rId2"/>
          <a:srcRect l="12263" r="12263"/>
          <a:stretch/>
        </p:blipFill>
        <p:spPr>
          <a:xfrm>
            <a:off x="8127999" y="0"/>
            <a:ext cx="4064002" cy="6858000"/>
          </a:xfrm>
          <a:prstGeom prst="rect">
            <a:avLst/>
          </a:prstGeom>
        </p:spPr>
      </p:pic>
    </p:spTree>
    <p:extLst>
      <p:ext uri="{BB962C8B-B14F-4D97-AF65-F5344CB8AC3E}">
        <p14:creationId xmlns:p14="http://schemas.microsoft.com/office/powerpoint/2010/main" val="40019809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A group of people walking in front of a building">
            <a:extLst>
              <a:ext uri="{FF2B5EF4-FFF2-40B4-BE49-F238E27FC236}">
                <a16:creationId xmlns:a16="http://schemas.microsoft.com/office/drawing/2014/main" id="{CBCB491C-2344-4ADB-8240-53852BD79B4B}"/>
              </a:ext>
            </a:extLst>
          </p:cNvPr>
          <p:cNvPicPr>
            <a:picLocks noChangeAspect="1"/>
          </p:cNvPicPr>
          <p:nvPr userDrawn="1"/>
        </p:nvPicPr>
        <p:blipFill rotWithShape="1">
          <a:blip r:embed="rId2"/>
          <a:srcRect l="13882" t="694" b="2483"/>
          <a:stretch/>
        </p:blipFill>
        <p:spPr>
          <a:xfrm>
            <a:off x="8128000" y="0"/>
            <a:ext cx="4064000" cy="6858000"/>
          </a:xfrm>
          <a:prstGeom prst="rect">
            <a:avLst/>
          </a:prstGeom>
        </p:spPr>
      </p:pic>
    </p:spTree>
    <p:extLst>
      <p:ext uri="{BB962C8B-B14F-4D97-AF65-F5344CB8AC3E}">
        <p14:creationId xmlns:p14="http://schemas.microsoft.com/office/powerpoint/2010/main" val="669014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A184EEDC-EEFF-4BF1-8C36-0F1EC045FD06}"/>
              </a:ext>
            </a:extLst>
          </p:cNvPr>
          <p:cNvPicPr>
            <a:picLocks noChangeAspect="1"/>
          </p:cNvPicPr>
          <p:nvPr userDrawn="1"/>
        </p:nvPicPr>
        <p:blipFill rotWithShape="1">
          <a:blip r:embed="rId2"/>
          <a:srcRect l="26241" t="426"/>
          <a:stretch/>
        </p:blipFill>
        <p:spPr>
          <a:xfrm>
            <a:off x="8128000" y="-1"/>
            <a:ext cx="4064000" cy="6857999"/>
          </a:xfrm>
          <a:prstGeom prst="rect">
            <a:avLst/>
          </a:prstGeom>
        </p:spPr>
      </p:pic>
    </p:spTree>
    <p:extLst>
      <p:ext uri="{BB962C8B-B14F-4D97-AF65-F5344CB8AC3E}">
        <p14:creationId xmlns:p14="http://schemas.microsoft.com/office/powerpoint/2010/main" val="525947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Building interior">
            <a:extLst>
              <a:ext uri="{FF2B5EF4-FFF2-40B4-BE49-F238E27FC236}">
                <a16:creationId xmlns:a16="http://schemas.microsoft.com/office/drawing/2014/main" id="{B699B570-B4DD-40CB-B922-88CB57977377}"/>
              </a:ext>
            </a:extLst>
          </p:cNvPr>
          <p:cNvPicPr>
            <a:picLocks noChangeAspect="1"/>
          </p:cNvPicPr>
          <p:nvPr userDrawn="1"/>
        </p:nvPicPr>
        <p:blipFill rotWithShape="1">
          <a:blip r:embed="rId2"/>
          <a:srcRect l="7234" r="3820"/>
          <a:stretch/>
        </p:blipFill>
        <p:spPr>
          <a:xfrm>
            <a:off x="8128000" y="0"/>
            <a:ext cx="4064000" cy="6858000"/>
          </a:xfrm>
          <a:prstGeom prst="rect">
            <a:avLst/>
          </a:prstGeom>
        </p:spPr>
      </p:pic>
    </p:spTree>
    <p:extLst>
      <p:ext uri="{BB962C8B-B14F-4D97-AF65-F5344CB8AC3E}">
        <p14:creationId xmlns:p14="http://schemas.microsoft.com/office/powerpoint/2010/main" val="2046597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Two people talking">
            <a:extLst>
              <a:ext uri="{FF2B5EF4-FFF2-40B4-BE49-F238E27FC236}">
                <a16:creationId xmlns:a16="http://schemas.microsoft.com/office/drawing/2014/main" id="{F74346D8-BFA4-49B0-9764-4330354D688F}"/>
              </a:ext>
            </a:extLst>
          </p:cNvPr>
          <p:cNvPicPr>
            <a:picLocks noChangeAspect="1"/>
          </p:cNvPicPr>
          <p:nvPr userDrawn="1"/>
        </p:nvPicPr>
        <p:blipFill rotWithShape="1">
          <a:blip r:embed="rId2"/>
          <a:srcRect l="50803" r="9691"/>
          <a:stretch/>
        </p:blipFill>
        <p:spPr>
          <a:xfrm>
            <a:off x="8128000" y="0"/>
            <a:ext cx="4064000" cy="6858000"/>
          </a:xfrm>
          <a:prstGeom prst="rect">
            <a:avLst/>
          </a:prstGeom>
        </p:spPr>
      </p:pic>
    </p:spTree>
    <p:extLst>
      <p:ext uri="{BB962C8B-B14F-4D97-AF65-F5344CB8AC3E}">
        <p14:creationId xmlns:p14="http://schemas.microsoft.com/office/powerpoint/2010/main" val="19382868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People working in front of a window">
            <a:extLst>
              <a:ext uri="{FF2B5EF4-FFF2-40B4-BE49-F238E27FC236}">
                <a16:creationId xmlns:a16="http://schemas.microsoft.com/office/drawing/2014/main" id="{9C6CE9ED-4568-43C2-9DCC-0A4B173ADE42}"/>
              </a:ext>
            </a:extLst>
          </p:cNvPr>
          <p:cNvPicPr>
            <a:picLocks noChangeAspect="1"/>
          </p:cNvPicPr>
          <p:nvPr userDrawn="1"/>
        </p:nvPicPr>
        <p:blipFill rotWithShape="1">
          <a:blip r:embed="rId2"/>
          <a:srcRect l="26510" t="923" r="9411"/>
          <a:stretch/>
        </p:blipFill>
        <p:spPr>
          <a:xfrm>
            <a:off x="8128000" y="0"/>
            <a:ext cx="4064000" cy="6858000"/>
          </a:xfrm>
          <a:prstGeom prst="rect">
            <a:avLst/>
          </a:prstGeom>
        </p:spPr>
      </p:pic>
    </p:spTree>
    <p:extLst>
      <p:ext uri="{BB962C8B-B14F-4D97-AF65-F5344CB8AC3E}">
        <p14:creationId xmlns:p14="http://schemas.microsoft.com/office/powerpoint/2010/main" val="1233143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168909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774863"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774863" cy="338554"/>
          </a:xfrm>
          <a:noFill/>
        </p:spPr>
        <p:txBody>
          <a:bodyPr wrap="square" lIns="0" tIns="0" rIns="0" bIns="0">
            <a:norm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pic>
        <p:nvPicPr>
          <p:cNvPr id="11" name="Picture 10" descr="Building interior">
            <a:extLst>
              <a:ext uri="{FF2B5EF4-FFF2-40B4-BE49-F238E27FC236}">
                <a16:creationId xmlns:a16="http://schemas.microsoft.com/office/drawing/2014/main" id="{4EF6E4B6-CE6C-4950-9E63-5502BD6DD104}"/>
              </a:ext>
            </a:extLst>
          </p:cNvPr>
          <p:cNvPicPr>
            <a:picLocks noChangeAspect="1"/>
          </p:cNvPicPr>
          <p:nvPr userDrawn="1"/>
        </p:nvPicPr>
        <p:blipFill rotWithShape="1">
          <a:blip r:embed="rId2"/>
          <a:srcRect l="16985" t="275" r="17261"/>
          <a:stretch/>
        </p:blipFill>
        <p:spPr>
          <a:xfrm>
            <a:off x="8128000" y="0"/>
            <a:ext cx="4064000" cy="6858000"/>
          </a:xfrm>
          <a:prstGeom prst="rect">
            <a:avLst/>
          </a:prstGeom>
        </p:spPr>
      </p:pic>
    </p:spTree>
    <p:extLst>
      <p:ext uri="{BB962C8B-B14F-4D97-AF65-F5344CB8AC3E}">
        <p14:creationId xmlns:p14="http://schemas.microsoft.com/office/powerpoint/2010/main" val="4069603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2F2F2F"/>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229772" y="64347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3" name="TextBox 2">
            <a:extLst>
              <a:ext uri="{FF2B5EF4-FFF2-40B4-BE49-F238E27FC236}">
                <a16:creationId xmlns:a16="http://schemas.microsoft.com/office/drawing/2014/main" id="{2FA08BFE-A681-433C-8674-858361FE3C9B}"/>
              </a:ext>
            </a:extLst>
          </p:cNvPr>
          <p:cNvSpPr txBox="1"/>
          <p:nvPr userDrawn="1"/>
        </p:nvSpPr>
        <p:spPr>
          <a:xfrm>
            <a:off x="229772" y="2794782"/>
            <a:ext cx="9303434" cy="1723549"/>
          </a:xfrm>
          <a:prstGeom prst="rect">
            <a:avLst/>
          </a:prstGeom>
          <a:noFill/>
        </p:spPr>
        <p:txBody>
          <a:bodyPr wrap="square" lIns="0" tIns="0" rIns="0" bIns="0" rtlCol="0">
            <a:spAutoFit/>
          </a:bodyPr>
          <a:lstStyle/>
          <a:p>
            <a:pPr algn="l"/>
            <a:r>
              <a:rPr lang="en-US" sz="2800">
                <a:gradFill>
                  <a:gsLst>
                    <a:gs pos="2917">
                      <a:schemeClr val="tx1"/>
                    </a:gs>
                    <a:gs pos="30000">
                      <a:schemeClr val="tx1"/>
                    </a:gs>
                  </a:gsLst>
                  <a:lin ang="5400000" scaled="0"/>
                </a:gradFill>
              </a:rPr>
              <a:t>Thank you for attending this Microsoft SPARK 3.0 session.</a:t>
            </a:r>
            <a:br>
              <a:rPr lang="en-US" sz="2800">
                <a:gradFill>
                  <a:gsLst>
                    <a:gs pos="2917">
                      <a:schemeClr val="tx1"/>
                    </a:gs>
                    <a:gs pos="30000">
                      <a:schemeClr val="tx1"/>
                    </a:gs>
                  </a:gsLst>
                  <a:lin ang="5400000" scaled="0"/>
                </a:gradFill>
              </a:rPr>
            </a:br>
            <a:br>
              <a:rPr lang="en-US" sz="2800">
                <a:gradFill>
                  <a:gsLst>
                    <a:gs pos="2917">
                      <a:schemeClr val="tx1"/>
                    </a:gs>
                    <a:gs pos="30000">
                      <a:schemeClr val="tx1"/>
                    </a:gs>
                  </a:gsLst>
                  <a:lin ang="5400000" scaled="0"/>
                </a:gradFill>
              </a:rPr>
            </a:br>
            <a:r>
              <a:rPr lang="en-US" sz="2800">
                <a:gradFill>
                  <a:gsLst>
                    <a:gs pos="2917">
                      <a:schemeClr val="tx1"/>
                    </a:gs>
                    <a:gs pos="30000">
                      <a:schemeClr val="tx1"/>
                    </a:gs>
                  </a:gsLst>
                  <a:lin ang="5400000" scaled="0"/>
                </a:gradFill>
              </a:rPr>
              <a:t>Please consider filling out our survey to help support the event and to provide feedback.</a:t>
            </a:r>
          </a:p>
        </p:txBody>
      </p:sp>
    </p:spTree>
    <p:extLst>
      <p:ext uri="{BB962C8B-B14F-4D97-AF65-F5344CB8AC3E}">
        <p14:creationId xmlns:p14="http://schemas.microsoft.com/office/powerpoint/2010/main" val="3526706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038190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B06530E-E0A4-4F5C-A2AA-6F2458366749}"/>
              </a:ext>
            </a:extLst>
          </p:cNvPr>
          <p:cNvSpPr>
            <a:spLocks noGrp="1"/>
          </p:cNvSpPr>
          <p:nvPr>
            <p:ph type="body" sz="quarter" idx="10" hasCustomPrompt="1"/>
          </p:nvPr>
        </p:nvSpPr>
        <p:spPr>
          <a:xfrm>
            <a:off x="455995" y="880847"/>
            <a:ext cx="11653518" cy="482831"/>
          </a:xfrm>
        </p:spPr>
        <p:txBody>
          <a:bodyPr wrap="square" anchor="t">
            <a:spAutoFit/>
          </a:bodyPr>
          <a:lstStyle>
            <a:lvl1pPr marL="0" indent="0">
              <a:spcBef>
                <a:spcPts val="1200"/>
              </a:spcBef>
              <a:buClr>
                <a:schemeClr val="tx1"/>
              </a:buClr>
              <a:buFont typeface="Wingdings" panose="05000000000000000000" pitchFamily="2" charset="2"/>
              <a:buNone/>
              <a:defRPr sz="1961" b="0">
                <a:solidFill>
                  <a:schemeClr val="tx2"/>
                </a:solidFill>
                <a:latin typeface="+mn-lt"/>
              </a:defRPr>
            </a:lvl1pPr>
            <a:lvl2pPr marL="250483" indent="0">
              <a:buFont typeface="Wingdings" panose="05000000000000000000" pitchFamily="2" charset="2"/>
              <a:buNone/>
              <a:defRPr sz="2353" b="0"/>
            </a:lvl2pPr>
            <a:lvl3pPr marL="441844" indent="0">
              <a:buFont typeface="Wingdings" panose="05000000000000000000" pitchFamily="2" charset="2"/>
              <a:buNone/>
              <a:tabLst/>
              <a:defRPr sz="2157" b="0"/>
            </a:lvl3pPr>
            <a:lvl4pPr marL="639430" indent="0">
              <a:buFont typeface="Wingdings" panose="05000000000000000000" pitchFamily="2" charset="2"/>
              <a:buNone/>
              <a:defRPr sz="2157" b="0"/>
            </a:lvl4pPr>
            <a:lvl5pPr marL="837015" indent="0">
              <a:buFont typeface="Wingdings" panose="05000000000000000000" pitchFamily="2" charset="2"/>
              <a:buNone/>
              <a:tabLst/>
              <a:defRPr sz="2157" b="0"/>
            </a:lvl5pPr>
          </a:lstStyle>
          <a:p>
            <a:pPr lvl="0"/>
            <a:r>
              <a:rPr lang="en-US"/>
              <a:t>Edit Master text styles</a:t>
            </a:r>
          </a:p>
        </p:txBody>
      </p:sp>
      <p:sp>
        <p:nvSpPr>
          <p:cNvPr id="5" name="Title 4">
            <a:extLst>
              <a:ext uri="{FF2B5EF4-FFF2-40B4-BE49-F238E27FC236}">
                <a16:creationId xmlns:a16="http://schemas.microsoft.com/office/drawing/2014/main" id="{87130827-37E5-8B43-ACE0-0B31DF5D98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4174287"/>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EBEFB-AEB8-48A3-8CD0-1032656A9F7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CBC936-78D2-496E-948B-EBC5D0C4C5C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3BC5CE-2E99-4E31-8E19-5C7D1AB207AD}"/>
              </a:ext>
            </a:extLst>
          </p:cNvPr>
          <p:cNvSpPr>
            <a:spLocks noGrp="1"/>
          </p:cNvSpPr>
          <p:nvPr>
            <p:ph type="dt" sz="half" idx="10"/>
          </p:nvPr>
        </p:nvSpPr>
        <p:spPr/>
        <p:txBody>
          <a:bodyPr/>
          <a:lstStyle/>
          <a:p>
            <a:fld id="{729F5841-215F-471C-ACB4-FA0D89952041}" type="datetimeFigureOut">
              <a:rPr lang="en-US" smtClean="0"/>
              <a:t>10/28/2022</a:t>
            </a:fld>
            <a:endParaRPr lang="en-US"/>
          </a:p>
        </p:txBody>
      </p:sp>
      <p:sp>
        <p:nvSpPr>
          <p:cNvPr id="5" name="Footer Placeholder 4">
            <a:extLst>
              <a:ext uri="{FF2B5EF4-FFF2-40B4-BE49-F238E27FC236}">
                <a16:creationId xmlns:a16="http://schemas.microsoft.com/office/drawing/2014/main" id="{9BB8D7E7-F352-4180-A51D-6C0A18E4F8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9D67CE-B73B-47AA-B6BF-DA92800B0C02}"/>
              </a:ext>
            </a:extLst>
          </p:cNvPr>
          <p:cNvSpPr>
            <a:spLocks noGrp="1"/>
          </p:cNvSpPr>
          <p:nvPr>
            <p:ph type="sldNum" sz="quarter" idx="12"/>
          </p:nvPr>
        </p:nvSpPr>
        <p:spPr/>
        <p:txBody>
          <a:bodyPr/>
          <a:lstStyle/>
          <a:p>
            <a:fld id="{DE4AD2F2-3F47-45E1-9BB9-7A96BF304599}" type="slidenum">
              <a:rPr lang="en-US" smtClean="0"/>
              <a:t>‹#›</a:t>
            </a:fld>
            <a:endParaRPr lang="en-US"/>
          </a:p>
        </p:txBody>
      </p:sp>
    </p:spTree>
    <p:extLst>
      <p:ext uri="{BB962C8B-B14F-4D97-AF65-F5344CB8AC3E}">
        <p14:creationId xmlns:p14="http://schemas.microsoft.com/office/powerpoint/2010/main" val="227914564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8D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lgn="l">
              <a:defRPr sz="7054" cap="none" spc="-98" baseline="0">
                <a:solidFill>
                  <a:schemeClr val="bg1"/>
                </a:solidFill>
              </a:defRPr>
            </a:lvl1pPr>
          </a:lstStyle>
          <a:p>
            <a:r>
              <a:rPr lang="en-US"/>
              <a:t>Section title</a:t>
            </a:r>
          </a:p>
        </p:txBody>
      </p:sp>
    </p:spTree>
    <p:extLst>
      <p:ext uri="{BB962C8B-B14F-4D97-AF65-F5344CB8AC3E}">
        <p14:creationId xmlns:p14="http://schemas.microsoft.com/office/powerpoint/2010/main" val="778074625"/>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008D1-486E-4786-8B99-553C99734C16}"/>
              </a:ext>
            </a:extLst>
          </p:cNvPr>
          <p:cNvSpPr>
            <a:spLocks noGrp="1"/>
          </p:cNvSpPr>
          <p:nvPr>
            <p:ph type="title"/>
          </p:nvPr>
        </p:nvSpPr>
        <p:spPr/>
        <p:txBody>
          <a:bodyPr/>
          <a:lstStyle>
            <a:lvl1pPr>
              <a:defRPr b="1">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A3785C0-9BB1-494E-A12D-DC3345DCEE3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18B48C-174E-400D-8A29-2DBC52249857}"/>
              </a:ext>
            </a:extLst>
          </p:cNvPr>
          <p:cNvSpPr>
            <a:spLocks noGrp="1"/>
          </p:cNvSpPr>
          <p:nvPr>
            <p:ph type="dt" sz="half" idx="10"/>
          </p:nvPr>
        </p:nvSpPr>
        <p:spPr/>
        <p:txBody>
          <a:bodyPr/>
          <a:lstStyle/>
          <a:p>
            <a:fld id="{A5FFAE9F-DBFA-4BC6-B3A7-1DF3CDE48F71}" type="datetimeFigureOut">
              <a:rPr lang="en-US" smtClean="0"/>
              <a:t>10/28/2022</a:t>
            </a:fld>
            <a:endParaRPr lang="en-US"/>
          </a:p>
        </p:txBody>
      </p:sp>
      <p:sp>
        <p:nvSpPr>
          <p:cNvPr id="5" name="Footer Placeholder 4">
            <a:extLst>
              <a:ext uri="{FF2B5EF4-FFF2-40B4-BE49-F238E27FC236}">
                <a16:creationId xmlns:a16="http://schemas.microsoft.com/office/drawing/2014/main" id="{88238826-A9CD-4580-89B1-69E9CAECD0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E26882-64BB-42DC-A618-F0A1F05F3A67}"/>
              </a:ext>
            </a:extLst>
          </p:cNvPr>
          <p:cNvSpPr>
            <a:spLocks noGrp="1"/>
          </p:cNvSpPr>
          <p:nvPr>
            <p:ph type="sldNum" sz="quarter" idx="12"/>
          </p:nvPr>
        </p:nvSpPr>
        <p:spPr/>
        <p:txBody>
          <a:bodyPr/>
          <a:lstStyle/>
          <a:p>
            <a:fld id="{65A46899-4EBC-4EB1-9ABB-4BE511472E02}" type="slidenum">
              <a:rPr lang="en-US" smtClean="0"/>
              <a:t>‹#›</a:t>
            </a:fld>
            <a:endParaRPr lang="en-US"/>
          </a:p>
        </p:txBody>
      </p:sp>
    </p:spTree>
    <p:extLst>
      <p:ext uri="{BB962C8B-B14F-4D97-AF65-F5344CB8AC3E}">
        <p14:creationId xmlns:p14="http://schemas.microsoft.com/office/powerpoint/2010/main" val="3278830843"/>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67360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D6FC3-8F0A-46D7-AAF5-2B818BA5EB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E83502-9289-4503-89BD-F91141F40AB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5BDE2-B615-4364-AD1B-54F119FDBD9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636173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ver 1">
    <p:bg>
      <p:bgPr>
        <a:solidFill>
          <a:schemeClr val="tx1"/>
        </a:solidFill>
        <a:effectLst/>
      </p:bgPr>
    </p:bg>
    <p:spTree>
      <p:nvGrpSpPr>
        <p:cNvPr id="1" name=""/>
        <p:cNvGrpSpPr/>
        <p:nvPr/>
      </p:nvGrpSpPr>
      <p:grpSpPr>
        <a:xfrm>
          <a:off x="0" y="0"/>
          <a:ext cx="0" cy="0"/>
          <a:chOff x="0" y="0"/>
          <a:chExt cx="0" cy="0"/>
        </a:xfrm>
      </p:grpSpPr>
      <p:pic>
        <p:nvPicPr>
          <p:cNvPr id="2" name="Picture 1" descr="A picture containing chart&#10;&#10;Description automatically generated">
            <a:extLst>
              <a:ext uri="{FF2B5EF4-FFF2-40B4-BE49-F238E27FC236}">
                <a16:creationId xmlns:a16="http://schemas.microsoft.com/office/drawing/2014/main" id="{A11D6F25-F9E7-42C1-89F6-68C9F6075AA4}"/>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sp>
        <p:nvSpPr>
          <p:cNvPr id="12" name="TextBox 11">
            <a:extLst>
              <a:ext uri="{FF2B5EF4-FFF2-40B4-BE49-F238E27FC236}">
                <a16:creationId xmlns:a16="http://schemas.microsoft.com/office/drawing/2014/main" id="{17CBB113-496E-4A60-BDBB-A5C24933AD65}"/>
              </a:ext>
            </a:extLst>
          </p:cNvPr>
          <p:cNvSpPr txBox="1"/>
          <p:nvPr userDrawn="1"/>
        </p:nvSpPr>
        <p:spPr>
          <a:xfrm>
            <a:off x="582043" y="6056115"/>
            <a:ext cx="4174107" cy="215444"/>
          </a:xfrm>
          <a:prstGeom prst="rect">
            <a:avLst/>
          </a:prstGeom>
          <a:noFill/>
        </p:spPr>
        <p:txBody>
          <a:bodyPr wrap="square" lIns="0" tIns="0" rIns="0" bIns="0" rtlCol="0">
            <a:spAutoFit/>
          </a:bodyPr>
          <a:lstStyle/>
          <a:p>
            <a:pPr algn="l"/>
            <a:r>
              <a:rPr lang="en-US" sz="1400">
                <a:solidFill>
                  <a:schemeClr val="accent1"/>
                </a:solidFill>
                <a:latin typeface="+mj-lt"/>
              </a:rPr>
              <a:t>Azure CXP</a:t>
            </a:r>
          </a:p>
        </p:txBody>
      </p:sp>
      <p:pic>
        <p:nvPicPr>
          <p:cNvPr id="6" name="Picture 5">
            <a:extLst>
              <a:ext uri="{FF2B5EF4-FFF2-40B4-BE49-F238E27FC236}">
                <a16:creationId xmlns:a16="http://schemas.microsoft.com/office/drawing/2014/main" id="{8D187BAD-E25C-4377-B3F1-3CBCE97D0033}"/>
              </a:ext>
            </a:extLst>
          </p:cNvPr>
          <p:cNvPicPr>
            <a:picLocks noChangeAspect="1"/>
          </p:cNvPicPr>
          <p:nvPr userDrawn="1"/>
        </p:nvPicPr>
        <p:blipFill>
          <a:blip r:embed="rId3"/>
          <a:stretch>
            <a:fillRect/>
          </a:stretch>
        </p:blipFill>
        <p:spPr>
          <a:xfrm>
            <a:off x="293688" y="298375"/>
            <a:ext cx="2626331" cy="868680"/>
          </a:xfrm>
          <a:prstGeom prst="rect">
            <a:avLst/>
          </a:prstGeom>
        </p:spPr>
      </p:pic>
      <p:sp>
        <p:nvSpPr>
          <p:cNvPr id="8" name="Title 1">
            <a:extLst>
              <a:ext uri="{FF2B5EF4-FFF2-40B4-BE49-F238E27FC236}">
                <a16:creationId xmlns:a16="http://schemas.microsoft.com/office/drawing/2014/main" id="{DD4D59E1-A14D-4BD5-ADDB-CCD45969FA85}"/>
              </a:ext>
            </a:extLst>
          </p:cNvPr>
          <p:cNvSpPr>
            <a:spLocks noGrp="1"/>
          </p:cNvSpPr>
          <p:nvPr>
            <p:ph type="title" hasCustomPrompt="1"/>
          </p:nvPr>
        </p:nvSpPr>
        <p:spPr>
          <a:xfrm>
            <a:off x="588263" y="2425541"/>
            <a:ext cx="5507737" cy="1107996"/>
          </a:xfrm>
        </p:spPr>
        <p:txBody>
          <a:bodyPr wrap="square" anchor="b" anchorCtr="0">
            <a:spAutoFit/>
          </a:bodyPr>
          <a:lstStyle>
            <a:lvl1pPr>
              <a:defRPr>
                <a:solidFill>
                  <a:schemeClr val="bg1"/>
                </a:solidFill>
              </a:defRPr>
            </a:lvl1pPr>
          </a:lstStyle>
          <a:p>
            <a:r>
              <a:rPr lang="en-US"/>
              <a:t>Event name or presentation title </a:t>
            </a:r>
          </a:p>
        </p:txBody>
      </p:sp>
      <p:sp>
        <p:nvSpPr>
          <p:cNvPr id="9" name="Text Placeholder 4">
            <a:extLst>
              <a:ext uri="{FF2B5EF4-FFF2-40B4-BE49-F238E27FC236}">
                <a16:creationId xmlns:a16="http://schemas.microsoft.com/office/drawing/2014/main" id="{0423E2C2-F9B4-46E5-8AD7-46DFDD8E3FE1}"/>
              </a:ext>
            </a:extLst>
          </p:cNvPr>
          <p:cNvSpPr>
            <a:spLocks noGrp="1"/>
          </p:cNvSpPr>
          <p:nvPr>
            <p:ph type="body" sz="quarter" idx="12" hasCustomPrompt="1"/>
          </p:nvPr>
        </p:nvSpPr>
        <p:spPr>
          <a:xfrm>
            <a:off x="582042" y="3962400"/>
            <a:ext cx="5503371"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Speaker title</a:t>
            </a:r>
          </a:p>
        </p:txBody>
      </p:sp>
    </p:spTree>
    <p:extLst>
      <p:ext uri="{BB962C8B-B14F-4D97-AF65-F5344CB8AC3E}">
        <p14:creationId xmlns:p14="http://schemas.microsoft.com/office/powerpoint/2010/main" val="3026067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91636226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5133309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tx1"/>
        </a:solidFill>
        <a:effectLst/>
      </p:bgPr>
    </p:bg>
    <p:spTree>
      <p:nvGrpSpPr>
        <p:cNvPr id="1" name=""/>
        <p:cNvGrpSpPr/>
        <p:nvPr/>
      </p:nvGrpSpPr>
      <p:grpSpPr>
        <a:xfrm>
          <a:off x="0" y="0"/>
          <a:ext cx="0" cy="0"/>
          <a:chOff x="0" y="0"/>
          <a:chExt cx="0" cy="0"/>
        </a:xfrm>
      </p:grpSpPr>
      <p:pic>
        <p:nvPicPr>
          <p:cNvPr id="4" name="Picture 3" descr="Diagram&#10;&#10;Description automatically generated">
            <a:extLst>
              <a:ext uri="{FF2B5EF4-FFF2-40B4-BE49-F238E27FC236}">
                <a16:creationId xmlns:a16="http://schemas.microsoft.com/office/drawing/2014/main" id="{D2AAE5E9-A03D-4F3D-AB50-7D2BDD4A1AE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ext Placeholder 4">
            <a:extLst>
              <a:ext uri="{FF2B5EF4-FFF2-40B4-BE49-F238E27FC236}">
                <a16:creationId xmlns:a16="http://schemas.microsoft.com/office/drawing/2014/main" id="{7CFD5D61-CAF6-4E49-800E-C93C979C4CAD}"/>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pic>
        <p:nvPicPr>
          <p:cNvPr id="3" name="Picture 2">
            <a:extLst>
              <a:ext uri="{FF2B5EF4-FFF2-40B4-BE49-F238E27FC236}">
                <a16:creationId xmlns:a16="http://schemas.microsoft.com/office/drawing/2014/main" id="{59E34598-FD8C-4EAC-A213-A5C8EDC62917}"/>
              </a:ext>
            </a:extLst>
          </p:cNvPr>
          <p:cNvPicPr>
            <a:picLocks noChangeAspect="1"/>
          </p:cNvPicPr>
          <p:nvPr userDrawn="1"/>
        </p:nvPicPr>
        <p:blipFill>
          <a:blip r:embed="rId3"/>
          <a:stretch>
            <a:fillRect/>
          </a:stretch>
        </p:blipFill>
        <p:spPr>
          <a:xfrm>
            <a:off x="293688" y="298375"/>
            <a:ext cx="2626331" cy="868680"/>
          </a:xfrm>
          <a:prstGeom prst="rect">
            <a:avLst/>
          </a:prstGeom>
        </p:spPr>
      </p:pic>
      <p:sp>
        <p:nvSpPr>
          <p:cNvPr id="8" name="Title 1">
            <a:extLst>
              <a:ext uri="{FF2B5EF4-FFF2-40B4-BE49-F238E27FC236}">
                <a16:creationId xmlns:a16="http://schemas.microsoft.com/office/drawing/2014/main" id="{F6F3D861-DA91-4D0D-83FF-68CE9095E416}"/>
              </a:ext>
            </a:extLst>
          </p:cNvPr>
          <p:cNvSpPr>
            <a:spLocks noGrp="1"/>
          </p:cNvSpPr>
          <p:nvPr>
            <p:ph type="title" hasCustomPrompt="1"/>
          </p:nvPr>
        </p:nvSpPr>
        <p:spPr>
          <a:xfrm>
            <a:off x="588264" y="2979539"/>
            <a:ext cx="7479412" cy="553998"/>
          </a:xfrm>
        </p:spPr>
        <p:txBody>
          <a:bodyPr wrap="square" anchor="b" anchorCtr="0">
            <a:spAutoFit/>
          </a:bodyPr>
          <a:lstStyle>
            <a:lvl1pPr>
              <a:defRPr>
                <a:solidFill>
                  <a:schemeClr val="bg1"/>
                </a:solidFill>
              </a:defRPr>
            </a:lvl1pPr>
          </a:lstStyle>
          <a:p>
            <a:r>
              <a:rPr lang="en-US"/>
              <a:t>Event name or presentation title </a:t>
            </a:r>
          </a:p>
        </p:txBody>
      </p:sp>
      <p:sp>
        <p:nvSpPr>
          <p:cNvPr id="9" name="Text Placeholder 4">
            <a:extLst>
              <a:ext uri="{FF2B5EF4-FFF2-40B4-BE49-F238E27FC236}">
                <a16:creationId xmlns:a16="http://schemas.microsoft.com/office/drawing/2014/main" id="{E6BE8D62-C40A-4CE2-B5C6-16C2F47DA81F}"/>
              </a:ext>
            </a:extLst>
          </p:cNvPr>
          <p:cNvSpPr>
            <a:spLocks noGrp="1"/>
          </p:cNvSpPr>
          <p:nvPr>
            <p:ph type="body" sz="quarter" idx="12" hasCustomPrompt="1"/>
          </p:nvPr>
        </p:nvSpPr>
        <p:spPr>
          <a:xfrm>
            <a:off x="582042" y="3962400"/>
            <a:ext cx="74734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Speaker title</a:t>
            </a:r>
          </a:p>
        </p:txBody>
      </p:sp>
      <p:sp>
        <p:nvSpPr>
          <p:cNvPr id="2" name="TextBox 1">
            <a:extLst>
              <a:ext uri="{FF2B5EF4-FFF2-40B4-BE49-F238E27FC236}">
                <a16:creationId xmlns:a16="http://schemas.microsoft.com/office/drawing/2014/main" id="{5FF38CD0-7B70-44AD-A8B8-DE130578C05B}"/>
              </a:ext>
            </a:extLst>
          </p:cNvPr>
          <p:cNvSpPr txBox="1"/>
          <p:nvPr userDrawn="1"/>
        </p:nvSpPr>
        <p:spPr>
          <a:xfrm>
            <a:off x="582043" y="6056115"/>
            <a:ext cx="4174107" cy="215444"/>
          </a:xfrm>
          <a:prstGeom prst="rect">
            <a:avLst/>
          </a:prstGeom>
          <a:noFill/>
        </p:spPr>
        <p:txBody>
          <a:bodyPr wrap="square" lIns="0" tIns="0" rIns="0" bIns="0" rtlCol="0">
            <a:spAutoFit/>
          </a:bodyPr>
          <a:lstStyle/>
          <a:p>
            <a:pPr algn="l"/>
            <a:r>
              <a:rPr lang="en-US" sz="1400">
                <a:solidFill>
                  <a:schemeClr val="accent1"/>
                </a:solidFill>
                <a:latin typeface="+mj-lt"/>
              </a:rPr>
              <a:t>Azure CXP</a:t>
            </a:r>
          </a:p>
        </p:txBody>
      </p:sp>
    </p:spTree>
    <p:extLst>
      <p:ext uri="{BB962C8B-B14F-4D97-AF65-F5344CB8AC3E}">
        <p14:creationId xmlns:p14="http://schemas.microsoft.com/office/powerpoint/2010/main" val="1513597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36">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ver 3">
    <p:bg>
      <p:bgPr>
        <a:solidFill>
          <a:schemeClr val="tx1"/>
        </a:solidFill>
        <a:effectLst/>
      </p:bgPr>
    </p:bg>
    <p:spTree>
      <p:nvGrpSpPr>
        <p:cNvPr id="1" name=""/>
        <p:cNvGrpSpPr/>
        <p:nvPr/>
      </p:nvGrpSpPr>
      <p:grpSpPr>
        <a:xfrm>
          <a:off x="0" y="0"/>
          <a:ext cx="0" cy="0"/>
          <a:chOff x="0" y="0"/>
          <a:chExt cx="0" cy="0"/>
        </a:xfrm>
      </p:grpSpPr>
      <p:pic>
        <p:nvPicPr>
          <p:cNvPr id="2" name="Picture 1" descr="Diagram, engineering drawing&#10;&#10;Description automatically generated">
            <a:extLst>
              <a:ext uri="{FF2B5EF4-FFF2-40B4-BE49-F238E27FC236}">
                <a16:creationId xmlns:a16="http://schemas.microsoft.com/office/drawing/2014/main" id="{F31EBB5C-12E5-48A9-861F-55555111AC04}"/>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ext Placeholder 4">
            <a:extLst>
              <a:ext uri="{FF2B5EF4-FFF2-40B4-BE49-F238E27FC236}">
                <a16:creationId xmlns:a16="http://schemas.microsoft.com/office/drawing/2014/main" id="{0C4EC7A4-D26F-4C87-892F-93A5055A3770}"/>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pic>
        <p:nvPicPr>
          <p:cNvPr id="17" name="Picture 16">
            <a:extLst>
              <a:ext uri="{FF2B5EF4-FFF2-40B4-BE49-F238E27FC236}">
                <a16:creationId xmlns:a16="http://schemas.microsoft.com/office/drawing/2014/main" id="{4C65A718-EDCC-4833-BD8F-09BDAAB161F8}"/>
              </a:ext>
            </a:extLst>
          </p:cNvPr>
          <p:cNvPicPr>
            <a:picLocks noChangeAspect="1"/>
          </p:cNvPicPr>
          <p:nvPr userDrawn="1"/>
        </p:nvPicPr>
        <p:blipFill>
          <a:blip r:embed="rId3"/>
          <a:stretch>
            <a:fillRect/>
          </a:stretch>
        </p:blipFill>
        <p:spPr>
          <a:xfrm>
            <a:off x="293688" y="298375"/>
            <a:ext cx="2626331" cy="868680"/>
          </a:xfrm>
          <a:prstGeom prst="rect">
            <a:avLst/>
          </a:prstGeom>
        </p:spPr>
      </p:pic>
      <p:sp>
        <p:nvSpPr>
          <p:cNvPr id="7" name="Title 1">
            <a:extLst>
              <a:ext uri="{FF2B5EF4-FFF2-40B4-BE49-F238E27FC236}">
                <a16:creationId xmlns:a16="http://schemas.microsoft.com/office/drawing/2014/main" id="{9D59AD23-A59F-409E-B72B-F32FB9910BA2}"/>
              </a:ext>
            </a:extLst>
          </p:cNvPr>
          <p:cNvSpPr>
            <a:spLocks noGrp="1"/>
          </p:cNvSpPr>
          <p:nvPr>
            <p:ph type="title" hasCustomPrompt="1"/>
          </p:nvPr>
        </p:nvSpPr>
        <p:spPr>
          <a:xfrm>
            <a:off x="588263" y="2425541"/>
            <a:ext cx="5507737" cy="1107996"/>
          </a:xfrm>
        </p:spPr>
        <p:txBody>
          <a:bodyPr wrap="square" anchor="b" anchorCtr="0">
            <a:spAutoFit/>
          </a:bodyPr>
          <a:lstStyle>
            <a:lvl1pPr>
              <a:defRPr>
                <a:solidFill>
                  <a:schemeClr val="bg1"/>
                </a:solidFill>
              </a:defRPr>
            </a:lvl1pPr>
          </a:lstStyle>
          <a:p>
            <a:r>
              <a:rPr lang="en-US"/>
              <a:t>Event name or presentation title </a:t>
            </a:r>
          </a:p>
        </p:txBody>
      </p:sp>
      <p:sp>
        <p:nvSpPr>
          <p:cNvPr id="8" name="Text Placeholder 4">
            <a:extLst>
              <a:ext uri="{FF2B5EF4-FFF2-40B4-BE49-F238E27FC236}">
                <a16:creationId xmlns:a16="http://schemas.microsoft.com/office/drawing/2014/main" id="{691B5888-A75B-404E-93D4-8D3B2739E1EA}"/>
              </a:ext>
            </a:extLst>
          </p:cNvPr>
          <p:cNvSpPr>
            <a:spLocks noGrp="1"/>
          </p:cNvSpPr>
          <p:nvPr>
            <p:ph type="body" sz="quarter" idx="12" hasCustomPrompt="1"/>
          </p:nvPr>
        </p:nvSpPr>
        <p:spPr>
          <a:xfrm>
            <a:off x="582042" y="3962400"/>
            <a:ext cx="5503371"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Speaker title</a:t>
            </a:r>
          </a:p>
        </p:txBody>
      </p:sp>
    </p:spTree>
    <p:extLst>
      <p:ext uri="{BB962C8B-B14F-4D97-AF65-F5344CB8AC3E}">
        <p14:creationId xmlns:p14="http://schemas.microsoft.com/office/powerpoint/2010/main" val="1288971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5064">
          <p15:clr>
            <a:srgbClr val="5ACBF0"/>
          </p15:clr>
        </p15:guide>
        <p15:guide id="4" orient="horz" pos="2160">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ub-team Cover 1">
    <p:bg>
      <p:bgPr>
        <a:solidFill>
          <a:schemeClr val="tx1"/>
        </a:solidFill>
        <a:effectLst/>
      </p:bgPr>
    </p:bg>
    <p:spTree>
      <p:nvGrpSpPr>
        <p:cNvPr id="1" name=""/>
        <p:cNvGrpSpPr/>
        <p:nvPr/>
      </p:nvGrpSpPr>
      <p:grpSpPr>
        <a:xfrm>
          <a:off x="0" y="0"/>
          <a:ext cx="0" cy="0"/>
          <a:chOff x="0" y="0"/>
          <a:chExt cx="0" cy="0"/>
        </a:xfrm>
      </p:grpSpPr>
      <p:pic>
        <p:nvPicPr>
          <p:cNvPr id="3" name="Picture 2" descr="A picture containing chart&#10;&#10;Description automatically generated">
            <a:extLst>
              <a:ext uri="{FF2B5EF4-FFF2-40B4-BE49-F238E27FC236}">
                <a16:creationId xmlns:a16="http://schemas.microsoft.com/office/drawing/2014/main" id="{41FA1C57-3592-4A18-8A62-D1EE070EFD3F}"/>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5507737" cy="1107996"/>
          </a:xfrm>
        </p:spPr>
        <p:txBody>
          <a:bodyPr wrap="square" anchor="b" anchorCtr="0">
            <a:spAutoFit/>
          </a:bodyPr>
          <a:lstStyle>
            <a:lvl1pPr>
              <a:defRPr>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5503371"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Speaker titl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pic>
        <p:nvPicPr>
          <p:cNvPr id="6" name="Picture 5">
            <a:extLst>
              <a:ext uri="{FF2B5EF4-FFF2-40B4-BE49-F238E27FC236}">
                <a16:creationId xmlns:a16="http://schemas.microsoft.com/office/drawing/2014/main" id="{8D187BAD-E25C-4377-B3F1-3CBCE97D0033}"/>
              </a:ext>
            </a:extLst>
          </p:cNvPr>
          <p:cNvPicPr>
            <a:picLocks noChangeAspect="1"/>
          </p:cNvPicPr>
          <p:nvPr userDrawn="1"/>
        </p:nvPicPr>
        <p:blipFill>
          <a:blip r:embed="rId3"/>
          <a:stretch>
            <a:fillRect/>
          </a:stretch>
        </p:blipFill>
        <p:spPr>
          <a:xfrm>
            <a:off x="293688" y="298375"/>
            <a:ext cx="2626331" cy="868680"/>
          </a:xfrm>
          <a:prstGeom prst="rect">
            <a:avLst/>
          </a:prstGeom>
        </p:spPr>
      </p:pic>
      <p:sp>
        <p:nvSpPr>
          <p:cNvPr id="10" name="TextBox 9">
            <a:extLst>
              <a:ext uri="{FF2B5EF4-FFF2-40B4-BE49-F238E27FC236}">
                <a16:creationId xmlns:a16="http://schemas.microsoft.com/office/drawing/2014/main" id="{8CDB908A-D2F0-412E-82B2-04E6ED31B490}"/>
              </a:ext>
            </a:extLst>
          </p:cNvPr>
          <p:cNvSpPr txBox="1"/>
          <p:nvPr userDrawn="1"/>
        </p:nvSpPr>
        <p:spPr>
          <a:xfrm>
            <a:off x="582043" y="6056115"/>
            <a:ext cx="1137220" cy="215444"/>
          </a:xfrm>
          <a:prstGeom prst="rect">
            <a:avLst/>
          </a:prstGeom>
          <a:noFill/>
        </p:spPr>
        <p:txBody>
          <a:bodyPr wrap="square" lIns="0" tIns="0" rIns="0" bIns="0" rtlCol="0">
            <a:spAutoFit/>
          </a:bodyPr>
          <a:lstStyle/>
          <a:p>
            <a:pPr algn="l"/>
            <a:r>
              <a:rPr lang="en-US" sz="1400" strike="noStrike">
                <a:solidFill>
                  <a:schemeClr val="accent1"/>
                </a:solidFill>
                <a:latin typeface="+mj-lt"/>
              </a:rPr>
              <a:t>Azure CXP  //</a:t>
            </a:r>
          </a:p>
        </p:txBody>
      </p:sp>
      <p:sp>
        <p:nvSpPr>
          <p:cNvPr id="12" name="Text Placeholder 4">
            <a:extLst>
              <a:ext uri="{FF2B5EF4-FFF2-40B4-BE49-F238E27FC236}">
                <a16:creationId xmlns:a16="http://schemas.microsoft.com/office/drawing/2014/main" id="{D232FCB4-D3AB-4DDA-A4BE-097A99BBFD67}"/>
              </a:ext>
            </a:extLst>
          </p:cNvPr>
          <p:cNvSpPr>
            <a:spLocks noGrp="1"/>
          </p:cNvSpPr>
          <p:nvPr>
            <p:ph type="body" sz="quarter" idx="15" hasCustomPrompt="1"/>
          </p:nvPr>
        </p:nvSpPr>
        <p:spPr>
          <a:xfrm>
            <a:off x="1772256" y="6056115"/>
            <a:ext cx="7295544" cy="215444"/>
          </a:xfrm>
          <a:noFill/>
        </p:spPr>
        <p:txBody>
          <a:bodyPr wrap="square" lIns="0" tIns="0" rIns="0" bIns="0">
            <a:spAutoFit/>
          </a:bodyPr>
          <a:lstStyle>
            <a:lvl1pPr marL="0" indent="0">
              <a:spcBef>
                <a:spcPts val="0"/>
              </a:spcBef>
              <a:buNone/>
              <a:defRPr lang="en-US" sz="1400" strike="noStrike" kern="1200" dirty="0">
                <a:solidFill>
                  <a:schemeClr val="accent1"/>
                </a:solidFill>
                <a:latin typeface="+mj-lt"/>
                <a:ea typeface="+mn-ea"/>
                <a:cs typeface="+mn-cs"/>
              </a:defRPr>
            </a:lvl1pPr>
          </a:lstStyle>
          <a:p>
            <a:pPr lvl="0"/>
            <a:r>
              <a:rPr lang="en-US"/>
              <a:t>Sub-team name</a:t>
            </a:r>
          </a:p>
        </p:txBody>
      </p:sp>
    </p:spTree>
    <p:extLst>
      <p:ext uri="{BB962C8B-B14F-4D97-AF65-F5344CB8AC3E}">
        <p14:creationId xmlns:p14="http://schemas.microsoft.com/office/powerpoint/2010/main" val="4036478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ub-team Cover 2">
    <p:bg>
      <p:bgPr>
        <a:solidFill>
          <a:schemeClr val="tx1"/>
        </a:solidFill>
        <a:effectLst/>
      </p:bgPr>
    </p:bg>
    <p:spTree>
      <p:nvGrpSpPr>
        <p:cNvPr id="1" name=""/>
        <p:cNvGrpSpPr/>
        <p:nvPr/>
      </p:nvGrpSpPr>
      <p:grpSpPr>
        <a:xfrm>
          <a:off x="0" y="0"/>
          <a:ext cx="0" cy="0"/>
          <a:chOff x="0" y="0"/>
          <a:chExt cx="0" cy="0"/>
        </a:xfrm>
      </p:grpSpPr>
      <p:pic>
        <p:nvPicPr>
          <p:cNvPr id="2" name="Picture 1" descr="Diagram&#10;&#10;Description automatically generated">
            <a:extLst>
              <a:ext uri="{FF2B5EF4-FFF2-40B4-BE49-F238E27FC236}">
                <a16:creationId xmlns:a16="http://schemas.microsoft.com/office/drawing/2014/main" id="{9DE886FA-8171-48E2-A6CB-92C4A3E90C37}"/>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ext Placeholder 4">
            <a:extLst>
              <a:ext uri="{FF2B5EF4-FFF2-40B4-BE49-F238E27FC236}">
                <a16:creationId xmlns:a16="http://schemas.microsoft.com/office/drawing/2014/main" id="{7CFD5D61-CAF6-4E49-800E-C93C979C4CAD}"/>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pic>
        <p:nvPicPr>
          <p:cNvPr id="3" name="Picture 2">
            <a:extLst>
              <a:ext uri="{FF2B5EF4-FFF2-40B4-BE49-F238E27FC236}">
                <a16:creationId xmlns:a16="http://schemas.microsoft.com/office/drawing/2014/main" id="{59E34598-FD8C-4EAC-A213-A5C8EDC62917}"/>
              </a:ext>
            </a:extLst>
          </p:cNvPr>
          <p:cNvPicPr>
            <a:picLocks noChangeAspect="1"/>
          </p:cNvPicPr>
          <p:nvPr userDrawn="1"/>
        </p:nvPicPr>
        <p:blipFill>
          <a:blip r:embed="rId3"/>
          <a:stretch>
            <a:fillRect/>
          </a:stretch>
        </p:blipFill>
        <p:spPr>
          <a:xfrm>
            <a:off x="293688" y="298375"/>
            <a:ext cx="2626331" cy="868680"/>
          </a:xfrm>
          <a:prstGeom prst="rect">
            <a:avLst/>
          </a:prstGeom>
        </p:spPr>
      </p:pic>
      <p:sp>
        <p:nvSpPr>
          <p:cNvPr id="9" name="Title 1">
            <a:extLst>
              <a:ext uri="{FF2B5EF4-FFF2-40B4-BE49-F238E27FC236}">
                <a16:creationId xmlns:a16="http://schemas.microsoft.com/office/drawing/2014/main" id="{5C462165-C9BA-44FD-88FB-796A320B5A2E}"/>
              </a:ext>
            </a:extLst>
          </p:cNvPr>
          <p:cNvSpPr>
            <a:spLocks noGrp="1"/>
          </p:cNvSpPr>
          <p:nvPr>
            <p:ph type="title" hasCustomPrompt="1"/>
          </p:nvPr>
        </p:nvSpPr>
        <p:spPr>
          <a:xfrm>
            <a:off x="588264" y="2979539"/>
            <a:ext cx="7479412" cy="553998"/>
          </a:xfrm>
        </p:spPr>
        <p:txBody>
          <a:bodyPr wrap="square" anchor="b" anchorCtr="0">
            <a:spAutoFit/>
          </a:bodyPr>
          <a:lstStyle>
            <a:lvl1pPr>
              <a:defRPr>
                <a:solidFill>
                  <a:schemeClr val="bg1"/>
                </a:solidFill>
              </a:defRPr>
            </a:lvl1pPr>
          </a:lstStyle>
          <a:p>
            <a:r>
              <a:rPr lang="en-US"/>
              <a:t>Event name or presentation title </a:t>
            </a:r>
          </a:p>
        </p:txBody>
      </p:sp>
      <p:sp>
        <p:nvSpPr>
          <p:cNvPr id="10" name="Text Placeholder 4">
            <a:extLst>
              <a:ext uri="{FF2B5EF4-FFF2-40B4-BE49-F238E27FC236}">
                <a16:creationId xmlns:a16="http://schemas.microsoft.com/office/drawing/2014/main" id="{7C064DFA-83C5-47B0-9E06-E4BECCD9B1DA}"/>
              </a:ext>
            </a:extLst>
          </p:cNvPr>
          <p:cNvSpPr>
            <a:spLocks noGrp="1"/>
          </p:cNvSpPr>
          <p:nvPr>
            <p:ph type="body" sz="quarter" idx="12" hasCustomPrompt="1"/>
          </p:nvPr>
        </p:nvSpPr>
        <p:spPr>
          <a:xfrm>
            <a:off x="582042" y="3962400"/>
            <a:ext cx="74734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Speaker title</a:t>
            </a:r>
          </a:p>
        </p:txBody>
      </p:sp>
      <p:sp>
        <p:nvSpPr>
          <p:cNvPr id="11" name="TextBox 10">
            <a:extLst>
              <a:ext uri="{FF2B5EF4-FFF2-40B4-BE49-F238E27FC236}">
                <a16:creationId xmlns:a16="http://schemas.microsoft.com/office/drawing/2014/main" id="{90118F7E-41B3-4874-9444-9924E08459FE}"/>
              </a:ext>
            </a:extLst>
          </p:cNvPr>
          <p:cNvSpPr txBox="1"/>
          <p:nvPr userDrawn="1"/>
        </p:nvSpPr>
        <p:spPr>
          <a:xfrm>
            <a:off x="582043" y="6056115"/>
            <a:ext cx="1137220" cy="215444"/>
          </a:xfrm>
          <a:prstGeom prst="rect">
            <a:avLst/>
          </a:prstGeom>
          <a:noFill/>
        </p:spPr>
        <p:txBody>
          <a:bodyPr wrap="square" lIns="0" tIns="0" rIns="0" bIns="0" rtlCol="0">
            <a:spAutoFit/>
          </a:bodyPr>
          <a:lstStyle/>
          <a:p>
            <a:pPr algn="l"/>
            <a:r>
              <a:rPr lang="en-US" sz="1400" strike="noStrike">
                <a:solidFill>
                  <a:schemeClr val="accent1"/>
                </a:solidFill>
                <a:latin typeface="+mj-lt"/>
              </a:rPr>
              <a:t>Azure CXP  //</a:t>
            </a:r>
          </a:p>
        </p:txBody>
      </p:sp>
      <p:sp>
        <p:nvSpPr>
          <p:cNvPr id="12" name="Text Placeholder 4">
            <a:extLst>
              <a:ext uri="{FF2B5EF4-FFF2-40B4-BE49-F238E27FC236}">
                <a16:creationId xmlns:a16="http://schemas.microsoft.com/office/drawing/2014/main" id="{0A83FBBE-DF91-4F95-AA27-0DE1271A08B1}"/>
              </a:ext>
            </a:extLst>
          </p:cNvPr>
          <p:cNvSpPr>
            <a:spLocks noGrp="1"/>
          </p:cNvSpPr>
          <p:nvPr>
            <p:ph type="body" sz="quarter" idx="15" hasCustomPrompt="1"/>
          </p:nvPr>
        </p:nvSpPr>
        <p:spPr>
          <a:xfrm>
            <a:off x="1772256" y="6056115"/>
            <a:ext cx="7295544" cy="215444"/>
          </a:xfrm>
          <a:noFill/>
        </p:spPr>
        <p:txBody>
          <a:bodyPr wrap="square" lIns="0" tIns="0" rIns="0" bIns="0">
            <a:spAutoFit/>
          </a:bodyPr>
          <a:lstStyle>
            <a:lvl1pPr marL="0" indent="0">
              <a:spcBef>
                <a:spcPts val="0"/>
              </a:spcBef>
              <a:buNone/>
              <a:defRPr lang="en-US" sz="1400" strike="noStrike" kern="1200" dirty="0">
                <a:solidFill>
                  <a:schemeClr val="accent1"/>
                </a:solidFill>
                <a:latin typeface="+mj-lt"/>
                <a:ea typeface="+mn-ea"/>
                <a:cs typeface="+mn-cs"/>
              </a:defRPr>
            </a:lvl1pPr>
          </a:lstStyle>
          <a:p>
            <a:pPr lvl="0"/>
            <a:r>
              <a:rPr lang="en-US"/>
              <a:t>Sub-team name</a:t>
            </a:r>
          </a:p>
        </p:txBody>
      </p:sp>
    </p:spTree>
    <p:extLst>
      <p:ext uri="{BB962C8B-B14F-4D97-AF65-F5344CB8AC3E}">
        <p14:creationId xmlns:p14="http://schemas.microsoft.com/office/powerpoint/2010/main" val="3913943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36">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ub-team Cover 3">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D3D8CA-704E-40A4-B9D2-E3E492ABC52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6" name="Text Placeholder 4">
            <a:extLst>
              <a:ext uri="{FF2B5EF4-FFF2-40B4-BE49-F238E27FC236}">
                <a16:creationId xmlns:a16="http://schemas.microsoft.com/office/drawing/2014/main" id="{0C4EC7A4-D26F-4C87-892F-93A5055A3770}"/>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bg1"/>
                </a:solidFill>
                <a:latin typeface="Segoe UI" panose="020B0502040204020203" pitchFamily="34" charset="0"/>
                <a:cs typeface="Segoe UI" panose="020B0502040204020203" pitchFamily="34" charset="0"/>
              </a:defRPr>
            </a:lvl1pPr>
          </a:lstStyle>
          <a:p>
            <a:pPr lvl="0"/>
            <a:r>
              <a:rPr lang="en-US"/>
              <a:t>Date</a:t>
            </a:r>
          </a:p>
        </p:txBody>
      </p:sp>
      <p:pic>
        <p:nvPicPr>
          <p:cNvPr id="17" name="Picture 16">
            <a:extLst>
              <a:ext uri="{FF2B5EF4-FFF2-40B4-BE49-F238E27FC236}">
                <a16:creationId xmlns:a16="http://schemas.microsoft.com/office/drawing/2014/main" id="{4C65A718-EDCC-4833-BD8F-09BDAAB161F8}"/>
              </a:ext>
            </a:extLst>
          </p:cNvPr>
          <p:cNvPicPr>
            <a:picLocks noChangeAspect="1"/>
          </p:cNvPicPr>
          <p:nvPr userDrawn="1"/>
        </p:nvPicPr>
        <p:blipFill>
          <a:blip r:embed="rId3"/>
          <a:stretch>
            <a:fillRect/>
          </a:stretch>
        </p:blipFill>
        <p:spPr>
          <a:xfrm>
            <a:off x="293688" y="298375"/>
            <a:ext cx="2626331" cy="868680"/>
          </a:xfrm>
          <a:prstGeom prst="rect">
            <a:avLst/>
          </a:prstGeom>
        </p:spPr>
      </p:pic>
      <p:sp>
        <p:nvSpPr>
          <p:cNvPr id="8" name="Title 1">
            <a:extLst>
              <a:ext uri="{FF2B5EF4-FFF2-40B4-BE49-F238E27FC236}">
                <a16:creationId xmlns:a16="http://schemas.microsoft.com/office/drawing/2014/main" id="{E19D6BB6-179B-450C-ACA7-B3D91F1827F5}"/>
              </a:ext>
            </a:extLst>
          </p:cNvPr>
          <p:cNvSpPr>
            <a:spLocks noGrp="1"/>
          </p:cNvSpPr>
          <p:nvPr>
            <p:ph type="title" hasCustomPrompt="1"/>
          </p:nvPr>
        </p:nvSpPr>
        <p:spPr>
          <a:xfrm>
            <a:off x="588263" y="2979539"/>
            <a:ext cx="8250937" cy="553998"/>
          </a:xfrm>
        </p:spPr>
        <p:txBody>
          <a:bodyPr wrap="square" anchor="b" anchorCtr="0">
            <a:spAutoFit/>
          </a:bodyPr>
          <a:lstStyle>
            <a:lvl1pPr>
              <a:defRPr>
                <a:solidFill>
                  <a:schemeClr val="bg1"/>
                </a:solidFill>
              </a:defRPr>
            </a:lvl1pPr>
          </a:lstStyle>
          <a:p>
            <a:r>
              <a:rPr lang="en-US"/>
              <a:t>Event name or presentation title </a:t>
            </a:r>
          </a:p>
        </p:txBody>
      </p:sp>
      <p:sp>
        <p:nvSpPr>
          <p:cNvPr id="9" name="Text Placeholder 4">
            <a:extLst>
              <a:ext uri="{FF2B5EF4-FFF2-40B4-BE49-F238E27FC236}">
                <a16:creationId xmlns:a16="http://schemas.microsoft.com/office/drawing/2014/main" id="{5D1623DE-5D80-4B00-9BF5-EE13339F317B}"/>
              </a:ext>
            </a:extLst>
          </p:cNvPr>
          <p:cNvSpPr>
            <a:spLocks noGrp="1"/>
          </p:cNvSpPr>
          <p:nvPr>
            <p:ph type="body" sz="quarter" idx="12" hasCustomPrompt="1"/>
          </p:nvPr>
        </p:nvSpPr>
        <p:spPr>
          <a:xfrm>
            <a:off x="582042" y="3962400"/>
            <a:ext cx="8244396"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Speaker title</a:t>
            </a:r>
          </a:p>
        </p:txBody>
      </p:sp>
      <p:sp>
        <p:nvSpPr>
          <p:cNvPr id="10" name="Text Placeholder 4">
            <a:extLst>
              <a:ext uri="{FF2B5EF4-FFF2-40B4-BE49-F238E27FC236}">
                <a16:creationId xmlns:a16="http://schemas.microsoft.com/office/drawing/2014/main" id="{5CFA69B2-A719-4FE6-9B30-981FE4894FE0}"/>
              </a:ext>
            </a:extLst>
          </p:cNvPr>
          <p:cNvSpPr>
            <a:spLocks noGrp="1"/>
          </p:cNvSpPr>
          <p:nvPr>
            <p:ph type="body" sz="quarter" idx="15" hasCustomPrompt="1"/>
          </p:nvPr>
        </p:nvSpPr>
        <p:spPr>
          <a:xfrm rot="5400000">
            <a:off x="9203875" y="3695111"/>
            <a:ext cx="4040096" cy="276999"/>
          </a:xfrm>
          <a:noFill/>
        </p:spPr>
        <p:txBody>
          <a:bodyPr wrap="square" lIns="0" tIns="0" rIns="0" bIns="0" anchor="ctr" anchorCtr="0">
            <a:spAutoFit/>
          </a:bodyPr>
          <a:lstStyle>
            <a:lvl1pPr marL="0" indent="0">
              <a:spcBef>
                <a:spcPts val="0"/>
              </a:spcBef>
              <a:buNone/>
              <a:defRPr lang="en-US" sz="1800" strike="noStrike" kern="1200" dirty="0">
                <a:solidFill>
                  <a:schemeClr val="accent1"/>
                </a:solidFill>
                <a:latin typeface="+mj-lt"/>
                <a:ea typeface="+mn-ea"/>
                <a:cs typeface="+mn-cs"/>
              </a:defRPr>
            </a:lvl1pPr>
          </a:lstStyle>
          <a:p>
            <a:pPr lvl="0"/>
            <a:r>
              <a:rPr lang="en-US"/>
              <a:t>Sub-team name</a:t>
            </a:r>
          </a:p>
        </p:txBody>
      </p:sp>
    </p:spTree>
    <p:extLst>
      <p:ext uri="{BB962C8B-B14F-4D97-AF65-F5344CB8AC3E}">
        <p14:creationId xmlns:p14="http://schemas.microsoft.com/office/powerpoint/2010/main" val="3663940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5064">
          <p15:clr>
            <a:srgbClr val="5ACBF0"/>
          </p15:clr>
        </p15:guide>
        <p15:guide id="4" orient="horz" pos="2160">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NDA slide">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E4A3D60-9462-4E00-8783-8DB549CD4F54}"/>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tx1">
                    <a:lumMod val="50000"/>
                    <a:lumOff val="50000"/>
                  </a:schemeClr>
                </a:solidFill>
                <a:effectLst/>
                <a:uLnTx/>
                <a:uFillTx/>
                <a:latin typeface="Segoe UI" panose="020B0502040204020203" pitchFamily="34" charset="0"/>
                <a:ea typeface="+mn-ea"/>
                <a:cs typeface="Segoe UI" panose="020B0502040204020203" pitchFamily="34" charset="0"/>
              </a:rPr>
              <a:t>MICROSOFT CONFIDENTIAL</a:t>
            </a:r>
          </a:p>
        </p:txBody>
      </p:sp>
      <p:sp>
        <p:nvSpPr>
          <p:cNvPr id="6" name="TextBox 5">
            <a:extLst>
              <a:ext uri="{FF2B5EF4-FFF2-40B4-BE49-F238E27FC236}">
                <a16:creationId xmlns:a16="http://schemas.microsoft.com/office/drawing/2014/main" id="{651ED59B-662B-475A-A037-62C37DD0509C}"/>
              </a:ext>
            </a:extLst>
          </p:cNvPr>
          <p:cNvSpPr txBox="1"/>
          <p:nvPr userDrawn="1"/>
        </p:nvSpPr>
        <p:spPr>
          <a:xfrm>
            <a:off x="584200" y="4429742"/>
            <a:ext cx="11022584" cy="1351139"/>
          </a:xfrm>
          <a:prstGeom prst="rect">
            <a:avLst/>
          </a:prstGeom>
          <a:noFill/>
        </p:spPr>
        <p:txBody>
          <a:bodyPr wrap="square" lIns="182880" tIns="146304" rIns="182880" bIns="146304" rtlCol="0" anchor="ctr">
            <a:spAutoFit/>
          </a:bodyPr>
          <a:lstStyle/>
          <a:p>
            <a:pPr algn="ctr">
              <a:lnSpc>
                <a:spcPct val="90000"/>
              </a:lnSpc>
              <a:spcBef>
                <a:spcPts val="600"/>
              </a:spcBef>
              <a:spcAft>
                <a:spcPts val="600"/>
              </a:spcAft>
            </a:pPr>
            <a:r>
              <a:rPr lang="en-US" sz="1800">
                <a:solidFill>
                  <a:schemeClr val="tx1"/>
                </a:solidFill>
              </a:rPr>
              <a:t>This content is </a:t>
            </a:r>
            <a:r>
              <a:rPr lang="en-US" sz="1800" kern="1200">
                <a:solidFill>
                  <a:schemeClr val="tx1"/>
                </a:soli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600"/>
              </a:spcBef>
              <a:spcAft>
                <a:spcPts val="600"/>
              </a:spcAft>
            </a:pPr>
            <a:r>
              <a:rPr lang="en-US" sz="1800" kern="1200">
                <a:solidFill>
                  <a:schemeClr val="tx1"/>
                </a:solidFill>
                <a:latin typeface="Segoe UI Semibold" panose="020B0702040204020203" pitchFamily="34" charset="0"/>
                <a:ea typeface="+mn-ea"/>
                <a:cs typeface="Segoe UI Semibold" panose="020B0702040204020203" pitchFamily="34" charset="0"/>
              </a:rPr>
              <a:t>DO NOT </a:t>
            </a:r>
            <a:r>
              <a:rPr lang="en-US" sz="1800">
                <a:solidFill>
                  <a:schemeClr val="tx1"/>
                </a:solidFill>
              </a:rPr>
              <a:t>post any of this content to any blogs or external websites</a:t>
            </a:r>
          </a:p>
          <a:p>
            <a:pPr algn="ctr">
              <a:lnSpc>
                <a:spcPct val="90000"/>
              </a:lnSpc>
              <a:spcBef>
                <a:spcPts val="600"/>
              </a:spcBef>
              <a:spcAft>
                <a:spcPts val="600"/>
              </a:spcAft>
            </a:pPr>
            <a:r>
              <a:rPr lang="en-US" sz="1800" kern="1200">
                <a:solidFill>
                  <a:schemeClr val="tx1"/>
                </a:solidFill>
                <a:latin typeface="Segoe UI Semibold" panose="020B0702040204020203" pitchFamily="34" charset="0"/>
                <a:ea typeface="+mn-ea"/>
                <a:cs typeface="Segoe UI Semibold" panose="020B0702040204020203" pitchFamily="34" charset="0"/>
              </a:rPr>
              <a:t>DO NOT </a:t>
            </a:r>
            <a:r>
              <a:rPr lang="en-US" sz="1800">
                <a:solidFill>
                  <a:schemeClr val="tx1"/>
                </a:solidFill>
              </a:rPr>
              <a:t>take photos or video of sessions or slides</a:t>
            </a:r>
          </a:p>
        </p:txBody>
      </p:sp>
      <p:grpSp>
        <p:nvGrpSpPr>
          <p:cNvPr id="79" name="Group 78">
            <a:extLst>
              <a:ext uri="{FF2B5EF4-FFF2-40B4-BE49-F238E27FC236}">
                <a16:creationId xmlns:a16="http://schemas.microsoft.com/office/drawing/2014/main" id="{8DDF075F-7526-47B8-BFD4-A0D22B822120}"/>
              </a:ext>
            </a:extLst>
          </p:cNvPr>
          <p:cNvGrpSpPr/>
          <p:nvPr userDrawn="1"/>
        </p:nvGrpSpPr>
        <p:grpSpPr>
          <a:xfrm>
            <a:off x="5256189" y="2402351"/>
            <a:ext cx="1688052" cy="1712329"/>
            <a:chOff x="5256189" y="2402351"/>
            <a:chExt cx="1688052" cy="1712329"/>
          </a:xfrm>
        </p:grpSpPr>
        <p:sp>
          <p:nvSpPr>
            <p:cNvPr id="4" name="Oval 3">
              <a:extLst>
                <a:ext uri="{FF2B5EF4-FFF2-40B4-BE49-F238E27FC236}">
                  <a16:creationId xmlns:a16="http://schemas.microsoft.com/office/drawing/2014/main" id="{CD2E0BDD-B29C-4F34-B01F-797B4D339B6C}"/>
                </a:ext>
              </a:extLst>
            </p:cNvPr>
            <p:cNvSpPr/>
            <p:nvPr userDrawn="1"/>
          </p:nvSpPr>
          <p:spPr bwMode="auto">
            <a:xfrm>
              <a:off x="5256189" y="2402351"/>
              <a:ext cx="1595438" cy="1595434"/>
            </a:xfrm>
            <a:prstGeom prst="ellipse">
              <a:avLst/>
            </a:prstGeom>
            <a:solidFill>
              <a:schemeClr val="bg1"/>
            </a:solidFill>
            <a:ln>
              <a:noFill/>
              <a:headEnd type="none" w="med" len="med"/>
              <a:tailEnd type="none" w="med" len="med"/>
            </a:ln>
            <a:effectLst>
              <a:outerShdw blurRad="152400" sx="105000" sy="105000" algn="ctr"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3BF35ED3-CC9C-4B2E-AECC-804E897BB9F5}"/>
                </a:ext>
              </a:extLst>
            </p:cNvPr>
            <p:cNvGrpSpPr/>
            <p:nvPr userDrawn="1"/>
          </p:nvGrpSpPr>
          <p:grpSpPr bwMode="gray">
            <a:xfrm flipH="1">
              <a:off x="5790102" y="2699489"/>
              <a:ext cx="527613" cy="1001158"/>
              <a:chOff x="5200650" y="1722438"/>
              <a:chExt cx="1797050" cy="3409950"/>
            </a:xfrm>
          </p:grpSpPr>
          <p:sp>
            <p:nvSpPr>
              <p:cNvPr id="10" name="Freeform 26">
                <a:extLst>
                  <a:ext uri="{FF2B5EF4-FFF2-40B4-BE49-F238E27FC236}">
                    <a16:creationId xmlns:a16="http://schemas.microsoft.com/office/drawing/2014/main" id="{16BD814E-7CCC-49B3-833E-FB11E29262A7}"/>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11" name="Freeform 27">
                <a:extLst>
                  <a:ext uri="{FF2B5EF4-FFF2-40B4-BE49-F238E27FC236}">
                    <a16:creationId xmlns:a16="http://schemas.microsoft.com/office/drawing/2014/main" id="{4DC854E3-FA03-4048-B561-D426FEAEC79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12" name="Rectangle 28">
                <a:extLst>
                  <a:ext uri="{FF2B5EF4-FFF2-40B4-BE49-F238E27FC236}">
                    <a16:creationId xmlns:a16="http://schemas.microsoft.com/office/drawing/2014/main" id="{A39795C5-10A7-433B-9071-B33B3E5AB417}"/>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sp>
            <p:nvSpPr>
              <p:cNvPr id="13" name="Rectangle 29">
                <a:extLst>
                  <a:ext uri="{FF2B5EF4-FFF2-40B4-BE49-F238E27FC236}">
                    <a16:creationId xmlns:a16="http://schemas.microsoft.com/office/drawing/2014/main" id="{8734A9AC-B7DD-4A71-A9CE-65D3D9C0D1A3}"/>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14" name="Rectangle 30">
                <a:extLst>
                  <a:ext uri="{FF2B5EF4-FFF2-40B4-BE49-F238E27FC236}">
                    <a16:creationId xmlns:a16="http://schemas.microsoft.com/office/drawing/2014/main" id="{E979D18A-D17C-439E-9004-CF7E23A6C2D0}"/>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15" name="Rectangle 31">
                <a:extLst>
                  <a:ext uri="{FF2B5EF4-FFF2-40B4-BE49-F238E27FC236}">
                    <a16:creationId xmlns:a16="http://schemas.microsoft.com/office/drawing/2014/main" id="{4BBA9FCC-A9CC-4A4E-8059-0E68ABF974BB}"/>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16" name="Rectangle 32">
                <a:extLst>
                  <a:ext uri="{FF2B5EF4-FFF2-40B4-BE49-F238E27FC236}">
                    <a16:creationId xmlns:a16="http://schemas.microsoft.com/office/drawing/2014/main" id="{DA61CA6E-A50D-4C4E-86A2-42F7DAA2D6D4}"/>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17" name="Rectangle 33">
                <a:extLst>
                  <a:ext uri="{FF2B5EF4-FFF2-40B4-BE49-F238E27FC236}">
                    <a16:creationId xmlns:a16="http://schemas.microsoft.com/office/drawing/2014/main" id="{D49D4EFC-46A0-4FDC-927A-B65B1230D9CC}"/>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18" name="Rectangle 34">
                <a:extLst>
                  <a:ext uri="{FF2B5EF4-FFF2-40B4-BE49-F238E27FC236}">
                    <a16:creationId xmlns:a16="http://schemas.microsoft.com/office/drawing/2014/main" id="{700F6E4D-E515-4B56-BA78-A8052B670743}"/>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19" name="Rectangle 35">
                <a:extLst>
                  <a:ext uri="{FF2B5EF4-FFF2-40B4-BE49-F238E27FC236}">
                    <a16:creationId xmlns:a16="http://schemas.microsoft.com/office/drawing/2014/main" id="{4C093B51-EEF9-4677-82E3-BC6CDE469689}"/>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sp>
            <p:nvSpPr>
              <p:cNvPr id="20" name="Rectangle 36">
                <a:extLst>
                  <a:ext uri="{FF2B5EF4-FFF2-40B4-BE49-F238E27FC236}">
                    <a16:creationId xmlns:a16="http://schemas.microsoft.com/office/drawing/2014/main" id="{3B1A55F8-3EAA-45D3-AE08-91A5BBB830B9}"/>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sp>
            <p:nvSpPr>
              <p:cNvPr id="21" name="Rectangle 37">
                <a:extLst>
                  <a:ext uri="{FF2B5EF4-FFF2-40B4-BE49-F238E27FC236}">
                    <a16:creationId xmlns:a16="http://schemas.microsoft.com/office/drawing/2014/main" id="{C980FF57-11E5-4BF4-ADDF-C06124F86F3E}"/>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sp>
            <p:nvSpPr>
              <p:cNvPr id="22" name="Rectangle 38">
                <a:extLst>
                  <a:ext uri="{FF2B5EF4-FFF2-40B4-BE49-F238E27FC236}">
                    <a16:creationId xmlns:a16="http://schemas.microsoft.com/office/drawing/2014/main" id="{BFF88941-0967-4215-A71B-B6A75633CF80}"/>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3" name="Rectangle 39">
                <a:extLst>
                  <a:ext uri="{FF2B5EF4-FFF2-40B4-BE49-F238E27FC236}">
                    <a16:creationId xmlns:a16="http://schemas.microsoft.com/office/drawing/2014/main" id="{F24750B6-9AF4-4483-8D2F-9632EAA0CD12}"/>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4" name="Rectangle 40">
                <a:extLst>
                  <a:ext uri="{FF2B5EF4-FFF2-40B4-BE49-F238E27FC236}">
                    <a16:creationId xmlns:a16="http://schemas.microsoft.com/office/drawing/2014/main" id="{1A457C56-7629-4586-842B-894738A73430}"/>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5" name="Rectangle 41">
                <a:extLst>
                  <a:ext uri="{FF2B5EF4-FFF2-40B4-BE49-F238E27FC236}">
                    <a16:creationId xmlns:a16="http://schemas.microsoft.com/office/drawing/2014/main" id="{94FE704F-2DB2-441E-A21C-4D10909C057E}"/>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26" name="Freeform 42">
                <a:extLst>
                  <a:ext uri="{FF2B5EF4-FFF2-40B4-BE49-F238E27FC236}">
                    <a16:creationId xmlns:a16="http://schemas.microsoft.com/office/drawing/2014/main" id="{162CBBAE-EC9A-4097-A96F-43D0CD3898B4}"/>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27" name="Rectangle 43">
                <a:extLst>
                  <a:ext uri="{FF2B5EF4-FFF2-40B4-BE49-F238E27FC236}">
                    <a16:creationId xmlns:a16="http://schemas.microsoft.com/office/drawing/2014/main" id="{25A72DE7-95A2-42BA-A129-5D3963449C0E}"/>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grpSp>
        <p:sp>
          <p:nvSpPr>
            <p:cNvPr id="50" name="Multiplication Sign 49">
              <a:extLst>
                <a:ext uri="{FF2B5EF4-FFF2-40B4-BE49-F238E27FC236}">
                  <a16:creationId xmlns:a16="http://schemas.microsoft.com/office/drawing/2014/main" id="{C8F47BC7-42F2-4EB7-9D91-760975BB9D03}"/>
                </a:ext>
              </a:extLst>
            </p:cNvPr>
            <p:cNvSpPr/>
            <p:nvPr userDrawn="1"/>
          </p:nvSpPr>
          <p:spPr bwMode="ltGray">
            <a:xfrm>
              <a:off x="6229007" y="3399450"/>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grpSp>
        <p:nvGrpSpPr>
          <p:cNvPr id="80" name="Group 79">
            <a:extLst>
              <a:ext uri="{FF2B5EF4-FFF2-40B4-BE49-F238E27FC236}">
                <a16:creationId xmlns:a16="http://schemas.microsoft.com/office/drawing/2014/main" id="{5D37EBA9-085C-41BD-8D47-EEAEB2B9645E}"/>
              </a:ext>
            </a:extLst>
          </p:cNvPr>
          <p:cNvGrpSpPr/>
          <p:nvPr userDrawn="1"/>
        </p:nvGrpSpPr>
        <p:grpSpPr>
          <a:xfrm>
            <a:off x="7779372" y="2402351"/>
            <a:ext cx="1699357" cy="1712329"/>
            <a:chOff x="7779372" y="2402351"/>
            <a:chExt cx="1699357" cy="1712329"/>
          </a:xfrm>
        </p:grpSpPr>
        <p:sp>
          <p:nvSpPr>
            <p:cNvPr id="73" name="Oval 72">
              <a:extLst>
                <a:ext uri="{FF2B5EF4-FFF2-40B4-BE49-F238E27FC236}">
                  <a16:creationId xmlns:a16="http://schemas.microsoft.com/office/drawing/2014/main" id="{F775C34F-89BB-4837-86BD-AE00BC425F0D}"/>
                </a:ext>
              </a:extLst>
            </p:cNvPr>
            <p:cNvSpPr/>
            <p:nvPr userDrawn="1"/>
          </p:nvSpPr>
          <p:spPr bwMode="auto">
            <a:xfrm>
              <a:off x="7779372" y="2402351"/>
              <a:ext cx="1595438" cy="1595434"/>
            </a:xfrm>
            <a:prstGeom prst="ellipse">
              <a:avLst/>
            </a:prstGeom>
            <a:solidFill>
              <a:schemeClr val="bg1"/>
            </a:solidFill>
            <a:ln>
              <a:noFill/>
              <a:headEnd type="none" w="med" len="med"/>
              <a:tailEnd type="none" w="med" len="med"/>
            </a:ln>
            <a:effectLst>
              <a:outerShdw blurRad="152400" sx="105000" sy="105000" algn="ctr"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D9F031CF-7239-4EDF-839E-A1B55AFB504B}"/>
                </a:ext>
              </a:extLst>
            </p:cNvPr>
            <p:cNvGrpSpPr/>
            <p:nvPr userDrawn="1"/>
          </p:nvGrpSpPr>
          <p:grpSpPr bwMode="gray">
            <a:xfrm>
              <a:off x="8001937" y="2837621"/>
              <a:ext cx="1150309" cy="610594"/>
              <a:chOff x="6151563" y="1584325"/>
              <a:chExt cx="4276725" cy="2270126"/>
            </a:xfrm>
          </p:grpSpPr>
          <p:sp>
            <p:nvSpPr>
              <p:cNvPr id="30" name="Rectangle 47">
                <a:extLst>
                  <a:ext uri="{FF2B5EF4-FFF2-40B4-BE49-F238E27FC236}">
                    <a16:creationId xmlns:a16="http://schemas.microsoft.com/office/drawing/2014/main" id="{0CD659C4-5986-46C5-BEDE-B5993589B4CD}"/>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31" name="Rectangle 48">
                <a:extLst>
                  <a:ext uri="{FF2B5EF4-FFF2-40B4-BE49-F238E27FC236}">
                    <a16:creationId xmlns:a16="http://schemas.microsoft.com/office/drawing/2014/main" id="{0323046C-C017-46CB-BD6A-49DFB122A881}"/>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2" name="Freeform 49">
                <a:extLst>
                  <a:ext uri="{FF2B5EF4-FFF2-40B4-BE49-F238E27FC236}">
                    <a16:creationId xmlns:a16="http://schemas.microsoft.com/office/drawing/2014/main" id="{247600BF-70D9-438F-A51A-5FBF331EC7CC}"/>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solidFill>
                    <a:schemeClr val="tx1"/>
                  </a:solidFill>
                </a:endParaRPr>
              </a:p>
            </p:txBody>
          </p:sp>
          <p:sp>
            <p:nvSpPr>
              <p:cNvPr id="33" name="Rectangle 50">
                <a:extLst>
                  <a:ext uri="{FF2B5EF4-FFF2-40B4-BE49-F238E27FC236}">
                    <a16:creationId xmlns:a16="http://schemas.microsoft.com/office/drawing/2014/main" id="{D832C40C-74A0-4893-B85C-028BE538137A}"/>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sp>
            <p:nvSpPr>
              <p:cNvPr id="34" name="Rectangle 51">
                <a:extLst>
                  <a:ext uri="{FF2B5EF4-FFF2-40B4-BE49-F238E27FC236}">
                    <a16:creationId xmlns:a16="http://schemas.microsoft.com/office/drawing/2014/main" id="{77879A55-B2AD-4D02-9FF6-A847DF783A13}"/>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sp>
            <p:nvSpPr>
              <p:cNvPr id="35" name="Rectangle 52">
                <a:extLst>
                  <a:ext uri="{FF2B5EF4-FFF2-40B4-BE49-F238E27FC236}">
                    <a16:creationId xmlns:a16="http://schemas.microsoft.com/office/drawing/2014/main" id="{F3B329F2-B129-4663-8C67-FDF9EBC2BDE1}"/>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sp>
            <p:nvSpPr>
              <p:cNvPr id="36" name="Rectangle 53">
                <a:extLst>
                  <a:ext uri="{FF2B5EF4-FFF2-40B4-BE49-F238E27FC236}">
                    <a16:creationId xmlns:a16="http://schemas.microsoft.com/office/drawing/2014/main" id="{35405D40-9AEC-4318-AB8D-FA6B72C41BF9}"/>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sp>
            <p:nvSpPr>
              <p:cNvPr id="37" name="Rectangle 54">
                <a:extLst>
                  <a:ext uri="{FF2B5EF4-FFF2-40B4-BE49-F238E27FC236}">
                    <a16:creationId xmlns:a16="http://schemas.microsoft.com/office/drawing/2014/main" id="{05C691CB-6513-4837-BA65-46AB88908CF3}"/>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sp>
            <p:nvSpPr>
              <p:cNvPr id="38" name="Rectangle 55">
                <a:extLst>
                  <a:ext uri="{FF2B5EF4-FFF2-40B4-BE49-F238E27FC236}">
                    <a16:creationId xmlns:a16="http://schemas.microsoft.com/office/drawing/2014/main" id="{285CD685-268F-4718-94CB-234D2317BEAE}"/>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sp>
            <p:nvSpPr>
              <p:cNvPr id="39" name="Rectangle 56">
                <a:extLst>
                  <a:ext uri="{FF2B5EF4-FFF2-40B4-BE49-F238E27FC236}">
                    <a16:creationId xmlns:a16="http://schemas.microsoft.com/office/drawing/2014/main" id="{CD4C8442-6528-4252-B60F-9453785744B6}"/>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solidFill>
                    <a:schemeClr val="tx1"/>
                  </a:solidFill>
                </a:endParaRPr>
              </a:p>
            </p:txBody>
          </p:sp>
          <p:sp>
            <p:nvSpPr>
              <p:cNvPr id="40" name="Rectangle 57">
                <a:extLst>
                  <a:ext uri="{FF2B5EF4-FFF2-40B4-BE49-F238E27FC236}">
                    <a16:creationId xmlns:a16="http://schemas.microsoft.com/office/drawing/2014/main" id="{05A39216-6C33-4A40-B464-74EEFF8E7CD2}"/>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41" name="Rectangle 58">
                <a:extLst>
                  <a:ext uri="{FF2B5EF4-FFF2-40B4-BE49-F238E27FC236}">
                    <a16:creationId xmlns:a16="http://schemas.microsoft.com/office/drawing/2014/main" id="{763FDC9B-520B-47E4-9FE6-48D0B8EE08F2}"/>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42" name="Rectangle 59">
                <a:extLst>
                  <a:ext uri="{FF2B5EF4-FFF2-40B4-BE49-F238E27FC236}">
                    <a16:creationId xmlns:a16="http://schemas.microsoft.com/office/drawing/2014/main" id="{E1527710-6E1E-42FA-99C2-12A73FA9E33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43" name="Rectangle 60">
                <a:extLst>
                  <a:ext uri="{FF2B5EF4-FFF2-40B4-BE49-F238E27FC236}">
                    <a16:creationId xmlns:a16="http://schemas.microsoft.com/office/drawing/2014/main" id="{E136BDF8-7FF8-46A8-9E21-759BDBA64451}"/>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44" name="Rectangle 61">
                <a:extLst>
                  <a:ext uri="{FF2B5EF4-FFF2-40B4-BE49-F238E27FC236}">
                    <a16:creationId xmlns:a16="http://schemas.microsoft.com/office/drawing/2014/main" id="{9AD6C937-5EEB-497D-8D2B-140CFE1B2B0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45" name="Rectangle 62">
                <a:extLst>
                  <a:ext uri="{FF2B5EF4-FFF2-40B4-BE49-F238E27FC236}">
                    <a16:creationId xmlns:a16="http://schemas.microsoft.com/office/drawing/2014/main" id="{FA06E5E9-FFF8-445D-958C-D006E1350808}"/>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46" name="Rectangle 63">
                <a:extLst>
                  <a:ext uri="{FF2B5EF4-FFF2-40B4-BE49-F238E27FC236}">
                    <a16:creationId xmlns:a16="http://schemas.microsoft.com/office/drawing/2014/main" id="{F2BE6402-8321-4F32-9900-FB14FA64123E}"/>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47" name="Rectangle 64">
                <a:extLst>
                  <a:ext uri="{FF2B5EF4-FFF2-40B4-BE49-F238E27FC236}">
                    <a16:creationId xmlns:a16="http://schemas.microsoft.com/office/drawing/2014/main" id="{05163067-2AF3-4F72-B77E-31D235A73D4D}"/>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sp>
            <p:nvSpPr>
              <p:cNvPr id="48" name="Rectangle 65">
                <a:extLst>
                  <a:ext uri="{FF2B5EF4-FFF2-40B4-BE49-F238E27FC236}">
                    <a16:creationId xmlns:a16="http://schemas.microsoft.com/office/drawing/2014/main" id="{02EA02DD-6EE8-4B75-A27F-B42A8C5D653B}"/>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chemeClr val="tx1"/>
                  </a:solidFill>
                  <a:effectLst/>
                  <a:uLnTx/>
                  <a:uFillTx/>
                </a:endParaRPr>
              </a:p>
            </p:txBody>
          </p:sp>
        </p:grpSp>
        <p:sp>
          <p:nvSpPr>
            <p:cNvPr id="51" name="Multiplication Sign 50">
              <a:extLst>
                <a:ext uri="{FF2B5EF4-FFF2-40B4-BE49-F238E27FC236}">
                  <a16:creationId xmlns:a16="http://schemas.microsoft.com/office/drawing/2014/main" id="{1443FEA1-3301-4699-8854-5B883A84EA89}"/>
                </a:ext>
              </a:extLst>
            </p:cNvPr>
            <p:cNvSpPr/>
            <p:nvPr userDrawn="1"/>
          </p:nvSpPr>
          <p:spPr bwMode="ltGray">
            <a:xfrm>
              <a:off x="8763495" y="3399450"/>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grpSp>
        <p:nvGrpSpPr>
          <p:cNvPr id="78" name="Group 77">
            <a:extLst>
              <a:ext uri="{FF2B5EF4-FFF2-40B4-BE49-F238E27FC236}">
                <a16:creationId xmlns:a16="http://schemas.microsoft.com/office/drawing/2014/main" id="{90814A2A-7C16-49D2-B43E-1B7DABCFCB48}"/>
              </a:ext>
            </a:extLst>
          </p:cNvPr>
          <p:cNvGrpSpPr/>
          <p:nvPr userDrawn="1"/>
        </p:nvGrpSpPr>
        <p:grpSpPr>
          <a:xfrm>
            <a:off x="2713271" y="2402351"/>
            <a:ext cx="1707787" cy="1712329"/>
            <a:chOff x="2713271" y="2402351"/>
            <a:chExt cx="1707787" cy="1712329"/>
          </a:xfrm>
        </p:grpSpPr>
        <p:sp>
          <p:nvSpPr>
            <p:cNvPr id="3" name="Oval 2">
              <a:extLst>
                <a:ext uri="{FF2B5EF4-FFF2-40B4-BE49-F238E27FC236}">
                  <a16:creationId xmlns:a16="http://schemas.microsoft.com/office/drawing/2014/main" id="{D464B068-0BDD-43D4-9E3F-A3636381E549}"/>
                </a:ext>
              </a:extLst>
            </p:cNvPr>
            <p:cNvSpPr/>
            <p:nvPr userDrawn="1"/>
          </p:nvSpPr>
          <p:spPr bwMode="auto">
            <a:xfrm>
              <a:off x="2713271" y="2402351"/>
              <a:ext cx="1595438" cy="1595434"/>
            </a:xfrm>
            <a:prstGeom prst="ellipse">
              <a:avLst/>
            </a:prstGeom>
            <a:solidFill>
              <a:schemeClr val="bg1"/>
            </a:solidFill>
            <a:ln>
              <a:noFill/>
              <a:headEnd type="none" w="med" len="med"/>
              <a:tailEnd type="none" w="med" len="med"/>
            </a:ln>
            <a:effectLst>
              <a:outerShdw blurRad="152400" sx="105000" sy="105000" algn="ctr"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9" name="Multiplication Sign 48">
              <a:extLst>
                <a:ext uri="{FF2B5EF4-FFF2-40B4-BE49-F238E27FC236}">
                  <a16:creationId xmlns:a16="http://schemas.microsoft.com/office/drawing/2014/main" id="{C3EABB92-EC64-4C33-81BF-AA4A74228A81}"/>
                </a:ext>
              </a:extLst>
            </p:cNvPr>
            <p:cNvSpPr/>
            <p:nvPr userDrawn="1"/>
          </p:nvSpPr>
          <p:spPr bwMode="ltGray">
            <a:xfrm>
              <a:off x="3705824" y="3399450"/>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nvGrpSpPr>
            <p:cNvPr id="52" name="Group 51">
              <a:extLst>
                <a:ext uri="{FF2B5EF4-FFF2-40B4-BE49-F238E27FC236}">
                  <a16:creationId xmlns:a16="http://schemas.microsoft.com/office/drawing/2014/main" id="{B9877B1E-FC34-46C6-8746-8C2682EB5180}"/>
                </a:ext>
              </a:extLst>
            </p:cNvPr>
            <p:cNvGrpSpPr/>
            <p:nvPr userDrawn="1"/>
          </p:nvGrpSpPr>
          <p:grpSpPr bwMode="gray">
            <a:xfrm>
              <a:off x="3076477" y="2870616"/>
              <a:ext cx="869026" cy="658904"/>
              <a:chOff x="3132278" y="2298246"/>
              <a:chExt cx="718204" cy="544549"/>
            </a:xfrm>
          </p:grpSpPr>
          <p:sp>
            <p:nvSpPr>
              <p:cNvPr id="53" name="Freeform: Shape 52">
                <a:extLst>
                  <a:ext uri="{FF2B5EF4-FFF2-40B4-BE49-F238E27FC236}">
                    <a16:creationId xmlns:a16="http://schemas.microsoft.com/office/drawing/2014/main" id="{638492F5-F9B8-4F24-AA74-1FD178E9CAA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54" name="Freeform: Shape 53">
                <a:extLst>
                  <a:ext uri="{FF2B5EF4-FFF2-40B4-BE49-F238E27FC236}">
                    <a16:creationId xmlns:a16="http://schemas.microsoft.com/office/drawing/2014/main" id="{A4A566CE-AE17-46B6-9442-2F32F88D0752}"/>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55" name="Freeform: Shape 54">
                <a:extLst>
                  <a:ext uri="{FF2B5EF4-FFF2-40B4-BE49-F238E27FC236}">
                    <a16:creationId xmlns:a16="http://schemas.microsoft.com/office/drawing/2014/main" id="{CB0A3ED5-8382-48F2-A5EE-09E051E91CB1}"/>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56" name="Freeform: Shape 55">
                <a:extLst>
                  <a:ext uri="{FF2B5EF4-FFF2-40B4-BE49-F238E27FC236}">
                    <a16:creationId xmlns:a16="http://schemas.microsoft.com/office/drawing/2014/main" id="{C33AD297-E22C-4C09-88E1-DE795EF64493}"/>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57" name="Freeform: Shape 56">
                <a:extLst>
                  <a:ext uri="{FF2B5EF4-FFF2-40B4-BE49-F238E27FC236}">
                    <a16:creationId xmlns:a16="http://schemas.microsoft.com/office/drawing/2014/main" id="{06340F6A-8EF4-4D18-8167-9B4B0961F715}"/>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58" name="Freeform: Shape 57">
                <a:extLst>
                  <a:ext uri="{FF2B5EF4-FFF2-40B4-BE49-F238E27FC236}">
                    <a16:creationId xmlns:a16="http://schemas.microsoft.com/office/drawing/2014/main" id="{FDC807A5-496A-4696-9349-3FD62B9C2AA7}"/>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59" name="Freeform: Shape 58">
                <a:extLst>
                  <a:ext uri="{FF2B5EF4-FFF2-40B4-BE49-F238E27FC236}">
                    <a16:creationId xmlns:a16="http://schemas.microsoft.com/office/drawing/2014/main" id="{7B722A1C-DAC0-4E46-896C-971438843DFE}"/>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60" name="Freeform: Shape 59">
                <a:extLst>
                  <a:ext uri="{FF2B5EF4-FFF2-40B4-BE49-F238E27FC236}">
                    <a16:creationId xmlns:a16="http://schemas.microsoft.com/office/drawing/2014/main" id="{DED24BEF-D375-4682-A916-0824896C7A54}"/>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61" name="Freeform: Shape 60">
                <a:extLst>
                  <a:ext uri="{FF2B5EF4-FFF2-40B4-BE49-F238E27FC236}">
                    <a16:creationId xmlns:a16="http://schemas.microsoft.com/office/drawing/2014/main" id="{286C25AB-B9E7-4EB5-8A6D-7ED164D8D53B}"/>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62" name="Freeform: Shape 61">
                <a:extLst>
                  <a:ext uri="{FF2B5EF4-FFF2-40B4-BE49-F238E27FC236}">
                    <a16:creationId xmlns:a16="http://schemas.microsoft.com/office/drawing/2014/main" id="{1E1B99F3-A647-427A-8E1C-40EA8C0F5EAE}"/>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63" name="Freeform: Shape 62">
                <a:extLst>
                  <a:ext uri="{FF2B5EF4-FFF2-40B4-BE49-F238E27FC236}">
                    <a16:creationId xmlns:a16="http://schemas.microsoft.com/office/drawing/2014/main" id="{89E6123A-A60D-4395-8C6A-3ED5C8889E37}"/>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64" name="Freeform: Shape 63">
                <a:extLst>
                  <a:ext uri="{FF2B5EF4-FFF2-40B4-BE49-F238E27FC236}">
                    <a16:creationId xmlns:a16="http://schemas.microsoft.com/office/drawing/2014/main" id="{381BF36A-3C0C-41F8-B0A8-016EEBA67FF5}"/>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65" name="Freeform: Shape 64">
                <a:extLst>
                  <a:ext uri="{FF2B5EF4-FFF2-40B4-BE49-F238E27FC236}">
                    <a16:creationId xmlns:a16="http://schemas.microsoft.com/office/drawing/2014/main" id="{76B929F9-8A20-4D2F-83E2-FCA62B966820}"/>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66" name="Freeform: Shape 65">
                <a:extLst>
                  <a:ext uri="{FF2B5EF4-FFF2-40B4-BE49-F238E27FC236}">
                    <a16:creationId xmlns:a16="http://schemas.microsoft.com/office/drawing/2014/main" id="{C2BF8121-C47A-4571-B1CD-FFE0D5C0CFC6}"/>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67" name="Freeform: Shape 66">
                <a:extLst>
                  <a:ext uri="{FF2B5EF4-FFF2-40B4-BE49-F238E27FC236}">
                    <a16:creationId xmlns:a16="http://schemas.microsoft.com/office/drawing/2014/main" id="{4EF383D7-C030-4C9E-A5CD-906F6D4472C0}"/>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grpSp>
      <p:sp>
        <p:nvSpPr>
          <p:cNvPr id="68" name="TextBox 67">
            <a:extLst>
              <a:ext uri="{FF2B5EF4-FFF2-40B4-BE49-F238E27FC236}">
                <a16:creationId xmlns:a16="http://schemas.microsoft.com/office/drawing/2014/main" id="{8080EA76-145F-4D37-BB94-88AFEAA102EE}"/>
              </a:ext>
            </a:extLst>
          </p:cNvPr>
          <p:cNvSpPr txBox="1"/>
          <p:nvPr userDrawn="1"/>
        </p:nvSpPr>
        <p:spPr>
          <a:xfrm>
            <a:off x="584200" y="1225236"/>
            <a:ext cx="11022584" cy="794064"/>
          </a:xfrm>
          <a:prstGeom prst="rect">
            <a:avLst/>
          </a:prstGeom>
          <a:noFill/>
        </p:spPr>
        <p:txBody>
          <a:bodyPr wrap="square" lIns="182880" tIns="146304" rIns="182880" bIns="146304" rtlCol="0" anchor="ctr">
            <a:spAutoFit/>
          </a:bodyPr>
          <a:lstStyle/>
          <a:p>
            <a:pPr algn="ctr">
              <a:lnSpc>
                <a:spcPct val="90000"/>
              </a:lnSpc>
              <a:spcBef>
                <a:spcPts val="0"/>
              </a:spcBef>
              <a:spcAft>
                <a:spcPts val="0"/>
              </a:spcAft>
            </a:pPr>
            <a:r>
              <a:rPr kumimoji="0" lang="en-US" sz="3600" b="0" i="0" u="none" strike="noStrike" kern="1200" cap="none" spc="-50" normalizeH="0" baseline="0" noProof="0">
                <a:ln w="3175">
                  <a:noFill/>
                </a:ln>
                <a:solidFill>
                  <a:schemeClr val="tx1"/>
                </a:solidFill>
                <a:effectLst/>
                <a:uLnTx/>
                <a:uFillTx/>
                <a:latin typeface="Segoe UI Semibold"/>
                <a:ea typeface="+mn-ea"/>
                <a:cs typeface="Segoe UI" pitchFamily="34" charset="0"/>
              </a:rPr>
              <a:t>All content is strictly under NDA</a:t>
            </a:r>
            <a:endParaRPr lang="en-US" sz="1800">
              <a:solidFill>
                <a:schemeClr val="tx1"/>
              </a:solidFill>
            </a:endParaRPr>
          </a:p>
        </p:txBody>
      </p:sp>
    </p:spTree>
    <p:extLst>
      <p:ext uri="{BB962C8B-B14F-4D97-AF65-F5344CB8AC3E}">
        <p14:creationId xmlns:p14="http://schemas.microsoft.com/office/powerpoint/2010/main" val="7361082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095685"/>
          </a:xfrm>
        </p:spPr>
        <p:txBody>
          <a:bodyPr wrap="square">
            <a:spAutoFit/>
          </a:bodyPr>
          <a:lstStyle>
            <a:lvl1pPr marL="0" indent="0">
              <a:buNone/>
              <a:defRPr/>
            </a:lvl1pPr>
            <a:lvl2pPr marL="457200" indent="0">
              <a:buNone/>
              <a:defRPr/>
            </a:lvl2pPr>
            <a:lvl3pPr marL="9144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8B1E62B2-2678-422B-B7F6-F7CFE71261EA}"/>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575196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095685"/>
          </a:xfrm>
        </p:spPr>
        <p:txBody>
          <a:bodyPr/>
          <a:lstStyle>
            <a:lvl1pPr marL="0" indent="0">
              <a:buClr>
                <a:schemeClr val="tx1">
                  <a:lumMod val="50000"/>
                  <a:lumOff val="50000"/>
                </a:schemeClr>
              </a:buClr>
              <a:buSzPct val="100000"/>
              <a:buNone/>
              <a:defRPr/>
            </a:lvl1pPr>
            <a:lvl2pPr marL="754380" indent="-342900">
              <a:buClr>
                <a:schemeClr val="tx1">
                  <a:lumMod val="50000"/>
                  <a:lumOff val="50000"/>
                </a:schemeClr>
              </a:buClr>
              <a:buSzPct val="100000"/>
              <a:defRPr lang="en-US" sz="2000" kern="1200" spc="0" baseline="0" dirty="0">
                <a:gradFill>
                  <a:gsLst>
                    <a:gs pos="1250">
                      <a:schemeClr val="tx1"/>
                    </a:gs>
                    <a:gs pos="100000">
                      <a:schemeClr val="tx1"/>
                    </a:gs>
                  </a:gsLst>
                  <a:lin ang="5400000" scaled="0"/>
                </a:gradFill>
                <a:latin typeface="+mn-lt"/>
                <a:ea typeface="+mn-ea"/>
                <a:cs typeface="+mn-cs"/>
              </a:defRPr>
            </a:lvl2pPr>
            <a:lvl3pPr marL="1183005" indent="-285750">
              <a:buClr>
                <a:schemeClr val="tx1">
                  <a:lumMod val="50000"/>
                  <a:lumOff val="50000"/>
                </a:schemeClr>
              </a:buClr>
              <a:buSzPct val="100000"/>
              <a:defRPr lang="en-US" sz="1600" kern="1200" spc="0" baseline="0" dirty="0" smtClean="0">
                <a:gradFill>
                  <a:gsLst>
                    <a:gs pos="1250">
                      <a:schemeClr val="tx1"/>
                    </a:gs>
                    <a:gs pos="100000">
                      <a:schemeClr val="tx1"/>
                    </a:gs>
                  </a:gsLst>
                  <a:lin ang="5400000" scaled="0"/>
                </a:gradFill>
                <a:latin typeface="+mn-lt"/>
                <a:ea typeface="+mn-ea"/>
                <a:cs typeface="+mn-cs"/>
              </a:defRPr>
            </a:lvl3pPr>
            <a:lvl4pPr>
              <a:buClr>
                <a:schemeClr val="tx1">
                  <a:lumMod val="50000"/>
                  <a:lumOff val="50000"/>
                </a:schemeClr>
              </a:buClr>
              <a:buSzPct val="100000"/>
              <a:defRPr/>
            </a:lvl4pPr>
          </a:lstStyle>
          <a:p>
            <a:pPr lvl="0"/>
            <a:r>
              <a:rPr lang="en-US"/>
              <a:t>Click to edit Master text styles</a:t>
            </a:r>
          </a:p>
          <a:p>
            <a:pPr lvl="1"/>
            <a:r>
              <a:rPr lang="en-US"/>
              <a:t>Second level</a:t>
            </a:r>
          </a:p>
          <a:p>
            <a:pPr lvl="2"/>
            <a:r>
              <a:rPr lang="en-US"/>
              <a:t>Third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095685"/>
          </a:xfrm>
        </p:spPr>
        <p:txBody>
          <a:bodyPr/>
          <a:lstStyle>
            <a:lvl1pPr marL="0" indent="0">
              <a:buClr>
                <a:schemeClr val="tx1">
                  <a:lumMod val="50000"/>
                  <a:lumOff val="50000"/>
                </a:schemeClr>
              </a:buClr>
              <a:buSzPct val="100000"/>
              <a:buNone/>
              <a:defRPr/>
            </a:lvl1pPr>
            <a:lvl2pPr marL="754380" indent="-342900">
              <a:buClr>
                <a:schemeClr val="tx1">
                  <a:lumMod val="50000"/>
                  <a:lumOff val="50000"/>
                </a:schemeClr>
              </a:buClr>
              <a:buSzPct val="100000"/>
              <a:defRPr lang="en-US" sz="2000" kern="1200" spc="0" baseline="0" dirty="0">
                <a:gradFill>
                  <a:gsLst>
                    <a:gs pos="1250">
                      <a:schemeClr val="tx1"/>
                    </a:gs>
                    <a:gs pos="100000">
                      <a:schemeClr val="tx1"/>
                    </a:gs>
                  </a:gsLst>
                  <a:lin ang="5400000" scaled="0"/>
                </a:gradFill>
                <a:latin typeface="+mn-lt"/>
                <a:ea typeface="+mn-ea"/>
                <a:cs typeface="+mn-cs"/>
              </a:defRPr>
            </a:lvl2pPr>
            <a:lvl3pPr marL="1183005" indent="-285750">
              <a:buClr>
                <a:schemeClr val="tx1">
                  <a:lumMod val="50000"/>
                  <a:lumOff val="50000"/>
                </a:schemeClr>
              </a:buClr>
              <a:buSzPct val="100000"/>
              <a:defRPr lang="en-US" sz="1600" kern="1200" spc="0" baseline="0" dirty="0">
                <a:gradFill>
                  <a:gsLst>
                    <a:gs pos="1250">
                      <a:schemeClr val="tx1"/>
                    </a:gs>
                    <a:gs pos="100000">
                      <a:schemeClr val="tx1"/>
                    </a:gs>
                  </a:gsLst>
                  <a:lin ang="5400000" scaled="0"/>
                </a:gradFill>
                <a:latin typeface="+mn-lt"/>
                <a:ea typeface="+mn-ea"/>
                <a:cs typeface="+mn-cs"/>
              </a:defRPr>
            </a:lvl3pPr>
            <a:lvl4pPr>
              <a:buClr>
                <a:schemeClr val="tx1">
                  <a:lumMod val="50000"/>
                  <a:lumOff val="50000"/>
                </a:schemeClr>
              </a:buClr>
              <a:buSzPct val="100000"/>
              <a:defRPr/>
            </a:lvl4pPr>
          </a:lstStyle>
          <a:p>
            <a:pPr lvl="0"/>
            <a:r>
              <a:rPr lang="en-US"/>
              <a:t>Click to edit Master text styles</a:t>
            </a:r>
          </a:p>
          <a:p>
            <a:pPr lvl="1"/>
            <a:r>
              <a:rPr lang="en-US"/>
              <a:t>Second level</a:t>
            </a:r>
          </a:p>
          <a:p>
            <a:pPr lvl="2"/>
            <a:r>
              <a:rPr lang="en-US"/>
              <a:t>Third level</a:t>
            </a:r>
          </a:p>
        </p:txBody>
      </p:sp>
      <p:sp>
        <p:nvSpPr>
          <p:cNvPr id="6" name="TextBox 5">
            <a:extLst>
              <a:ext uri="{FF2B5EF4-FFF2-40B4-BE49-F238E27FC236}">
                <a16:creationId xmlns:a16="http://schemas.microsoft.com/office/drawing/2014/main" id="{7DADBE2B-4ADE-44BF-94AD-5EE0F72E9520}"/>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33174944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095685"/>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lang="en-US" sz="2000" kern="1200" spc="0" baseline="0" dirty="0">
                <a:gradFill>
                  <a:gsLst>
                    <a:gs pos="1250">
                      <a:schemeClr val="tx1"/>
                    </a:gs>
                    <a:gs pos="100000">
                      <a:schemeClr val="tx1"/>
                    </a:gs>
                  </a:gsLst>
                  <a:lin ang="5400000" scaled="0"/>
                </a:gradFill>
                <a:latin typeface="+mn-lt"/>
                <a:ea typeface="+mn-ea"/>
                <a:cs typeface="+mn-cs"/>
              </a:defRPr>
            </a:lvl2pPr>
            <a:lvl3pPr marL="450850" indent="0">
              <a:buFont typeface="Wingdings" panose="05000000000000000000" pitchFamily="2" charset="2"/>
              <a:buNone/>
              <a:tabLst/>
              <a:defRPr lang="en-US" sz="1600" kern="1200" spc="0" baseline="0" dirty="0">
                <a:gradFill>
                  <a:gsLst>
                    <a:gs pos="1250">
                      <a:schemeClr val="tx1"/>
                    </a:gs>
                    <a:gs pos="100000">
                      <a:schemeClr val="tx1"/>
                    </a:gs>
                  </a:gsLst>
                  <a:lin ang="5400000" scaled="0"/>
                </a:gradFill>
                <a:latin typeface="+mn-lt"/>
                <a:ea typeface="+mn-ea"/>
                <a:cs typeface="+mn-cs"/>
              </a:defRPr>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095685"/>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lang="en-US" sz="2000" kern="1200" spc="0" baseline="0" dirty="0">
                <a:gradFill>
                  <a:gsLst>
                    <a:gs pos="1250">
                      <a:schemeClr val="tx1"/>
                    </a:gs>
                    <a:gs pos="100000">
                      <a:schemeClr val="tx1"/>
                    </a:gs>
                  </a:gsLst>
                  <a:lin ang="5400000" scaled="0"/>
                </a:gradFill>
                <a:latin typeface="+mn-lt"/>
                <a:ea typeface="+mn-ea"/>
                <a:cs typeface="+mn-cs"/>
              </a:defRPr>
            </a:lvl2pPr>
            <a:lvl3pPr marL="450850" indent="0">
              <a:buFont typeface="Wingdings" panose="05000000000000000000" pitchFamily="2" charset="2"/>
              <a:buNone/>
              <a:tabLst/>
              <a:defRPr lang="en-US" sz="1600" kern="1200" spc="0" baseline="0" dirty="0">
                <a:gradFill>
                  <a:gsLst>
                    <a:gs pos="1250">
                      <a:schemeClr val="tx1"/>
                    </a:gs>
                    <a:gs pos="100000">
                      <a:schemeClr val="tx1"/>
                    </a:gs>
                  </a:gsLst>
                  <a:lin ang="5400000" scaled="0"/>
                </a:gradFill>
                <a:latin typeface="+mn-lt"/>
                <a:ea typeface="+mn-ea"/>
                <a:cs typeface="+mn-cs"/>
              </a:defRPr>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27873400-33C6-4564-B2C2-F81BE5DEB0FD}"/>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2254155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E29B0E89-24F8-4BEB-95BE-B136B3895F96}"/>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40305047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8293671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CAB166EF-6F55-4DA4-89E6-F23050C4F679}"/>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25218945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3 column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1465263"/>
            <a:ext cx="11018520" cy="553998"/>
          </a:xfrm>
        </p:spPr>
        <p:txBody>
          <a:bodyPr/>
          <a:lstStyle>
            <a:lvl1pPr algn="ctr">
              <a:defRPr/>
            </a:lvl1pPr>
          </a:lstStyle>
          <a:p>
            <a:r>
              <a:rPr lang="en-US"/>
              <a:t>Click to edit Master title style</a:t>
            </a:r>
          </a:p>
        </p:txBody>
      </p:sp>
      <p:sp>
        <p:nvSpPr>
          <p:cNvPr id="3" name="TextBox 2">
            <a:extLst>
              <a:ext uri="{FF2B5EF4-FFF2-40B4-BE49-F238E27FC236}">
                <a16:creationId xmlns:a16="http://schemas.microsoft.com/office/drawing/2014/main" id="{E29B0E89-24F8-4BEB-95BE-B136B3895F96}"/>
              </a:ext>
            </a:extLst>
          </p:cNvPr>
          <p:cNvSpPr txBox="1"/>
          <p:nvPr userDrawn="1"/>
        </p:nvSpPr>
        <p:spPr>
          <a:xfrm>
            <a:off x="5176670"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
        <p:nvSpPr>
          <p:cNvPr id="5" name="Oval 4">
            <a:extLst>
              <a:ext uri="{FF2B5EF4-FFF2-40B4-BE49-F238E27FC236}">
                <a16:creationId xmlns:a16="http://schemas.microsoft.com/office/drawing/2014/main" id="{650574EF-C98C-4CE7-B983-4CE1945D7127}"/>
              </a:ext>
            </a:extLst>
          </p:cNvPr>
          <p:cNvSpPr/>
          <p:nvPr userDrawn="1"/>
        </p:nvSpPr>
        <p:spPr bwMode="auto">
          <a:xfrm>
            <a:off x="1927225" y="2402351"/>
            <a:ext cx="1595438" cy="1595434"/>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94040E01-FFA4-4F0E-BA3A-A1BEEE4BCBC5}"/>
              </a:ext>
            </a:extLst>
          </p:cNvPr>
          <p:cNvSpPr>
            <a:spLocks noGrp="1"/>
          </p:cNvSpPr>
          <p:nvPr>
            <p:ph type="body" sz="quarter" idx="16"/>
          </p:nvPr>
        </p:nvSpPr>
        <p:spPr>
          <a:xfrm>
            <a:off x="1688306" y="4282527"/>
            <a:ext cx="2073276" cy="553998"/>
          </a:xfrm>
        </p:spPr>
        <p:txBody>
          <a:bodyPr/>
          <a:lstStyle>
            <a:lvl1pPr marL="0" indent="0" algn="ctr">
              <a:spcBef>
                <a:spcPts val="0"/>
              </a:spcBef>
              <a:buNone/>
              <a:defRPr sz="1800">
                <a:solidFill>
                  <a:schemeClr val="accent1"/>
                </a:soli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423169B3-2F4E-46F2-8F2F-AEAB1A2D7DA9}"/>
              </a:ext>
            </a:extLst>
          </p:cNvPr>
          <p:cNvSpPr>
            <a:spLocks noGrp="1"/>
          </p:cNvSpPr>
          <p:nvPr>
            <p:ph type="body" sz="quarter" idx="17"/>
          </p:nvPr>
        </p:nvSpPr>
        <p:spPr>
          <a:xfrm>
            <a:off x="1688306" y="4940301"/>
            <a:ext cx="2073276" cy="492443"/>
          </a:xfrm>
        </p:spPr>
        <p:txBody>
          <a:bodyPr/>
          <a:lstStyle>
            <a:lvl1pPr marL="0" indent="0" algn="ctr">
              <a:spcBef>
                <a:spcPts val="0"/>
              </a:spcBef>
              <a:spcAft>
                <a:spcPts val="300"/>
              </a:spcAft>
              <a:buNone/>
              <a:defRPr sz="1600">
                <a:solidFill>
                  <a:schemeClr val="tx1"/>
                </a:solidFill>
                <a:latin typeface="+mn-lt"/>
              </a:defRPr>
            </a:lvl1pPr>
          </a:lstStyle>
          <a:p>
            <a:pPr lvl="0"/>
            <a:r>
              <a:rPr lang="en-US"/>
              <a:t>Click to edit Master text styles</a:t>
            </a:r>
          </a:p>
        </p:txBody>
      </p:sp>
      <p:sp>
        <p:nvSpPr>
          <p:cNvPr id="8" name="Text Placeholder 3">
            <a:extLst>
              <a:ext uri="{FF2B5EF4-FFF2-40B4-BE49-F238E27FC236}">
                <a16:creationId xmlns:a16="http://schemas.microsoft.com/office/drawing/2014/main" id="{3D8164F7-065A-4D6F-8C81-F8C4D8C2D448}"/>
              </a:ext>
            </a:extLst>
          </p:cNvPr>
          <p:cNvSpPr>
            <a:spLocks noGrp="1"/>
          </p:cNvSpPr>
          <p:nvPr>
            <p:ph type="body" sz="quarter" idx="18"/>
          </p:nvPr>
        </p:nvSpPr>
        <p:spPr>
          <a:xfrm>
            <a:off x="5060155" y="4282527"/>
            <a:ext cx="2073276" cy="553998"/>
          </a:xfrm>
        </p:spPr>
        <p:txBody>
          <a:bodyPr/>
          <a:lstStyle>
            <a:lvl1pPr marL="0" indent="0" algn="ctr">
              <a:spcBef>
                <a:spcPts val="0"/>
              </a:spcBef>
              <a:buNone/>
              <a:defRPr sz="1800">
                <a:solidFill>
                  <a:schemeClr val="accent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99FCE297-2DE5-405D-B6F2-093F0C18F7B2}"/>
              </a:ext>
            </a:extLst>
          </p:cNvPr>
          <p:cNvSpPr>
            <a:spLocks noGrp="1"/>
          </p:cNvSpPr>
          <p:nvPr>
            <p:ph type="body" sz="quarter" idx="19"/>
          </p:nvPr>
        </p:nvSpPr>
        <p:spPr>
          <a:xfrm>
            <a:off x="5060155" y="4940301"/>
            <a:ext cx="2073276" cy="492443"/>
          </a:xfrm>
        </p:spPr>
        <p:txBody>
          <a:bodyPr/>
          <a:lstStyle>
            <a:lvl1pPr marL="0" indent="0" algn="ctr">
              <a:spcBef>
                <a:spcPts val="0"/>
              </a:spcBef>
              <a:spcAft>
                <a:spcPts val="300"/>
              </a:spcAft>
              <a:buNone/>
              <a:defRPr sz="1600">
                <a:solidFill>
                  <a:schemeClr val="tx1"/>
                </a:solidFill>
                <a:latin typeface="+mn-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ECAA7BAB-5D61-4BE7-B5A2-24D6E2B1320C}"/>
              </a:ext>
            </a:extLst>
          </p:cNvPr>
          <p:cNvSpPr>
            <a:spLocks noGrp="1"/>
          </p:cNvSpPr>
          <p:nvPr>
            <p:ph type="body" sz="quarter" idx="20"/>
          </p:nvPr>
        </p:nvSpPr>
        <p:spPr>
          <a:xfrm>
            <a:off x="8442324" y="4282527"/>
            <a:ext cx="2073276" cy="553998"/>
          </a:xfrm>
        </p:spPr>
        <p:txBody>
          <a:bodyPr/>
          <a:lstStyle>
            <a:lvl1pPr marL="0" indent="0" algn="ctr">
              <a:spcBef>
                <a:spcPts val="0"/>
              </a:spcBef>
              <a:buNone/>
              <a:defRPr sz="1800">
                <a:solidFill>
                  <a:schemeClr val="accent1"/>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13B95AD4-DC93-4118-8B8E-61A3DBC05599}"/>
              </a:ext>
            </a:extLst>
          </p:cNvPr>
          <p:cNvSpPr>
            <a:spLocks noGrp="1"/>
          </p:cNvSpPr>
          <p:nvPr>
            <p:ph type="body" sz="quarter" idx="21"/>
          </p:nvPr>
        </p:nvSpPr>
        <p:spPr>
          <a:xfrm>
            <a:off x="8442324" y="4940301"/>
            <a:ext cx="2073276" cy="492443"/>
          </a:xfrm>
        </p:spPr>
        <p:txBody>
          <a:bodyPr/>
          <a:lstStyle>
            <a:lvl1pPr marL="0" indent="0" algn="ctr">
              <a:spcBef>
                <a:spcPts val="0"/>
              </a:spcBef>
              <a:spcAft>
                <a:spcPts val="300"/>
              </a:spcAft>
              <a:buNone/>
              <a:defRPr sz="1600">
                <a:solidFill>
                  <a:schemeClr val="tx1"/>
                </a:solidFill>
                <a:latin typeface="+mn-lt"/>
              </a:defRPr>
            </a:lvl1pPr>
          </a:lstStyle>
          <a:p>
            <a:pPr lvl="0"/>
            <a:r>
              <a:rPr lang="en-US"/>
              <a:t>Click to edit Master text styles</a:t>
            </a:r>
          </a:p>
        </p:txBody>
      </p:sp>
      <p:sp>
        <p:nvSpPr>
          <p:cNvPr id="12" name="Oval 11">
            <a:extLst>
              <a:ext uri="{FF2B5EF4-FFF2-40B4-BE49-F238E27FC236}">
                <a16:creationId xmlns:a16="http://schemas.microsoft.com/office/drawing/2014/main" id="{CEDB0A2C-6175-4CA4-A54A-0B1850E724B5}"/>
              </a:ext>
            </a:extLst>
          </p:cNvPr>
          <p:cNvSpPr/>
          <p:nvPr userDrawn="1"/>
        </p:nvSpPr>
        <p:spPr bwMode="auto">
          <a:xfrm>
            <a:off x="5299074" y="2402351"/>
            <a:ext cx="1595438" cy="1595434"/>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12">
            <a:extLst>
              <a:ext uri="{FF2B5EF4-FFF2-40B4-BE49-F238E27FC236}">
                <a16:creationId xmlns:a16="http://schemas.microsoft.com/office/drawing/2014/main" id="{B3AFDF47-E417-4434-9001-222C7A7B601B}"/>
              </a:ext>
            </a:extLst>
          </p:cNvPr>
          <p:cNvSpPr/>
          <p:nvPr userDrawn="1"/>
        </p:nvSpPr>
        <p:spPr bwMode="auto">
          <a:xfrm>
            <a:off x="8681243" y="2402351"/>
            <a:ext cx="1595438" cy="1595434"/>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259324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4 column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1465263"/>
            <a:ext cx="11018520" cy="553998"/>
          </a:xfrm>
        </p:spPr>
        <p:txBody>
          <a:bodyPr/>
          <a:lstStyle>
            <a:lvl1pPr algn="ctr">
              <a:defRPr/>
            </a:lvl1pPr>
          </a:lstStyle>
          <a:p>
            <a:r>
              <a:rPr lang="en-US"/>
              <a:t>Click to edit Master title style</a:t>
            </a:r>
          </a:p>
        </p:txBody>
      </p:sp>
      <p:sp>
        <p:nvSpPr>
          <p:cNvPr id="3" name="TextBox 2">
            <a:extLst>
              <a:ext uri="{FF2B5EF4-FFF2-40B4-BE49-F238E27FC236}">
                <a16:creationId xmlns:a16="http://schemas.microsoft.com/office/drawing/2014/main" id="{E29B0E89-24F8-4BEB-95BE-B136B3895F96}"/>
              </a:ext>
            </a:extLst>
          </p:cNvPr>
          <p:cNvSpPr txBox="1"/>
          <p:nvPr userDrawn="1"/>
        </p:nvSpPr>
        <p:spPr>
          <a:xfrm>
            <a:off x="5176670"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
        <p:nvSpPr>
          <p:cNvPr id="5" name="Oval 4">
            <a:extLst>
              <a:ext uri="{FF2B5EF4-FFF2-40B4-BE49-F238E27FC236}">
                <a16:creationId xmlns:a16="http://schemas.microsoft.com/office/drawing/2014/main" id="{650574EF-C98C-4CE7-B983-4CE1945D7127}"/>
              </a:ext>
            </a:extLst>
          </p:cNvPr>
          <p:cNvSpPr/>
          <p:nvPr userDrawn="1"/>
        </p:nvSpPr>
        <p:spPr bwMode="auto">
          <a:xfrm>
            <a:off x="1215520" y="2474871"/>
            <a:ext cx="1450398" cy="1450395"/>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94040E01-FFA4-4F0E-BA3A-A1BEEE4BCBC5}"/>
              </a:ext>
            </a:extLst>
          </p:cNvPr>
          <p:cNvSpPr>
            <a:spLocks noGrp="1"/>
          </p:cNvSpPr>
          <p:nvPr>
            <p:ph type="body" sz="quarter" idx="16"/>
          </p:nvPr>
        </p:nvSpPr>
        <p:spPr>
          <a:xfrm>
            <a:off x="904081" y="4282527"/>
            <a:ext cx="2073276" cy="553998"/>
          </a:xfrm>
        </p:spPr>
        <p:txBody>
          <a:bodyPr/>
          <a:lstStyle>
            <a:lvl1pPr marL="0" indent="0" algn="ctr">
              <a:spcBef>
                <a:spcPts val="0"/>
              </a:spcBef>
              <a:buNone/>
              <a:defRPr sz="1800">
                <a:solidFill>
                  <a:schemeClr val="accent1"/>
                </a:soli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423169B3-2F4E-46F2-8F2F-AEAB1A2D7DA9}"/>
              </a:ext>
            </a:extLst>
          </p:cNvPr>
          <p:cNvSpPr>
            <a:spLocks noGrp="1"/>
          </p:cNvSpPr>
          <p:nvPr>
            <p:ph type="body" sz="quarter" idx="17"/>
          </p:nvPr>
        </p:nvSpPr>
        <p:spPr>
          <a:xfrm>
            <a:off x="904081" y="4940301"/>
            <a:ext cx="2073276" cy="492443"/>
          </a:xfrm>
        </p:spPr>
        <p:txBody>
          <a:bodyPr/>
          <a:lstStyle>
            <a:lvl1pPr marL="0" indent="0" algn="ctr">
              <a:spcBef>
                <a:spcPts val="0"/>
              </a:spcBef>
              <a:spcAft>
                <a:spcPts val="300"/>
              </a:spcAft>
              <a:buNone/>
              <a:defRPr sz="1600">
                <a:solidFill>
                  <a:schemeClr val="tx1"/>
                </a:solidFill>
                <a:latin typeface="+mn-lt"/>
              </a:defRPr>
            </a:lvl1pPr>
          </a:lstStyle>
          <a:p>
            <a:pPr lvl="0"/>
            <a:r>
              <a:rPr lang="en-US"/>
              <a:t>Click to edit Master text styles</a:t>
            </a:r>
          </a:p>
        </p:txBody>
      </p:sp>
      <p:sp>
        <p:nvSpPr>
          <p:cNvPr id="8" name="Text Placeholder 3">
            <a:extLst>
              <a:ext uri="{FF2B5EF4-FFF2-40B4-BE49-F238E27FC236}">
                <a16:creationId xmlns:a16="http://schemas.microsoft.com/office/drawing/2014/main" id="{3D8164F7-065A-4D6F-8C81-F8C4D8C2D448}"/>
              </a:ext>
            </a:extLst>
          </p:cNvPr>
          <p:cNvSpPr>
            <a:spLocks noGrp="1"/>
          </p:cNvSpPr>
          <p:nvPr>
            <p:ph type="body" sz="quarter" idx="18"/>
          </p:nvPr>
        </p:nvSpPr>
        <p:spPr>
          <a:xfrm>
            <a:off x="3674268" y="4282527"/>
            <a:ext cx="2073276" cy="553998"/>
          </a:xfrm>
        </p:spPr>
        <p:txBody>
          <a:bodyPr/>
          <a:lstStyle>
            <a:lvl1pPr marL="0" indent="0" algn="ctr">
              <a:spcBef>
                <a:spcPts val="0"/>
              </a:spcBef>
              <a:buNone/>
              <a:defRPr sz="1800">
                <a:solidFill>
                  <a:schemeClr val="accent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99FCE297-2DE5-405D-B6F2-093F0C18F7B2}"/>
              </a:ext>
            </a:extLst>
          </p:cNvPr>
          <p:cNvSpPr>
            <a:spLocks noGrp="1"/>
          </p:cNvSpPr>
          <p:nvPr>
            <p:ph type="body" sz="quarter" idx="19"/>
          </p:nvPr>
        </p:nvSpPr>
        <p:spPr>
          <a:xfrm>
            <a:off x="3674268" y="4940301"/>
            <a:ext cx="2073276" cy="492443"/>
          </a:xfrm>
        </p:spPr>
        <p:txBody>
          <a:bodyPr/>
          <a:lstStyle>
            <a:lvl1pPr marL="0" indent="0" algn="ctr">
              <a:spcBef>
                <a:spcPts val="0"/>
              </a:spcBef>
              <a:spcAft>
                <a:spcPts val="300"/>
              </a:spcAft>
              <a:buNone/>
              <a:defRPr sz="1600">
                <a:solidFill>
                  <a:schemeClr val="tx1"/>
                </a:solidFill>
                <a:latin typeface="+mn-lt"/>
              </a:defRPr>
            </a:lvl1pPr>
          </a:lstStyle>
          <a:p>
            <a:pPr lvl="0"/>
            <a:r>
              <a:rPr lang="en-US"/>
              <a:t>Click to edit Master text styles</a:t>
            </a:r>
          </a:p>
        </p:txBody>
      </p:sp>
      <p:sp>
        <p:nvSpPr>
          <p:cNvPr id="12" name="Oval 11">
            <a:extLst>
              <a:ext uri="{FF2B5EF4-FFF2-40B4-BE49-F238E27FC236}">
                <a16:creationId xmlns:a16="http://schemas.microsoft.com/office/drawing/2014/main" id="{CEDB0A2C-6175-4CA4-A54A-0B1850E724B5}"/>
              </a:ext>
            </a:extLst>
          </p:cNvPr>
          <p:cNvSpPr/>
          <p:nvPr userDrawn="1"/>
        </p:nvSpPr>
        <p:spPr bwMode="auto">
          <a:xfrm>
            <a:off x="3985707" y="2474871"/>
            <a:ext cx="1450398" cy="1450395"/>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9C5F9FC3-AD04-45D7-B193-E0BAD0C8C7C0}"/>
              </a:ext>
            </a:extLst>
          </p:cNvPr>
          <p:cNvSpPr/>
          <p:nvPr userDrawn="1"/>
        </p:nvSpPr>
        <p:spPr bwMode="auto">
          <a:xfrm>
            <a:off x="6755894" y="2474871"/>
            <a:ext cx="1450398" cy="1450395"/>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3">
            <a:extLst>
              <a:ext uri="{FF2B5EF4-FFF2-40B4-BE49-F238E27FC236}">
                <a16:creationId xmlns:a16="http://schemas.microsoft.com/office/drawing/2014/main" id="{2CE6B68A-400C-4B43-BC4E-3B9FDCB79F91}"/>
              </a:ext>
            </a:extLst>
          </p:cNvPr>
          <p:cNvSpPr>
            <a:spLocks noGrp="1"/>
          </p:cNvSpPr>
          <p:nvPr>
            <p:ph type="body" sz="quarter" idx="20"/>
          </p:nvPr>
        </p:nvSpPr>
        <p:spPr>
          <a:xfrm>
            <a:off x="6444455" y="4282527"/>
            <a:ext cx="2073276" cy="553998"/>
          </a:xfrm>
        </p:spPr>
        <p:txBody>
          <a:bodyPr/>
          <a:lstStyle>
            <a:lvl1pPr marL="0" indent="0" algn="ctr">
              <a:spcBef>
                <a:spcPts val="0"/>
              </a:spcBef>
              <a:buNone/>
              <a:defRPr sz="1800">
                <a:solidFill>
                  <a:schemeClr val="accent1"/>
                </a:soli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652FE4A6-19C7-436D-B5D9-B828628B63CB}"/>
              </a:ext>
            </a:extLst>
          </p:cNvPr>
          <p:cNvSpPr>
            <a:spLocks noGrp="1"/>
          </p:cNvSpPr>
          <p:nvPr>
            <p:ph type="body" sz="quarter" idx="21"/>
          </p:nvPr>
        </p:nvSpPr>
        <p:spPr>
          <a:xfrm>
            <a:off x="6444455" y="4940301"/>
            <a:ext cx="2073276" cy="492443"/>
          </a:xfrm>
        </p:spPr>
        <p:txBody>
          <a:bodyPr/>
          <a:lstStyle>
            <a:lvl1pPr marL="0" indent="0" algn="ctr">
              <a:spcBef>
                <a:spcPts val="0"/>
              </a:spcBef>
              <a:spcAft>
                <a:spcPts val="300"/>
              </a:spcAft>
              <a:buNone/>
              <a:defRPr sz="1600">
                <a:solidFill>
                  <a:schemeClr val="tx1"/>
                </a:solidFill>
                <a:latin typeface="+mn-lt"/>
              </a:defRPr>
            </a:lvl1pPr>
          </a:lstStyle>
          <a:p>
            <a:pPr lvl="0"/>
            <a:r>
              <a:rPr lang="en-US"/>
              <a:t>Click to edit Master text styles</a:t>
            </a:r>
          </a:p>
        </p:txBody>
      </p:sp>
      <p:sp>
        <p:nvSpPr>
          <p:cNvPr id="17" name="Text Placeholder 3">
            <a:extLst>
              <a:ext uri="{FF2B5EF4-FFF2-40B4-BE49-F238E27FC236}">
                <a16:creationId xmlns:a16="http://schemas.microsoft.com/office/drawing/2014/main" id="{FEB2ADDC-D27C-4D14-BCA5-0CA584F39107}"/>
              </a:ext>
            </a:extLst>
          </p:cNvPr>
          <p:cNvSpPr>
            <a:spLocks noGrp="1"/>
          </p:cNvSpPr>
          <p:nvPr>
            <p:ph type="body" sz="quarter" idx="22"/>
          </p:nvPr>
        </p:nvSpPr>
        <p:spPr>
          <a:xfrm>
            <a:off x="9214643" y="4282527"/>
            <a:ext cx="2073276" cy="553998"/>
          </a:xfrm>
        </p:spPr>
        <p:txBody>
          <a:bodyPr/>
          <a:lstStyle>
            <a:lvl1pPr marL="0" indent="0" algn="ctr">
              <a:spcBef>
                <a:spcPts val="0"/>
              </a:spcBef>
              <a:buNone/>
              <a:defRPr sz="1800">
                <a:solidFill>
                  <a:schemeClr val="accent1"/>
                </a:solidFill>
                <a:latin typeface="+mj-lt"/>
              </a:defRPr>
            </a:lvl1pPr>
          </a:lstStyle>
          <a:p>
            <a:pPr lvl="0"/>
            <a:r>
              <a:rPr lang="en-US"/>
              <a:t>Click to edit Master text styles</a:t>
            </a:r>
          </a:p>
        </p:txBody>
      </p:sp>
      <p:sp>
        <p:nvSpPr>
          <p:cNvPr id="18" name="Text Placeholder 3">
            <a:extLst>
              <a:ext uri="{FF2B5EF4-FFF2-40B4-BE49-F238E27FC236}">
                <a16:creationId xmlns:a16="http://schemas.microsoft.com/office/drawing/2014/main" id="{2D0B0B95-35CC-4DE5-B8AC-EA76EEC03711}"/>
              </a:ext>
            </a:extLst>
          </p:cNvPr>
          <p:cNvSpPr>
            <a:spLocks noGrp="1"/>
          </p:cNvSpPr>
          <p:nvPr>
            <p:ph type="body" sz="quarter" idx="23"/>
          </p:nvPr>
        </p:nvSpPr>
        <p:spPr>
          <a:xfrm>
            <a:off x="9214643" y="4940301"/>
            <a:ext cx="2073276" cy="492443"/>
          </a:xfrm>
        </p:spPr>
        <p:txBody>
          <a:bodyPr/>
          <a:lstStyle>
            <a:lvl1pPr marL="0" indent="0" algn="ctr">
              <a:spcBef>
                <a:spcPts val="0"/>
              </a:spcBef>
              <a:spcAft>
                <a:spcPts val="300"/>
              </a:spcAft>
              <a:buNone/>
              <a:defRPr sz="1600">
                <a:solidFill>
                  <a:schemeClr val="tx1"/>
                </a:solidFill>
                <a:latin typeface="+mn-lt"/>
              </a:defRPr>
            </a:lvl1pPr>
          </a:lstStyle>
          <a:p>
            <a:pPr lvl="0"/>
            <a:r>
              <a:rPr lang="en-US"/>
              <a:t>Click to edit Master text styles</a:t>
            </a:r>
          </a:p>
        </p:txBody>
      </p:sp>
      <p:sp>
        <p:nvSpPr>
          <p:cNvPr id="19" name="Oval 18">
            <a:extLst>
              <a:ext uri="{FF2B5EF4-FFF2-40B4-BE49-F238E27FC236}">
                <a16:creationId xmlns:a16="http://schemas.microsoft.com/office/drawing/2014/main" id="{ECA0597E-2C41-476D-891F-F05CDE09877F}"/>
              </a:ext>
            </a:extLst>
          </p:cNvPr>
          <p:cNvSpPr/>
          <p:nvPr userDrawn="1"/>
        </p:nvSpPr>
        <p:spPr bwMode="auto">
          <a:xfrm>
            <a:off x="9526082" y="2474871"/>
            <a:ext cx="1450398" cy="1450395"/>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100111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 column box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959A7A91-AC3F-4EE6-A597-122248EE874C}"/>
              </a:ext>
            </a:extLst>
          </p:cNvPr>
          <p:cNvSpPr/>
          <p:nvPr userDrawn="1"/>
        </p:nvSpPr>
        <p:spPr bwMode="auto">
          <a:xfrm>
            <a:off x="584200" y="1436688"/>
            <a:ext cx="5367338" cy="4832350"/>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99B7281F-D4B5-4906-A747-28674C3D4F35}"/>
              </a:ext>
            </a:extLst>
          </p:cNvPr>
          <p:cNvSpPr/>
          <p:nvPr userDrawn="1"/>
        </p:nvSpPr>
        <p:spPr bwMode="auto">
          <a:xfrm>
            <a:off x="6239445" y="1436688"/>
            <a:ext cx="5367338" cy="4832350"/>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C434AD37-6AD2-4837-8F90-CD9CCFF1A202}"/>
              </a:ext>
            </a:extLst>
          </p:cNvPr>
          <p:cNvSpPr>
            <a:spLocks noGrp="1"/>
          </p:cNvSpPr>
          <p:nvPr>
            <p:ph type="body" sz="quarter" idx="16"/>
          </p:nvPr>
        </p:nvSpPr>
        <p:spPr>
          <a:xfrm>
            <a:off x="996951" y="1839288"/>
            <a:ext cx="4541837" cy="369332"/>
          </a:xfrm>
        </p:spPr>
        <p:txBody>
          <a:bodyPr/>
          <a:lstStyle>
            <a:lvl1pPr marL="0" indent="0" algn="l">
              <a:spcBef>
                <a:spcPts val="0"/>
              </a:spcBef>
              <a:buNone/>
              <a:defRPr sz="2400">
                <a:solidFill>
                  <a:schemeClr val="accent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27967722-3B31-4F12-8DE5-668735F98202}"/>
              </a:ext>
            </a:extLst>
          </p:cNvPr>
          <p:cNvSpPr>
            <a:spLocks noGrp="1"/>
          </p:cNvSpPr>
          <p:nvPr>
            <p:ph type="body" sz="quarter" idx="17"/>
          </p:nvPr>
        </p:nvSpPr>
        <p:spPr>
          <a:xfrm>
            <a:off x="996951" y="2487408"/>
            <a:ext cx="4541837" cy="3494291"/>
          </a:xfrm>
        </p:spPr>
        <p:txBody>
          <a:bodyPr>
            <a:normAutofit/>
          </a:bodyPr>
          <a:lstStyle>
            <a:lvl1pPr marL="0" indent="0" algn="l">
              <a:spcBef>
                <a:spcPts val="0"/>
              </a:spcBef>
              <a:spcAft>
                <a:spcPts val="1200"/>
              </a:spcAft>
              <a:buNone/>
              <a:defRPr sz="2000">
                <a:solidFill>
                  <a:schemeClr val="tx1"/>
                </a:solidFill>
                <a:latin typeface="+mn-lt"/>
              </a:defRPr>
            </a:lvl1pPr>
          </a:lstStyle>
          <a:p>
            <a:pPr lvl="0"/>
            <a:r>
              <a:rPr lang="en-US"/>
              <a:t>Click to edit Master text styles</a:t>
            </a:r>
          </a:p>
        </p:txBody>
      </p:sp>
      <p:sp>
        <p:nvSpPr>
          <p:cNvPr id="7" name="Text Placeholder 3">
            <a:extLst>
              <a:ext uri="{FF2B5EF4-FFF2-40B4-BE49-F238E27FC236}">
                <a16:creationId xmlns:a16="http://schemas.microsoft.com/office/drawing/2014/main" id="{67B83AF3-55A4-4C11-AAB1-D10336D29BCF}"/>
              </a:ext>
            </a:extLst>
          </p:cNvPr>
          <p:cNvSpPr>
            <a:spLocks noGrp="1"/>
          </p:cNvSpPr>
          <p:nvPr>
            <p:ph type="body" sz="quarter" idx="18"/>
          </p:nvPr>
        </p:nvSpPr>
        <p:spPr>
          <a:xfrm>
            <a:off x="6652196" y="1839288"/>
            <a:ext cx="4541837" cy="369332"/>
          </a:xfrm>
        </p:spPr>
        <p:txBody>
          <a:bodyPr/>
          <a:lstStyle>
            <a:lvl1pPr marL="0" indent="0" algn="l">
              <a:spcBef>
                <a:spcPts val="0"/>
              </a:spcBef>
              <a:buNone/>
              <a:defRPr sz="2400">
                <a:solidFill>
                  <a:schemeClr val="accent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FEC7E601-D821-4202-9D77-5ADD3591D36B}"/>
              </a:ext>
            </a:extLst>
          </p:cNvPr>
          <p:cNvSpPr>
            <a:spLocks noGrp="1"/>
          </p:cNvSpPr>
          <p:nvPr>
            <p:ph type="body" sz="quarter" idx="19"/>
          </p:nvPr>
        </p:nvSpPr>
        <p:spPr>
          <a:xfrm>
            <a:off x="6652196" y="2487409"/>
            <a:ext cx="4541837" cy="3494291"/>
          </a:xfrm>
        </p:spPr>
        <p:txBody>
          <a:bodyPr/>
          <a:lstStyle>
            <a:lvl1pPr marL="0" indent="0" algn="l">
              <a:spcBef>
                <a:spcPts val="0"/>
              </a:spcBef>
              <a:spcAft>
                <a:spcPts val="1200"/>
              </a:spcAft>
              <a:buNone/>
              <a:defRPr sz="2000">
                <a:solidFill>
                  <a:schemeClr val="tx1"/>
                </a:solidFill>
                <a:latin typeface="+mn-lt"/>
              </a:defRPr>
            </a:lvl1pPr>
          </a:lstStyle>
          <a:p>
            <a:pPr lvl="0"/>
            <a:r>
              <a:rPr lang="en-US"/>
              <a:t>Click to edit Master text styles</a:t>
            </a:r>
          </a:p>
        </p:txBody>
      </p:sp>
      <p:sp>
        <p:nvSpPr>
          <p:cNvPr id="9" name="TextBox 8">
            <a:extLst>
              <a:ext uri="{FF2B5EF4-FFF2-40B4-BE49-F238E27FC236}">
                <a16:creationId xmlns:a16="http://schemas.microsoft.com/office/drawing/2014/main" id="{B6917A08-6DD1-4CA7-B342-E57004069B43}"/>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25137691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1">
          <p15:clr>
            <a:srgbClr val="5ACBF0"/>
          </p15:clr>
        </p15:guide>
        <p15:guide id="30" orient="horz" pos="288">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3 column boxe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3CB69BF-3A64-4E46-8F9F-B042E821429A}"/>
              </a:ext>
            </a:extLst>
          </p:cNvPr>
          <p:cNvSpPr/>
          <p:nvPr userDrawn="1"/>
        </p:nvSpPr>
        <p:spPr bwMode="auto">
          <a:xfrm>
            <a:off x="4356099" y="1436688"/>
            <a:ext cx="3481388" cy="4832350"/>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959A7A91-AC3F-4EE6-A597-122248EE874C}"/>
              </a:ext>
            </a:extLst>
          </p:cNvPr>
          <p:cNvSpPr/>
          <p:nvPr userDrawn="1"/>
        </p:nvSpPr>
        <p:spPr bwMode="auto">
          <a:xfrm>
            <a:off x="584200" y="1436688"/>
            <a:ext cx="3481388" cy="4832350"/>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99B7281F-D4B5-4906-A747-28674C3D4F35}"/>
              </a:ext>
            </a:extLst>
          </p:cNvPr>
          <p:cNvSpPr/>
          <p:nvPr userDrawn="1"/>
        </p:nvSpPr>
        <p:spPr bwMode="auto">
          <a:xfrm>
            <a:off x="8127999" y="1436688"/>
            <a:ext cx="3478783" cy="4832350"/>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C434AD37-6AD2-4837-8F90-CD9CCFF1A202}"/>
              </a:ext>
            </a:extLst>
          </p:cNvPr>
          <p:cNvSpPr>
            <a:spLocks noGrp="1"/>
          </p:cNvSpPr>
          <p:nvPr>
            <p:ph type="body" sz="quarter" idx="16"/>
          </p:nvPr>
        </p:nvSpPr>
        <p:spPr>
          <a:xfrm>
            <a:off x="999332" y="1839287"/>
            <a:ext cx="2651124" cy="821321"/>
          </a:xfrm>
        </p:spPr>
        <p:txBody>
          <a:bodyPr/>
          <a:lstStyle>
            <a:lvl1pPr marL="0" indent="0" algn="l">
              <a:spcBef>
                <a:spcPts val="0"/>
              </a:spcBef>
              <a:buNone/>
              <a:defRPr sz="2400">
                <a:solidFill>
                  <a:schemeClr val="accent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27967722-3B31-4F12-8DE5-668735F98202}"/>
              </a:ext>
            </a:extLst>
          </p:cNvPr>
          <p:cNvSpPr>
            <a:spLocks noGrp="1"/>
          </p:cNvSpPr>
          <p:nvPr>
            <p:ph type="body" sz="quarter" idx="17"/>
          </p:nvPr>
        </p:nvSpPr>
        <p:spPr>
          <a:xfrm>
            <a:off x="999332" y="2895600"/>
            <a:ext cx="2651124" cy="3111500"/>
          </a:xfrm>
        </p:spPr>
        <p:txBody>
          <a:bodyPr>
            <a:normAutofit/>
          </a:bodyPr>
          <a:lstStyle>
            <a:lvl1pPr marL="0" indent="0" algn="l">
              <a:spcBef>
                <a:spcPts val="0"/>
              </a:spcBef>
              <a:buNone/>
              <a:defRPr sz="2000">
                <a:solidFill>
                  <a:schemeClr val="tx1"/>
                </a:solidFill>
                <a:latin typeface="+mn-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68BA27B9-85A0-49D0-998E-0E3851D48E82}"/>
              </a:ext>
            </a:extLst>
          </p:cNvPr>
          <p:cNvSpPr>
            <a:spLocks noGrp="1"/>
          </p:cNvSpPr>
          <p:nvPr>
            <p:ph type="body" sz="quarter" idx="18"/>
          </p:nvPr>
        </p:nvSpPr>
        <p:spPr>
          <a:xfrm>
            <a:off x="4771231" y="1839287"/>
            <a:ext cx="2651124" cy="821321"/>
          </a:xfrm>
        </p:spPr>
        <p:txBody>
          <a:bodyPr/>
          <a:lstStyle>
            <a:lvl1pPr marL="0" indent="0" algn="l">
              <a:spcBef>
                <a:spcPts val="0"/>
              </a:spcBef>
              <a:buNone/>
              <a:defRPr sz="2400">
                <a:solidFill>
                  <a:schemeClr val="accent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6BCF8FDB-792E-49AF-875A-BC98235BB58E}"/>
              </a:ext>
            </a:extLst>
          </p:cNvPr>
          <p:cNvSpPr>
            <a:spLocks noGrp="1"/>
          </p:cNvSpPr>
          <p:nvPr>
            <p:ph type="body" sz="quarter" idx="19"/>
          </p:nvPr>
        </p:nvSpPr>
        <p:spPr>
          <a:xfrm>
            <a:off x="4771231" y="2895600"/>
            <a:ext cx="2651124" cy="3111500"/>
          </a:xfrm>
        </p:spPr>
        <p:txBody>
          <a:bodyPr>
            <a:normAutofit/>
          </a:bodyPr>
          <a:lstStyle>
            <a:lvl1pPr marL="0" indent="0" algn="l">
              <a:spcBef>
                <a:spcPts val="0"/>
              </a:spcBef>
              <a:buNone/>
              <a:defRPr sz="2000">
                <a:solidFill>
                  <a:schemeClr val="tx1"/>
                </a:solidFill>
                <a:latin typeface="+mn-lt"/>
              </a:defRPr>
            </a:lvl1pPr>
          </a:lstStyle>
          <a:p>
            <a:pPr lvl="0"/>
            <a:r>
              <a:rPr lang="en-US"/>
              <a:t>Click to edit Master text styles</a:t>
            </a:r>
          </a:p>
        </p:txBody>
      </p:sp>
      <p:sp>
        <p:nvSpPr>
          <p:cNvPr id="15" name="Rectangle 14">
            <a:extLst>
              <a:ext uri="{FF2B5EF4-FFF2-40B4-BE49-F238E27FC236}">
                <a16:creationId xmlns:a16="http://schemas.microsoft.com/office/drawing/2014/main" id="{0B1AF903-0040-4D7E-A33F-1E7E5F9262AB}"/>
              </a:ext>
            </a:extLst>
          </p:cNvPr>
          <p:cNvSpPr/>
          <p:nvPr userDrawn="1"/>
        </p:nvSpPr>
        <p:spPr bwMode="auto">
          <a:xfrm>
            <a:off x="8128000" y="1436688"/>
            <a:ext cx="3481388" cy="4832350"/>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3">
            <a:extLst>
              <a:ext uri="{FF2B5EF4-FFF2-40B4-BE49-F238E27FC236}">
                <a16:creationId xmlns:a16="http://schemas.microsoft.com/office/drawing/2014/main" id="{35775668-B416-43B2-B932-AACA4B9D630B}"/>
              </a:ext>
            </a:extLst>
          </p:cNvPr>
          <p:cNvSpPr>
            <a:spLocks noGrp="1"/>
          </p:cNvSpPr>
          <p:nvPr>
            <p:ph type="body" sz="quarter" idx="20"/>
          </p:nvPr>
        </p:nvSpPr>
        <p:spPr>
          <a:xfrm>
            <a:off x="8543132" y="1839287"/>
            <a:ext cx="2651124" cy="821321"/>
          </a:xfrm>
        </p:spPr>
        <p:txBody>
          <a:bodyPr/>
          <a:lstStyle>
            <a:lvl1pPr marL="0" indent="0" algn="l">
              <a:spcBef>
                <a:spcPts val="0"/>
              </a:spcBef>
              <a:buNone/>
              <a:defRPr sz="2400">
                <a:solidFill>
                  <a:schemeClr val="accent1"/>
                </a:solidFill>
                <a:latin typeface="+mj-lt"/>
              </a:defRPr>
            </a:lvl1pPr>
          </a:lstStyle>
          <a:p>
            <a:pPr lvl="0"/>
            <a:r>
              <a:rPr lang="en-US"/>
              <a:t>Click to edit Master text styles</a:t>
            </a:r>
          </a:p>
        </p:txBody>
      </p:sp>
      <p:sp>
        <p:nvSpPr>
          <p:cNvPr id="17" name="Text Placeholder 3">
            <a:extLst>
              <a:ext uri="{FF2B5EF4-FFF2-40B4-BE49-F238E27FC236}">
                <a16:creationId xmlns:a16="http://schemas.microsoft.com/office/drawing/2014/main" id="{ACDD7EB9-6C2B-4F86-B3A5-CC5E18774A64}"/>
              </a:ext>
            </a:extLst>
          </p:cNvPr>
          <p:cNvSpPr>
            <a:spLocks noGrp="1"/>
          </p:cNvSpPr>
          <p:nvPr>
            <p:ph type="body" sz="quarter" idx="21"/>
          </p:nvPr>
        </p:nvSpPr>
        <p:spPr>
          <a:xfrm>
            <a:off x="8543132" y="2895600"/>
            <a:ext cx="2651124" cy="3111500"/>
          </a:xfrm>
        </p:spPr>
        <p:txBody>
          <a:bodyPr>
            <a:normAutofit/>
          </a:bodyPr>
          <a:lstStyle>
            <a:lvl1pPr marL="0" indent="0" algn="l">
              <a:spcBef>
                <a:spcPts val="0"/>
              </a:spcBef>
              <a:buNone/>
              <a:defRPr sz="2000">
                <a:solidFill>
                  <a:schemeClr val="tx1"/>
                </a:solidFill>
                <a:latin typeface="+mn-lt"/>
              </a:defRPr>
            </a:lvl1pPr>
          </a:lstStyle>
          <a:p>
            <a:pPr lvl="0"/>
            <a:r>
              <a:rPr lang="en-US"/>
              <a:t>Click to edit Master text styles</a:t>
            </a:r>
          </a:p>
        </p:txBody>
      </p:sp>
      <p:sp>
        <p:nvSpPr>
          <p:cNvPr id="18" name="TextBox 17">
            <a:extLst>
              <a:ext uri="{FF2B5EF4-FFF2-40B4-BE49-F238E27FC236}">
                <a16:creationId xmlns:a16="http://schemas.microsoft.com/office/drawing/2014/main" id="{46683B4F-5C61-4BAD-A8F0-C5EEDA071770}"/>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8403855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3792">
          <p15:clr>
            <a:srgbClr val="5ACBF0"/>
          </p15:clr>
        </p15:guide>
        <p15:guide id="29" orient="horz" pos="1272">
          <p15:clr>
            <a:srgbClr val="5ACBF0"/>
          </p15:clr>
        </p15:guide>
        <p15:guide id="30" orient="horz" pos="288">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4 column boxed conten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5EAEEAE6-03FD-423D-92CD-91F21DDB69A6}"/>
              </a:ext>
            </a:extLst>
          </p:cNvPr>
          <p:cNvSpPr/>
          <p:nvPr/>
        </p:nvSpPr>
        <p:spPr bwMode="auto">
          <a:xfrm>
            <a:off x="586653" y="2019300"/>
            <a:ext cx="2595404" cy="3789829"/>
          </a:xfrm>
          <a:prstGeom prst="rect">
            <a:avLst/>
          </a:prstGeom>
          <a:solidFill>
            <a:schemeClr val="bg1"/>
          </a:solidFill>
          <a:ln w="10795" cap="flat" cmpd="sng" algn="ctr">
            <a:noFill/>
            <a:prstDash val="solid"/>
          </a:ln>
          <a:effectLst>
            <a:outerShdw blurRad="254000" dist="50800" dir="2700000" sx="98000" sy="98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457081" tIns="1371600" rIns="457081" bIns="182832" numCol="1" spcCol="0" rtlCol="0" fromWordArt="0" anchor="t" anchorCtr="0" forceAA="0" compatLnSpc="1">
            <a:prstTxWarp prst="textNoShape">
              <a:avLst/>
            </a:prstTxWarp>
            <a:noAutofit/>
          </a:bodyPr>
          <a:lstStyle/>
          <a:p>
            <a:pPr marR="0" lvl="0" algn="ctr" defTabSz="932192" rtl="0" eaLnBrk="1" fontAlgn="base" latinLnBrk="0" hangingPunct="1">
              <a:lnSpc>
                <a:spcPct val="100000"/>
              </a:lnSpc>
              <a:spcBef>
                <a:spcPct val="0"/>
              </a:spcBef>
              <a:spcAft>
                <a:spcPts val="1799"/>
              </a:spcAft>
              <a:buClrTx/>
              <a:buSzTx/>
              <a:tabLst/>
              <a:defRPr/>
            </a:pPr>
            <a:endParaRPr kumimoji="0" lang="en-US" sz="1800" b="0" i="0" u="none" strike="noStrike" kern="1200" cap="none" spc="0" normalizeH="0" baseline="0" noProof="0">
              <a:ln>
                <a:noFill/>
              </a:ln>
              <a:solidFill>
                <a:srgbClr val="1A1A1A"/>
              </a:solidFill>
              <a:effectLst/>
              <a:uLnTx/>
              <a:uFillTx/>
              <a:latin typeface="Segoe UI Semibold"/>
              <a:ea typeface="+mn-ea"/>
              <a:cs typeface="Segoe UI" pitchFamily="34" charset="0"/>
            </a:endParaRPr>
          </a:p>
        </p:txBody>
      </p:sp>
      <p:sp>
        <p:nvSpPr>
          <p:cNvPr id="30" name="Rectangle 29">
            <a:extLst>
              <a:ext uri="{FF2B5EF4-FFF2-40B4-BE49-F238E27FC236}">
                <a16:creationId xmlns:a16="http://schemas.microsoft.com/office/drawing/2014/main" id="{0EDA82CA-48FC-4441-B9D2-3A15D2C446EB}"/>
              </a:ext>
            </a:extLst>
          </p:cNvPr>
          <p:cNvSpPr/>
          <p:nvPr/>
        </p:nvSpPr>
        <p:spPr bwMode="auto">
          <a:xfrm>
            <a:off x="3395764" y="2019300"/>
            <a:ext cx="2595404" cy="3789829"/>
          </a:xfrm>
          <a:prstGeom prst="rect">
            <a:avLst/>
          </a:prstGeom>
          <a:solidFill>
            <a:schemeClr val="bg1"/>
          </a:solidFill>
          <a:ln w="10795" cap="flat" cmpd="sng" algn="ctr">
            <a:noFill/>
            <a:prstDash val="solid"/>
          </a:ln>
          <a:effectLst>
            <a:outerShdw blurRad="254000" dist="50800" dir="2700000" sx="98000" sy="98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457081" tIns="1371600" rIns="457081" bIns="182832" numCol="1" spcCol="0" rtlCol="0" fromWordArt="0" anchor="t" anchorCtr="0" forceAA="0" compatLnSpc="1">
            <a:prstTxWarp prst="textNoShape">
              <a:avLst/>
            </a:prstTxWarp>
            <a:noAutofit/>
          </a:bodyPr>
          <a:lstStyle/>
          <a:p>
            <a:pPr lvl="0" algn="ctr" defTabSz="932192" fontAlgn="base">
              <a:spcBef>
                <a:spcPct val="0"/>
              </a:spcBef>
              <a:spcAft>
                <a:spcPts val="1799"/>
              </a:spcAft>
              <a:defRPr/>
            </a:pPr>
            <a:endParaRPr lang="en-US" sz="1800">
              <a:solidFill>
                <a:srgbClr val="1A1A1A"/>
              </a:solidFill>
              <a:latin typeface="Segoe UI Semibold"/>
              <a:cs typeface="Segoe UI" pitchFamily="34" charset="0"/>
            </a:endParaRPr>
          </a:p>
        </p:txBody>
      </p:sp>
      <p:sp>
        <p:nvSpPr>
          <p:cNvPr id="36" name="Rectangle 35">
            <a:extLst>
              <a:ext uri="{FF2B5EF4-FFF2-40B4-BE49-F238E27FC236}">
                <a16:creationId xmlns:a16="http://schemas.microsoft.com/office/drawing/2014/main" id="{CF438B4E-A61C-4CD2-8097-B2773B27C599}"/>
              </a:ext>
            </a:extLst>
          </p:cNvPr>
          <p:cNvSpPr/>
          <p:nvPr/>
        </p:nvSpPr>
        <p:spPr bwMode="auto">
          <a:xfrm>
            <a:off x="6204874" y="2019300"/>
            <a:ext cx="2595404" cy="3789829"/>
          </a:xfrm>
          <a:prstGeom prst="rect">
            <a:avLst/>
          </a:prstGeom>
          <a:solidFill>
            <a:schemeClr val="bg1"/>
          </a:solidFill>
          <a:ln w="10795" cap="flat" cmpd="sng" algn="ctr">
            <a:noFill/>
            <a:prstDash val="solid"/>
          </a:ln>
          <a:effectLst>
            <a:outerShdw blurRad="254000" dist="50800" dir="2700000" sx="98000" sy="98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457081" tIns="1371600" rIns="457081" bIns="182832" numCol="1" spcCol="0" rtlCol="0" fromWordArt="0" anchor="t" anchorCtr="0" forceAA="0" compatLnSpc="1">
            <a:prstTxWarp prst="textNoShape">
              <a:avLst/>
            </a:prstTxWarp>
            <a:noAutofit/>
          </a:bodyPr>
          <a:lstStyle/>
          <a:p>
            <a:pPr marR="0" lvl="0" algn="ctr" defTabSz="932192" rtl="0" eaLnBrk="1" fontAlgn="base" latinLnBrk="0" hangingPunct="1">
              <a:lnSpc>
                <a:spcPct val="100000"/>
              </a:lnSpc>
              <a:spcBef>
                <a:spcPct val="0"/>
              </a:spcBef>
              <a:spcAft>
                <a:spcPts val="1799"/>
              </a:spcAft>
              <a:buClrTx/>
              <a:buSzTx/>
              <a:tabLst/>
              <a:defRPr/>
            </a:pPr>
            <a:endParaRPr lang="en-US" sz="1800">
              <a:solidFill>
                <a:srgbClr val="1A1A1A"/>
              </a:solidFill>
              <a:latin typeface="Segoe UI Semibold"/>
              <a:cs typeface="Segoe UI" pitchFamily="34" charset="0"/>
            </a:endParaRPr>
          </a:p>
        </p:txBody>
      </p:sp>
      <p:sp>
        <p:nvSpPr>
          <p:cNvPr id="39" name="Rectangle 38">
            <a:extLst>
              <a:ext uri="{FF2B5EF4-FFF2-40B4-BE49-F238E27FC236}">
                <a16:creationId xmlns:a16="http://schemas.microsoft.com/office/drawing/2014/main" id="{B56F53B2-73EB-4791-A906-C44CED560E9A}"/>
              </a:ext>
            </a:extLst>
          </p:cNvPr>
          <p:cNvSpPr/>
          <p:nvPr/>
        </p:nvSpPr>
        <p:spPr bwMode="auto">
          <a:xfrm>
            <a:off x="9013985" y="2019300"/>
            <a:ext cx="2595404" cy="3789829"/>
          </a:xfrm>
          <a:prstGeom prst="rect">
            <a:avLst/>
          </a:prstGeom>
          <a:solidFill>
            <a:schemeClr val="bg1"/>
          </a:solidFill>
          <a:ln w="10795" cap="flat" cmpd="sng" algn="ctr">
            <a:noFill/>
            <a:prstDash val="solid"/>
          </a:ln>
          <a:effectLst>
            <a:outerShdw blurRad="254000" dist="50800" dir="2700000" sx="98000" sy="98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457081" tIns="1371600" rIns="457081" bIns="182832" numCol="1" spcCol="0" rtlCol="0" fromWordArt="0" anchor="t" anchorCtr="0" forceAA="0" compatLnSpc="1">
            <a:prstTxWarp prst="textNoShape">
              <a:avLst/>
            </a:prstTxWarp>
            <a:noAutofit/>
          </a:bodyPr>
          <a:lstStyle/>
          <a:p>
            <a:pPr algn="ctr"/>
            <a:endParaRPr lang="en-US" sz="1800">
              <a:solidFill>
                <a:srgbClr val="1A1A1A"/>
              </a:solidFill>
              <a:latin typeface="Segoe UI Semibold"/>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1001246"/>
            <a:ext cx="11018520" cy="553998"/>
          </a:xfrm>
        </p:spPr>
        <p:txBody>
          <a:bodyPr/>
          <a:lstStyle/>
          <a:p>
            <a:r>
              <a:rPr lang="en-US"/>
              <a:t>Click to edit Master title style</a:t>
            </a:r>
          </a:p>
        </p:txBody>
      </p:sp>
      <p:sp>
        <p:nvSpPr>
          <p:cNvPr id="17" name="Text Placeholder 3">
            <a:extLst>
              <a:ext uri="{FF2B5EF4-FFF2-40B4-BE49-F238E27FC236}">
                <a16:creationId xmlns:a16="http://schemas.microsoft.com/office/drawing/2014/main" id="{ACDD7EB9-6C2B-4F86-B3A5-CC5E18774A64}"/>
              </a:ext>
            </a:extLst>
          </p:cNvPr>
          <p:cNvSpPr>
            <a:spLocks noGrp="1"/>
          </p:cNvSpPr>
          <p:nvPr>
            <p:ph type="body" sz="quarter" idx="21"/>
          </p:nvPr>
        </p:nvSpPr>
        <p:spPr>
          <a:xfrm>
            <a:off x="908995" y="2286000"/>
            <a:ext cx="1950720" cy="3200400"/>
          </a:xfrm>
        </p:spPr>
        <p:txBody>
          <a:bodyPr anchor="t" anchorCtr="0">
            <a:normAutofit/>
          </a:bodyPr>
          <a:lstStyle>
            <a:lvl1pPr marL="0" indent="0" algn="l">
              <a:spcBef>
                <a:spcPts val="0"/>
              </a:spcBef>
              <a:buNone/>
              <a:defRPr sz="2000">
                <a:solidFill>
                  <a:schemeClr val="tx1"/>
                </a:solidFill>
                <a:latin typeface="+mn-lt"/>
              </a:defRPr>
            </a:lvl1pPr>
          </a:lstStyle>
          <a:p>
            <a:pPr lvl="0"/>
            <a:r>
              <a:rPr lang="en-US"/>
              <a:t>Click to edit Master text styles</a:t>
            </a:r>
          </a:p>
        </p:txBody>
      </p:sp>
      <p:sp>
        <p:nvSpPr>
          <p:cNvPr id="44" name="Text Placeholder 3">
            <a:extLst>
              <a:ext uri="{FF2B5EF4-FFF2-40B4-BE49-F238E27FC236}">
                <a16:creationId xmlns:a16="http://schemas.microsoft.com/office/drawing/2014/main" id="{57CD1215-35EE-4B6C-9D08-DBA8C92178F0}"/>
              </a:ext>
            </a:extLst>
          </p:cNvPr>
          <p:cNvSpPr>
            <a:spLocks noGrp="1"/>
          </p:cNvSpPr>
          <p:nvPr>
            <p:ph type="body" sz="quarter" idx="22"/>
          </p:nvPr>
        </p:nvSpPr>
        <p:spPr>
          <a:xfrm>
            <a:off x="3718106" y="2286000"/>
            <a:ext cx="1950720" cy="3200400"/>
          </a:xfrm>
        </p:spPr>
        <p:txBody>
          <a:bodyPr anchor="t" anchorCtr="0">
            <a:normAutofit/>
          </a:bodyPr>
          <a:lstStyle>
            <a:lvl1pPr marL="0" indent="0" algn="l">
              <a:spcBef>
                <a:spcPts val="0"/>
              </a:spcBef>
              <a:buNone/>
              <a:defRPr sz="2000">
                <a:solidFill>
                  <a:schemeClr val="tx1"/>
                </a:solidFill>
                <a:latin typeface="+mn-lt"/>
              </a:defRPr>
            </a:lvl1pPr>
          </a:lstStyle>
          <a:p>
            <a:pPr lvl="0"/>
            <a:r>
              <a:rPr lang="en-US"/>
              <a:t>Click to edit Master text styles</a:t>
            </a:r>
          </a:p>
        </p:txBody>
      </p:sp>
      <p:sp>
        <p:nvSpPr>
          <p:cNvPr id="45" name="Text Placeholder 3">
            <a:extLst>
              <a:ext uri="{FF2B5EF4-FFF2-40B4-BE49-F238E27FC236}">
                <a16:creationId xmlns:a16="http://schemas.microsoft.com/office/drawing/2014/main" id="{3EED6676-2C97-4C05-ABB4-AB456FA400B2}"/>
              </a:ext>
            </a:extLst>
          </p:cNvPr>
          <p:cNvSpPr>
            <a:spLocks noGrp="1"/>
          </p:cNvSpPr>
          <p:nvPr>
            <p:ph type="body" sz="quarter" idx="23"/>
          </p:nvPr>
        </p:nvSpPr>
        <p:spPr>
          <a:xfrm>
            <a:off x="6527216" y="2286000"/>
            <a:ext cx="1950720" cy="3200400"/>
          </a:xfrm>
        </p:spPr>
        <p:txBody>
          <a:bodyPr anchor="t" anchorCtr="0">
            <a:normAutofit/>
          </a:bodyPr>
          <a:lstStyle>
            <a:lvl1pPr marL="0" indent="0" algn="l">
              <a:spcBef>
                <a:spcPts val="0"/>
              </a:spcBef>
              <a:buNone/>
              <a:defRPr sz="2000">
                <a:solidFill>
                  <a:schemeClr val="tx1"/>
                </a:solidFill>
                <a:latin typeface="+mn-lt"/>
              </a:defRPr>
            </a:lvl1pPr>
          </a:lstStyle>
          <a:p>
            <a:pPr lvl="0"/>
            <a:r>
              <a:rPr lang="en-US"/>
              <a:t>Click to edit Master text styles</a:t>
            </a:r>
          </a:p>
        </p:txBody>
      </p:sp>
      <p:sp>
        <p:nvSpPr>
          <p:cNvPr id="46" name="Text Placeholder 3">
            <a:extLst>
              <a:ext uri="{FF2B5EF4-FFF2-40B4-BE49-F238E27FC236}">
                <a16:creationId xmlns:a16="http://schemas.microsoft.com/office/drawing/2014/main" id="{9114E932-4457-40DE-A435-0CCB78BF596A}"/>
              </a:ext>
            </a:extLst>
          </p:cNvPr>
          <p:cNvSpPr>
            <a:spLocks noGrp="1"/>
          </p:cNvSpPr>
          <p:nvPr>
            <p:ph type="body" sz="quarter" idx="24"/>
          </p:nvPr>
        </p:nvSpPr>
        <p:spPr>
          <a:xfrm>
            <a:off x="9336327" y="2286000"/>
            <a:ext cx="1950720" cy="3200400"/>
          </a:xfrm>
        </p:spPr>
        <p:txBody>
          <a:bodyPr anchor="t" anchorCtr="0">
            <a:normAutofit/>
          </a:bodyPr>
          <a:lstStyle>
            <a:lvl1pPr marL="0" indent="0" algn="l">
              <a:spcBef>
                <a:spcPts val="0"/>
              </a:spcBef>
              <a:buNone/>
              <a:defRPr sz="2000">
                <a:solidFill>
                  <a:schemeClr val="tx1"/>
                </a:solidFill>
                <a:latin typeface="+mn-lt"/>
              </a:defRPr>
            </a:lvl1pPr>
          </a:lstStyle>
          <a:p>
            <a:pPr lvl="0"/>
            <a:r>
              <a:rPr lang="en-US"/>
              <a:t>Click to edit Master text styles</a:t>
            </a:r>
          </a:p>
        </p:txBody>
      </p:sp>
      <p:sp>
        <p:nvSpPr>
          <p:cNvPr id="11" name="TextBox 10">
            <a:extLst>
              <a:ext uri="{FF2B5EF4-FFF2-40B4-BE49-F238E27FC236}">
                <a16:creationId xmlns:a16="http://schemas.microsoft.com/office/drawing/2014/main" id="{02A27131-6BDB-468C-AFE5-4956C993B22B}"/>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14762586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ottom horizontal box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Rectangle 3">
            <a:extLst>
              <a:ext uri="{FF2B5EF4-FFF2-40B4-BE49-F238E27FC236}">
                <a16:creationId xmlns:a16="http://schemas.microsoft.com/office/drawing/2014/main" id="{99B7281F-D4B5-4906-A747-28674C3D4F35}"/>
              </a:ext>
            </a:extLst>
          </p:cNvPr>
          <p:cNvSpPr/>
          <p:nvPr userDrawn="1"/>
        </p:nvSpPr>
        <p:spPr bwMode="auto">
          <a:xfrm>
            <a:off x="0" y="1466850"/>
            <a:ext cx="12192000" cy="5391150"/>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3">
            <a:extLst>
              <a:ext uri="{FF2B5EF4-FFF2-40B4-BE49-F238E27FC236}">
                <a16:creationId xmlns:a16="http://schemas.microsoft.com/office/drawing/2014/main" id="{67B83AF3-55A4-4C11-AAB1-D10336D29BCF}"/>
              </a:ext>
            </a:extLst>
          </p:cNvPr>
          <p:cNvSpPr>
            <a:spLocks noGrp="1"/>
          </p:cNvSpPr>
          <p:nvPr>
            <p:ph type="body" sz="quarter" idx="18"/>
          </p:nvPr>
        </p:nvSpPr>
        <p:spPr>
          <a:xfrm>
            <a:off x="588263" y="2029788"/>
            <a:ext cx="5088637" cy="369332"/>
          </a:xfrm>
        </p:spPr>
        <p:txBody>
          <a:bodyPr/>
          <a:lstStyle>
            <a:lvl1pPr marL="0" indent="0" algn="l">
              <a:spcBef>
                <a:spcPts val="0"/>
              </a:spcBef>
              <a:buNone/>
              <a:defRPr sz="2400">
                <a:solidFill>
                  <a:schemeClr val="accent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FEC7E601-D821-4202-9D77-5ADD3591D36B}"/>
              </a:ext>
            </a:extLst>
          </p:cNvPr>
          <p:cNvSpPr>
            <a:spLocks noGrp="1"/>
          </p:cNvSpPr>
          <p:nvPr>
            <p:ph type="body" sz="quarter" idx="19"/>
          </p:nvPr>
        </p:nvSpPr>
        <p:spPr>
          <a:xfrm>
            <a:off x="588263" y="2677909"/>
            <a:ext cx="5088637" cy="3389516"/>
          </a:xfrm>
        </p:spPr>
        <p:txBody>
          <a:bodyPr/>
          <a:lstStyle>
            <a:lvl1pPr marL="0" indent="0" algn="l">
              <a:spcBef>
                <a:spcPts val="0"/>
              </a:spcBef>
              <a:buNone/>
              <a:defRPr sz="2000">
                <a:solidFill>
                  <a:schemeClr val="tx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FECD7D8B-D7A1-4F87-97F0-A89107FBD8C4}"/>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139995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1">
          <p15:clr>
            <a:srgbClr val="5ACBF0"/>
          </p15:clr>
        </p15:guide>
        <p15:guide id="30" orient="horz" pos="288">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iagram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7D6ED0-F6A9-4E7A-80C5-6A8B06500FBB}"/>
              </a:ext>
            </a:extLst>
          </p:cNvPr>
          <p:cNvSpPr/>
          <p:nvPr userDrawn="1"/>
        </p:nvSpPr>
        <p:spPr bwMode="auto">
          <a:xfrm>
            <a:off x="0" y="5607050"/>
            <a:ext cx="12192000" cy="1250950"/>
          </a:xfrm>
          <a:prstGeom prst="rect">
            <a:avLst/>
          </a:prstGeom>
          <a:solidFill>
            <a:schemeClr val="bg1">
              <a:lumMod val="95000"/>
            </a:schemeClr>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Rectangle 3">
            <a:extLst>
              <a:ext uri="{FF2B5EF4-FFF2-40B4-BE49-F238E27FC236}">
                <a16:creationId xmlns:a16="http://schemas.microsoft.com/office/drawing/2014/main" id="{99B7281F-D4B5-4906-A747-28674C3D4F35}"/>
              </a:ext>
            </a:extLst>
          </p:cNvPr>
          <p:cNvSpPr/>
          <p:nvPr userDrawn="1"/>
        </p:nvSpPr>
        <p:spPr bwMode="auto">
          <a:xfrm>
            <a:off x="0" y="1250950"/>
            <a:ext cx="12192000" cy="4356100"/>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8A00A5C-310D-4F48-BA0D-6FD3A3699367}"/>
              </a:ext>
            </a:extLst>
          </p:cNvPr>
          <p:cNvSpPr>
            <a:spLocks noGrp="1"/>
          </p:cNvSpPr>
          <p:nvPr>
            <p:ph type="body" sz="quarter" idx="21"/>
          </p:nvPr>
        </p:nvSpPr>
        <p:spPr>
          <a:xfrm>
            <a:off x="588261" y="5846802"/>
            <a:ext cx="11018521" cy="215444"/>
          </a:xfrm>
        </p:spPr>
        <p:txBody>
          <a:bodyPr anchor="t" anchorCtr="0"/>
          <a:lstStyle>
            <a:lvl1pPr marL="0" indent="0" algn="l">
              <a:spcBef>
                <a:spcPts val="0"/>
              </a:spcBef>
              <a:buNone/>
              <a:defRPr sz="1400">
                <a:solidFill>
                  <a:schemeClr val="tx1"/>
                </a:solidFill>
                <a:latin typeface="+mn-lt"/>
              </a:defRPr>
            </a:lvl1pPr>
          </a:lstStyle>
          <a:p>
            <a:pPr lvl="0"/>
            <a:r>
              <a:rPr lang="en-US"/>
              <a:t>Click to edit Master text styles</a:t>
            </a:r>
          </a:p>
        </p:txBody>
      </p:sp>
      <p:sp>
        <p:nvSpPr>
          <p:cNvPr id="10" name="TextBox 9">
            <a:extLst>
              <a:ext uri="{FF2B5EF4-FFF2-40B4-BE49-F238E27FC236}">
                <a16:creationId xmlns:a16="http://schemas.microsoft.com/office/drawing/2014/main" id="{5BB2E87B-6853-460D-810A-83A45066787B}"/>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18735572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1">
          <p15:clr>
            <a:srgbClr val="5ACBF0"/>
          </p15:clr>
        </p15:guide>
        <p15:guide id="30" orient="horz" pos="288">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n bucketed content">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1153DF8-635C-BC43-B02D-4B0F75E36121}"/>
              </a:ext>
            </a:extLst>
          </p:cNvPr>
          <p:cNvSpPr/>
          <p:nvPr userDrawn="1"/>
        </p:nvSpPr>
        <p:spPr bwMode="auto">
          <a:xfrm>
            <a:off x="588263" y="1063525"/>
            <a:ext cx="2611387" cy="2558886"/>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118872" rIns="0" bIns="0" numCol="1" spcCol="0" rtlCol="0" fromWordArt="0" anchor="t" anchorCtr="0" forceAA="0" compatLnSpc="1">
            <a:prstTxWarp prst="textNoShape">
              <a:avLst/>
            </a:prstTxWarp>
            <a:noAutofit/>
          </a:bodyPr>
          <a:lstStyle/>
          <a:p>
            <a:pPr lvl="0" defTabSz="932472" fontAlgn="base">
              <a:lnSpc>
                <a:spcPts val="1200"/>
              </a:lnSpc>
              <a:defRPr/>
            </a:pPr>
            <a:endParaRPr lang="en-US" sz="1000" b="1">
              <a:solidFill>
                <a:schemeClr val="tx1"/>
              </a:solidFill>
              <a:latin typeface="Segoe UI Semibold" panose="020B0502040204020203" pitchFamily="34" charset="0"/>
              <a:ea typeface="Segoe UI" panose="020B0502040204020203" pitchFamily="34" charset="0"/>
              <a:cs typeface="Segoe UI Semibold" panose="020B0502040204020203" pitchFamily="34" charset="0"/>
            </a:endParaRPr>
          </a:p>
        </p:txBody>
      </p:sp>
      <p:sp>
        <p:nvSpPr>
          <p:cNvPr id="11" name="Rectangle 10">
            <a:extLst>
              <a:ext uri="{FF2B5EF4-FFF2-40B4-BE49-F238E27FC236}">
                <a16:creationId xmlns:a16="http://schemas.microsoft.com/office/drawing/2014/main" id="{BCB21D27-1889-B748-ADB4-C14DF10278A6}"/>
              </a:ext>
            </a:extLst>
          </p:cNvPr>
          <p:cNvSpPr/>
          <p:nvPr userDrawn="1"/>
        </p:nvSpPr>
        <p:spPr bwMode="auto">
          <a:xfrm>
            <a:off x="3287390" y="1063524"/>
            <a:ext cx="2217614" cy="1828781"/>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118872" rIns="0" bIns="0" numCol="1" spcCol="0" rtlCol="0" fromWordArt="0" anchor="t" anchorCtr="0" forceAA="0" compatLnSpc="1">
            <a:prstTxWarp prst="textNoShape">
              <a:avLst/>
            </a:prstTxWarp>
            <a:noAutofit/>
          </a:bodyPr>
          <a:lstStyle/>
          <a:p>
            <a:pPr lvl="0" defTabSz="932472" fontAlgn="base">
              <a:lnSpc>
                <a:spcPts val="1200"/>
              </a:lnSpc>
              <a:defRPr/>
            </a:pPr>
            <a:endParaRPr lang="en-US" sz="1000" b="1">
              <a:solidFill>
                <a:schemeClr val="tx1"/>
              </a:solidFill>
              <a:latin typeface="Segoe UI Semibold" panose="020B0502040204020203" pitchFamily="34" charset="0"/>
              <a:ea typeface="Segoe UI" panose="020B0502040204020203" pitchFamily="34" charset="0"/>
              <a:cs typeface="Segoe UI Semibold" panose="020B0502040204020203" pitchFamily="34" charset="0"/>
            </a:endParaRPr>
          </a:p>
        </p:txBody>
      </p:sp>
      <p:sp>
        <p:nvSpPr>
          <p:cNvPr id="12" name="Rectangle 11">
            <a:extLst>
              <a:ext uri="{FF2B5EF4-FFF2-40B4-BE49-F238E27FC236}">
                <a16:creationId xmlns:a16="http://schemas.microsoft.com/office/drawing/2014/main" id="{45ED3186-9F44-9B48-8E0A-860CBC323651}"/>
              </a:ext>
            </a:extLst>
          </p:cNvPr>
          <p:cNvSpPr/>
          <p:nvPr userDrawn="1"/>
        </p:nvSpPr>
        <p:spPr bwMode="auto">
          <a:xfrm>
            <a:off x="5592743" y="1063524"/>
            <a:ext cx="2217614" cy="182878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118872" rIns="0" bIns="0" numCol="1" spcCol="0" rtlCol="0" fromWordArt="0" anchor="t" anchorCtr="0" forceAA="0" compatLnSpc="1">
            <a:prstTxWarp prst="textNoShape">
              <a:avLst/>
            </a:prstTxWarp>
            <a:noAutofit/>
          </a:bodyPr>
          <a:lstStyle/>
          <a:p>
            <a:pPr lvl="0" defTabSz="932472" fontAlgn="base">
              <a:lnSpc>
                <a:spcPts val="1200"/>
              </a:lnSpc>
              <a:defRPr/>
            </a:pPr>
            <a:endParaRPr lang="en-US" sz="1000" b="1">
              <a:solidFill>
                <a:schemeClr val="tx1"/>
              </a:solidFill>
              <a:latin typeface="Segoe UI Semibold" panose="020B0502040204020203" pitchFamily="34" charset="0"/>
              <a:ea typeface="Segoe UI" panose="020B0502040204020203" pitchFamily="34" charset="0"/>
              <a:cs typeface="Segoe UI Semibold" panose="020B0502040204020203" pitchFamily="34" charset="0"/>
            </a:endParaRPr>
          </a:p>
        </p:txBody>
      </p:sp>
      <p:sp>
        <p:nvSpPr>
          <p:cNvPr id="13" name="Rectangle 12">
            <a:extLst>
              <a:ext uri="{FF2B5EF4-FFF2-40B4-BE49-F238E27FC236}">
                <a16:creationId xmlns:a16="http://schemas.microsoft.com/office/drawing/2014/main" id="{7DD88181-83D7-FB40-9D54-7E6203E3874B}"/>
              </a:ext>
            </a:extLst>
          </p:cNvPr>
          <p:cNvSpPr/>
          <p:nvPr userDrawn="1"/>
        </p:nvSpPr>
        <p:spPr bwMode="auto">
          <a:xfrm>
            <a:off x="7898097" y="1063524"/>
            <a:ext cx="1811775" cy="3746564"/>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118872" rIns="0" bIns="0" numCol="1" spcCol="0" rtlCol="0" fromWordArt="0" anchor="t" anchorCtr="0" forceAA="0" compatLnSpc="1">
            <a:prstTxWarp prst="textNoShape">
              <a:avLst/>
            </a:prstTxWarp>
            <a:noAutofit/>
          </a:bodyPr>
          <a:lstStyle/>
          <a:p>
            <a:pPr lvl="0" defTabSz="932472" fontAlgn="base">
              <a:lnSpc>
                <a:spcPts val="1200"/>
              </a:lnSpc>
              <a:defRPr/>
            </a:pPr>
            <a:endParaRPr lang="en-US" sz="1000" b="1">
              <a:solidFill>
                <a:schemeClr val="tx1"/>
              </a:solidFill>
              <a:latin typeface="Segoe UI Semibold" panose="020B0502040204020203" pitchFamily="34" charset="0"/>
              <a:ea typeface="Segoe UI" panose="020B0502040204020203" pitchFamily="34" charset="0"/>
              <a:cs typeface="Segoe UI Semibold" panose="020B0502040204020203" pitchFamily="34" charset="0"/>
            </a:endParaRPr>
          </a:p>
        </p:txBody>
      </p:sp>
      <p:sp>
        <p:nvSpPr>
          <p:cNvPr id="14" name="Rectangle 13">
            <a:extLst>
              <a:ext uri="{FF2B5EF4-FFF2-40B4-BE49-F238E27FC236}">
                <a16:creationId xmlns:a16="http://schemas.microsoft.com/office/drawing/2014/main" id="{A1E17021-D9AF-CF4A-8EDD-9E17F2EA006A}"/>
              </a:ext>
            </a:extLst>
          </p:cNvPr>
          <p:cNvSpPr/>
          <p:nvPr userDrawn="1"/>
        </p:nvSpPr>
        <p:spPr bwMode="auto">
          <a:xfrm>
            <a:off x="9797613" y="1063522"/>
            <a:ext cx="1811775" cy="3746565"/>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118872" rIns="0" bIns="0" numCol="1" spcCol="0" rtlCol="0" fromWordArt="0" anchor="t" anchorCtr="0" forceAA="0" compatLnSpc="1">
            <a:prstTxWarp prst="textNoShape">
              <a:avLst/>
            </a:prstTxWarp>
            <a:noAutofit/>
          </a:bodyPr>
          <a:lstStyle/>
          <a:p>
            <a:pPr lvl="0" defTabSz="932472" fontAlgn="base">
              <a:lnSpc>
                <a:spcPts val="1200"/>
              </a:lnSpc>
              <a:defRPr/>
            </a:pPr>
            <a:endParaRPr lang="en-US" sz="1000" b="1">
              <a:solidFill>
                <a:schemeClr val="tx1"/>
              </a:solidFill>
              <a:latin typeface="Segoe UI Semibold" panose="020B0502040204020203" pitchFamily="34" charset="0"/>
              <a:ea typeface="Segoe UI" panose="020B0502040204020203" pitchFamily="34" charset="0"/>
              <a:cs typeface="Segoe UI Semibold" panose="020B0502040204020203" pitchFamily="34" charset="0"/>
            </a:endParaRPr>
          </a:p>
        </p:txBody>
      </p:sp>
      <p:sp>
        <p:nvSpPr>
          <p:cNvPr id="15" name="Rectangle 14">
            <a:extLst>
              <a:ext uri="{FF2B5EF4-FFF2-40B4-BE49-F238E27FC236}">
                <a16:creationId xmlns:a16="http://schemas.microsoft.com/office/drawing/2014/main" id="{417B19F6-5EFB-6449-B67B-8D5F8CACFDA6}"/>
              </a:ext>
            </a:extLst>
          </p:cNvPr>
          <p:cNvSpPr/>
          <p:nvPr userDrawn="1"/>
        </p:nvSpPr>
        <p:spPr bwMode="auto">
          <a:xfrm>
            <a:off x="588263" y="3710150"/>
            <a:ext cx="2611387" cy="2558887"/>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118872" rIns="0" bIns="0" numCol="1" spcCol="0" rtlCol="0" fromWordArt="0" anchor="t" anchorCtr="0" forceAA="0" compatLnSpc="1">
            <a:prstTxWarp prst="textNoShape">
              <a:avLst/>
            </a:prstTxWarp>
            <a:noAutofit/>
          </a:bodyPr>
          <a:lstStyle/>
          <a:p>
            <a:pPr lvl="0" defTabSz="932472" fontAlgn="base">
              <a:lnSpc>
                <a:spcPts val="1200"/>
              </a:lnSpc>
              <a:defRPr/>
            </a:pPr>
            <a:endParaRPr lang="en-US" sz="1000" b="1">
              <a:solidFill>
                <a:schemeClr val="tx1"/>
              </a:solidFill>
              <a:latin typeface="Segoe UI Semibold" panose="020B0502040204020203" pitchFamily="34" charset="0"/>
              <a:ea typeface="Segoe UI" panose="020B0502040204020203" pitchFamily="34" charset="0"/>
              <a:cs typeface="Segoe UI Semibold" panose="020B0502040204020203" pitchFamily="34" charset="0"/>
            </a:endParaRPr>
          </a:p>
        </p:txBody>
      </p:sp>
      <p:sp>
        <p:nvSpPr>
          <p:cNvPr id="16" name="Rectangle 15">
            <a:extLst>
              <a:ext uri="{FF2B5EF4-FFF2-40B4-BE49-F238E27FC236}">
                <a16:creationId xmlns:a16="http://schemas.microsoft.com/office/drawing/2014/main" id="{92B93EDC-A09F-0748-B1F5-1E9CDFF12919}"/>
              </a:ext>
            </a:extLst>
          </p:cNvPr>
          <p:cNvSpPr/>
          <p:nvPr userDrawn="1"/>
        </p:nvSpPr>
        <p:spPr bwMode="auto">
          <a:xfrm>
            <a:off x="3287390" y="2981306"/>
            <a:ext cx="2217614" cy="1828781"/>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118872" rIns="0" bIns="0" numCol="1" spcCol="0" rtlCol="0" fromWordArt="0" anchor="t" anchorCtr="0" forceAA="0" compatLnSpc="1">
            <a:prstTxWarp prst="textNoShape">
              <a:avLst/>
            </a:prstTxWarp>
            <a:noAutofit/>
          </a:bodyPr>
          <a:lstStyle/>
          <a:p>
            <a:pPr lvl="0" defTabSz="932472" fontAlgn="base">
              <a:lnSpc>
                <a:spcPts val="1200"/>
              </a:lnSpc>
              <a:defRPr/>
            </a:pPr>
            <a:endParaRPr lang="en-US" sz="1000" b="1">
              <a:solidFill>
                <a:schemeClr val="tx1"/>
              </a:solidFill>
              <a:latin typeface="Segoe UI Semibold" panose="020B0502040204020203" pitchFamily="34" charset="0"/>
              <a:ea typeface="Segoe UI" panose="020B0502040204020203" pitchFamily="34" charset="0"/>
              <a:cs typeface="Segoe UI Semibold" panose="020B0502040204020203" pitchFamily="34" charset="0"/>
            </a:endParaRPr>
          </a:p>
        </p:txBody>
      </p:sp>
      <p:sp>
        <p:nvSpPr>
          <p:cNvPr id="17" name="Rectangle 16">
            <a:extLst>
              <a:ext uri="{FF2B5EF4-FFF2-40B4-BE49-F238E27FC236}">
                <a16:creationId xmlns:a16="http://schemas.microsoft.com/office/drawing/2014/main" id="{AE0AA2A5-F0C8-F946-975B-2D183A502D42}"/>
              </a:ext>
            </a:extLst>
          </p:cNvPr>
          <p:cNvSpPr/>
          <p:nvPr userDrawn="1"/>
        </p:nvSpPr>
        <p:spPr bwMode="auto">
          <a:xfrm>
            <a:off x="5592743" y="2981306"/>
            <a:ext cx="2217614" cy="3287731"/>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118872" rIns="0" bIns="0" numCol="1" spcCol="0" rtlCol="0" fromWordArt="0" anchor="t" anchorCtr="0" forceAA="0" compatLnSpc="1">
            <a:prstTxWarp prst="textNoShape">
              <a:avLst/>
            </a:prstTxWarp>
            <a:noAutofit/>
          </a:bodyPr>
          <a:lstStyle/>
          <a:p>
            <a:pPr lvl="0" defTabSz="932472" fontAlgn="base">
              <a:lnSpc>
                <a:spcPts val="1200"/>
              </a:lnSpc>
              <a:defRPr/>
            </a:pPr>
            <a:endParaRPr lang="en-US" sz="1000" b="1">
              <a:solidFill>
                <a:schemeClr val="tx1"/>
              </a:solidFill>
              <a:latin typeface="Segoe UI Semibold" panose="020B0502040204020203" pitchFamily="34" charset="0"/>
              <a:ea typeface="Segoe UI" panose="020B0502040204020203" pitchFamily="34" charset="0"/>
              <a:cs typeface="Segoe UI Semibold" panose="020B0502040204020203" pitchFamily="34" charset="0"/>
            </a:endParaRPr>
          </a:p>
        </p:txBody>
      </p:sp>
      <p:sp>
        <p:nvSpPr>
          <p:cNvPr id="18" name="Rectangle 17">
            <a:extLst>
              <a:ext uri="{FF2B5EF4-FFF2-40B4-BE49-F238E27FC236}">
                <a16:creationId xmlns:a16="http://schemas.microsoft.com/office/drawing/2014/main" id="{F0F27E3C-AC0E-8E40-B5BE-F3EC4FBAAE8C}"/>
              </a:ext>
            </a:extLst>
          </p:cNvPr>
          <p:cNvSpPr/>
          <p:nvPr userDrawn="1"/>
        </p:nvSpPr>
        <p:spPr bwMode="auto">
          <a:xfrm>
            <a:off x="3287390" y="4897828"/>
            <a:ext cx="2217614" cy="137121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118872" rIns="0" bIns="0" numCol="1" spcCol="0" rtlCol="0" fromWordArt="0" anchor="t" anchorCtr="0" forceAA="0" compatLnSpc="1">
            <a:prstTxWarp prst="textNoShape">
              <a:avLst/>
            </a:prstTxWarp>
            <a:noAutofit/>
          </a:bodyPr>
          <a:lstStyle/>
          <a:p>
            <a:pPr lvl="0" defTabSz="932472" fontAlgn="base">
              <a:lnSpc>
                <a:spcPts val="1200"/>
              </a:lnSpc>
              <a:defRPr/>
            </a:pPr>
            <a:endParaRPr lang="en-US" sz="1000" b="1">
              <a:solidFill>
                <a:schemeClr val="tx1"/>
              </a:solidFill>
              <a:latin typeface="Segoe UI Semibold" panose="020B0502040204020203" pitchFamily="34" charset="0"/>
              <a:ea typeface="Segoe UI" panose="020B0502040204020203" pitchFamily="34" charset="0"/>
              <a:cs typeface="Segoe UI Semibold" panose="020B0502040204020203" pitchFamily="34" charset="0"/>
            </a:endParaRPr>
          </a:p>
        </p:txBody>
      </p:sp>
      <p:sp>
        <p:nvSpPr>
          <p:cNvPr id="19" name="Rectangle 18">
            <a:extLst>
              <a:ext uri="{FF2B5EF4-FFF2-40B4-BE49-F238E27FC236}">
                <a16:creationId xmlns:a16="http://schemas.microsoft.com/office/drawing/2014/main" id="{EA3B384A-75F5-5C45-B04B-C6A36674BFE8}"/>
              </a:ext>
            </a:extLst>
          </p:cNvPr>
          <p:cNvSpPr/>
          <p:nvPr userDrawn="1"/>
        </p:nvSpPr>
        <p:spPr bwMode="auto">
          <a:xfrm>
            <a:off x="7898095" y="4897828"/>
            <a:ext cx="3705641" cy="1371210"/>
          </a:xfrm>
          <a:prstGeom prst="rect">
            <a:avLst/>
          </a:prstGeom>
          <a:solidFill>
            <a:schemeClr val="bg1">
              <a:lumMod val="85000"/>
              <a:lumOff val="15000"/>
            </a:schemeClr>
          </a:solidFill>
          <a:ln>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118872" rIns="0" bIns="0" numCol="1" spcCol="0" rtlCol="0" fromWordArt="0" anchor="t" anchorCtr="0" forceAA="0" compatLnSpc="1">
            <a:prstTxWarp prst="textNoShape">
              <a:avLst/>
            </a:prstTxWarp>
            <a:noAutofit/>
          </a:bodyPr>
          <a:lstStyle/>
          <a:p>
            <a:pPr lvl="0" defTabSz="932472" fontAlgn="base">
              <a:lnSpc>
                <a:spcPts val="1200"/>
              </a:lnSpc>
              <a:defRPr/>
            </a:pPr>
            <a:endParaRPr lang="en-US" sz="1000" b="1">
              <a:solidFill>
                <a:schemeClr val="tx1"/>
              </a:solidFill>
              <a:latin typeface="Segoe UI Semibold" panose="020B0502040204020203" pitchFamily="34" charset="0"/>
              <a:ea typeface="Segoe UI" panose="020B0502040204020203" pitchFamily="34" charset="0"/>
              <a:cs typeface="Segoe UI Semibold" panose="020B0502040204020203" pitchFamily="34" charset="0"/>
            </a:endParaRPr>
          </a:p>
        </p:txBody>
      </p:sp>
      <p:sp>
        <p:nvSpPr>
          <p:cNvPr id="35" name="Text Placeholder 4">
            <a:extLst>
              <a:ext uri="{FF2B5EF4-FFF2-40B4-BE49-F238E27FC236}">
                <a16:creationId xmlns:a16="http://schemas.microsoft.com/office/drawing/2014/main" id="{CB0C5E63-BE88-8740-877A-E455D2C59EE3}"/>
              </a:ext>
            </a:extLst>
          </p:cNvPr>
          <p:cNvSpPr>
            <a:spLocks noGrp="1"/>
          </p:cNvSpPr>
          <p:nvPr>
            <p:ph type="body" sz="quarter" idx="12"/>
          </p:nvPr>
        </p:nvSpPr>
        <p:spPr>
          <a:xfrm>
            <a:off x="733426" y="1616576"/>
            <a:ext cx="2248232" cy="123111"/>
          </a:xfrm>
          <a:noFill/>
        </p:spPr>
        <p:txBody>
          <a:bodyPr wrap="square" lIns="0" tIns="0" rIns="0" bIns="0">
            <a:spAutoFit/>
          </a:bodyPr>
          <a:lstStyle>
            <a:lvl1pPr marL="0" indent="0">
              <a:spcBef>
                <a:spcPts val="0"/>
              </a:spcBef>
              <a:buNone/>
              <a:defRPr sz="8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Click to edit Master text styles</a:t>
            </a:r>
          </a:p>
        </p:txBody>
      </p:sp>
      <p:sp>
        <p:nvSpPr>
          <p:cNvPr id="36" name="Text Placeholder 4">
            <a:extLst>
              <a:ext uri="{FF2B5EF4-FFF2-40B4-BE49-F238E27FC236}">
                <a16:creationId xmlns:a16="http://schemas.microsoft.com/office/drawing/2014/main" id="{444F9CB8-48D4-2C4C-8C5A-F9D48FDBB027}"/>
              </a:ext>
            </a:extLst>
          </p:cNvPr>
          <p:cNvSpPr>
            <a:spLocks noGrp="1"/>
          </p:cNvSpPr>
          <p:nvPr>
            <p:ph type="body" sz="quarter" idx="13"/>
          </p:nvPr>
        </p:nvSpPr>
        <p:spPr>
          <a:xfrm>
            <a:off x="733426" y="4227284"/>
            <a:ext cx="2248232" cy="123111"/>
          </a:xfrm>
          <a:noFill/>
        </p:spPr>
        <p:txBody>
          <a:bodyPr wrap="square" lIns="0" tIns="0" rIns="0" bIns="0">
            <a:spAutoFit/>
          </a:bodyPr>
          <a:lstStyle>
            <a:lvl1pPr marL="0" indent="0">
              <a:spcBef>
                <a:spcPts val="0"/>
              </a:spcBef>
              <a:buNone/>
              <a:defRPr sz="8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Click to edit Master text styles</a:t>
            </a:r>
          </a:p>
        </p:txBody>
      </p:sp>
      <p:sp>
        <p:nvSpPr>
          <p:cNvPr id="37" name="Text Placeholder 4">
            <a:extLst>
              <a:ext uri="{FF2B5EF4-FFF2-40B4-BE49-F238E27FC236}">
                <a16:creationId xmlns:a16="http://schemas.microsoft.com/office/drawing/2014/main" id="{12AD85A3-05A1-1247-BF40-C09EBA6E02C9}"/>
              </a:ext>
            </a:extLst>
          </p:cNvPr>
          <p:cNvSpPr>
            <a:spLocks noGrp="1"/>
          </p:cNvSpPr>
          <p:nvPr>
            <p:ph type="body" sz="quarter" idx="14"/>
          </p:nvPr>
        </p:nvSpPr>
        <p:spPr>
          <a:xfrm>
            <a:off x="3427199" y="1616576"/>
            <a:ext cx="1864785" cy="123111"/>
          </a:xfrm>
          <a:noFill/>
        </p:spPr>
        <p:txBody>
          <a:bodyPr wrap="square" lIns="0" tIns="0" rIns="0" bIns="0">
            <a:spAutoFit/>
          </a:bodyPr>
          <a:lstStyle>
            <a:lvl1pPr marL="0" indent="0">
              <a:spcBef>
                <a:spcPts val="0"/>
              </a:spcBef>
              <a:buNone/>
              <a:defRPr sz="8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Click to edit Master text styles</a:t>
            </a:r>
          </a:p>
        </p:txBody>
      </p:sp>
      <p:sp>
        <p:nvSpPr>
          <p:cNvPr id="38" name="Text Placeholder 4">
            <a:extLst>
              <a:ext uri="{FF2B5EF4-FFF2-40B4-BE49-F238E27FC236}">
                <a16:creationId xmlns:a16="http://schemas.microsoft.com/office/drawing/2014/main" id="{B1624D85-334D-EA43-8FCD-91006776FF76}"/>
              </a:ext>
            </a:extLst>
          </p:cNvPr>
          <p:cNvSpPr>
            <a:spLocks noGrp="1"/>
          </p:cNvSpPr>
          <p:nvPr>
            <p:ph type="body" sz="quarter" idx="15"/>
          </p:nvPr>
        </p:nvSpPr>
        <p:spPr>
          <a:xfrm>
            <a:off x="5723465" y="1616576"/>
            <a:ext cx="1864785" cy="123111"/>
          </a:xfrm>
          <a:noFill/>
        </p:spPr>
        <p:txBody>
          <a:bodyPr wrap="square" lIns="0" tIns="0" rIns="0" bIns="0">
            <a:spAutoFit/>
          </a:bodyPr>
          <a:lstStyle>
            <a:lvl1pPr marL="0" indent="0">
              <a:spcBef>
                <a:spcPts val="0"/>
              </a:spcBef>
              <a:buNone/>
              <a:defRPr sz="8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Click to edit Master text styles</a:t>
            </a:r>
          </a:p>
        </p:txBody>
      </p:sp>
      <p:sp>
        <p:nvSpPr>
          <p:cNvPr id="39" name="Text Placeholder 4">
            <a:extLst>
              <a:ext uri="{FF2B5EF4-FFF2-40B4-BE49-F238E27FC236}">
                <a16:creationId xmlns:a16="http://schemas.microsoft.com/office/drawing/2014/main" id="{4C81FFE2-3B32-7C42-953B-2DB6F854A4FE}"/>
              </a:ext>
            </a:extLst>
          </p:cNvPr>
          <p:cNvSpPr>
            <a:spLocks noGrp="1"/>
          </p:cNvSpPr>
          <p:nvPr>
            <p:ph type="body" sz="quarter" idx="16"/>
          </p:nvPr>
        </p:nvSpPr>
        <p:spPr>
          <a:xfrm>
            <a:off x="8030059" y="1616576"/>
            <a:ext cx="1507331" cy="123111"/>
          </a:xfrm>
          <a:noFill/>
        </p:spPr>
        <p:txBody>
          <a:bodyPr wrap="square" lIns="0" tIns="0" rIns="0" bIns="0">
            <a:spAutoFit/>
          </a:bodyPr>
          <a:lstStyle>
            <a:lvl1pPr marL="0" indent="0">
              <a:spcBef>
                <a:spcPts val="0"/>
              </a:spcBef>
              <a:buNone/>
              <a:defRPr sz="8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Click to edit Master text styles</a:t>
            </a:r>
          </a:p>
        </p:txBody>
      </p:sp>
      <p:sp>
        <p:nvSpPr>
          <p:cNvPr id="40" name="Text Placeholder 4">
            <a:extLst>
              <a:ext uri="{FF2B5EF4-FFF2-40B4-BE49-F238E27FC236}">
                <a16:creationId xmlns:a16="http://schemas.microsoft.com/office/drawing/2014/main" id="{4D242A72-34B3-594E-A04C-DCFE997B4A31}"/>
              </a:ext>
            </a:extLst>
          </p:cNvPr>
          <p:cNvSpPr>
            <a:spLocks noGrp="1"/>
          </p:cNvSpPr>
          <p:nvPr>
            <p:ph type="body" sz="quarter" idx="17"/>
          </p:nvPr>
        </p:nvSpPr>
        <p:spPr>
          <a:xfrm>
            <a:off x="9926308" y="1616576"/>
            <a:ext cx="1507331" cy="123111"/>
          </a:xfrm>
          <a:noFill/>
        </p:spPr>
        <p:txBody>
          <a:bodyPr wrap="square" lIns="0" tIns="0" rIns="0" bIns="0">
            <a:spAutoFit/>
          </a:bodyPr>
          <a:lstStyle>
            <a:lvl1pPr marL="0" indent="0">
              <a:spcBef>
                <a:spcPts val="0"/>
              </a:spcBef>
              <a:buNone/>
              <a:defRPr sz="8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Click to edit Master text styles</a:t>
            </a:r>
          </a:p>
        </p:txBody>
      </p:sp>
      <p:sp>
        <p:nvSpPr>
          <p:cNvPr id="41" name="Text Placeholder 4">
            <a:extLst>
              <a:ext uri="{FF2B5EF4-FFF2-40B4-BE49-F238E27FC236}">
                <a16:creationId xmlns:a16="http://schemas.microsoft.com/office/drawing/2014/main" id="{2B2689B1-ADF3-424E-8061-D599D7205ADD}"/>
              </a:ext>
            </a:extLst>
          </p:cNvPr>
          <p:cNvSpPr>
            <a:spLocks noGrp="1"/>
          </p:cNvSpPr>
          <p:nvPr>
            <p:ph type="body" sz="quarter" idx="18"/>
          </p:nvPr>
        </p:nvSpPr>
        <p:spPr>
          <a:xfrm>
            <a:off x="3427199" y="3466497"/>
            <a:ext cx="1864785" cy="123111"/>
          </a:xfrm>
          <a:noFill/>
        </p:spPr>
        <p:txBody>
          <a:bodyPr wrap="square" lIns="0" tIns="0" rIns="0" bIns="0">
            <a:spAutoFit/>
          </a:bodyPr>
          <a:lstStyle>
            <a:lvl1pPr marL="0" indent="0">
              <a:spcBef>
                <a:spcPts val="0"/>
              </a:spcBef>
              <a:buNone/>
              <a:defRPr sz="8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Click to edit Master text styles</a:t>
            </a:r>
          </a:p>
        </p:txBody>
      </p:sp>
      <p:sp>
        <p:nvSpPr>
          <p:cNvPr id="42" name="Text Placeholder 4">
            <a:extLst>
              <a:ext uri="{FF2B5EF4-FFF2-40B4-BE49-F238E27FC236}">
                <a16:creationId xmlns:a16="http://schemas.microsoft.com/office/drawing/2014/main" id="{BDEB38DF-A189-7344-A768-5B6982EA0D17}"/>
              </a:ext>
            </a:extLst>
          </p:cNvPr>
          <p:cNvSpPr>
            <a:spLocks noGrp="1"/>
          </p:cNvSpPr>
          <p:nvPr>
            <p:ph type="body" sz="quarter" idx="19"/>
          </p:nvPr>
        </p:nvSpPr>
        <p:spPr>
          <a:xfrm>
            <a:off x="5723465" y="3466497"/>
            <a:ext cx="1864785" cy="123111"/>
          </a:xfrm>
          <a:noFill/>
        </p:spPr>
        <p:txBody>
          <a:bodyPr wrap="square" lIns="0" tIns="0" rIns="0" bIns="0">
            <a:spAutoFit/>
          </a:bodyPr>
          <a:lstStyle>
            <a:lvl1pPr marL="0" indent="0">
              <a:spcBef>
                <a:spcPts val="0"/>
              </a:spcBef>
              <a:buNone/>
              <a:defRPr sz="8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Click to edit Master text styles</a:t>
            </a:r>
          </a:p>
        </p:txBody>
      </p:sp>
      <p:sp>
        <p:nvSpPr>
          <p:cNvPr id="43" name="Text Placeholder 4">
            <a:extLst>
              <a:ext uri="{FF2B5EF4-FFF2-40B4-BE49-F238E27FC236}">
                <a16:creationId xmlns:a16="http://schemas.microsoft.com/office/drawing/2014/main" id="{4E1AFBF9-E0EE-1444-96D7-BF5156FF0A18}"/>
              </a:ext>
            </a:extLst>
          </p:cNvPr>
          <p:cNvSpPr>
            <a:spLocks noGrp="1"/>
          </p:cNvSpPr>
          <p:nvPr>
            <p:ph type="body" sz="quarter" idx="20"/>
          </p:nvPr>
        </p:nvSpPr>
        <p:spPr>
          <a:xfrm>
            <a:off x="3427199" y="5388377"/>
            <a:ext cx="1864785" cy="123111"/>
          </a:xfrm>
          <a:noFill/>
        </p:spPr>
        <p:txBody>
          <a:bodyPr wrap="square" lIns="0" tIns="0" rIns="0" bIns="0">
            <a:spAutoFit/>
          </a:bodyPr>
          <a:lstStyle>
            <a:lvl1pPr marL="0" indent="0">
              <a:spcBef>
                <a:spcPts val="0"/>
              </a:spcBef>
              <a:buNone/>
              <a:defRPr sz="8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Click to edit Master text styles</a:t>
            </a:r>
          </a:p>
        </p:txBody>
      </p:sp>
      <p:sp>
        <p:nvSpPr>
          <p:cNvPr id="44" name="Text Placeholder 4">
            <a:extLst>
              <a:ext uri="{FF2B5EF4-FFF2-40B4-BE49-F238E27FC236}">
                <a16:creationId xmlns:a16="http://schemas.microsoft.com/office/drawing/2014/main" id="{BEC40F9C-2BEE-6943-B800-157EAE457A7E}"/>
              </a:ext>
            </a:extLst>
          </p:cNvPr>
          <p:cNvSpPr>
            <a:spLocks noGrp="1"/>
          </p:cNvSpPr>
          <p:nvPr>
            <p:ph type="body" sz="quarter" idx="21"/>
          </p:nvPr>
        </p:nvSpPr>
        <p:spPr>
          <a:xfrm>
            <a:off x="8030059" y="5388377"/>
            <a:ext cx="3320716" cy="123111"/>
          </a:xfrm>
          <a:noFill/>
        </p:spPr>
        <p:txBody>
          <a:bodyPr wrap="square" lIns="0" tIns="0" rIns="0" bIns="0">
            <a:spAutoFit/>
          </a:bodyPr>
          <a:lstStyle>
            <a:lvl1pPr marL="0" indent="0">
              <a:spcBef>
                <a:spcPts val="0"/>
              </a:spcBef>
              <a:buNone/>
              <a:defRPr sz="8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Click to edit Master text styles</a:t>
            </a:r>
          </a:p>
        </p:txBody>
      </p:sp>
      <p:sp>
        <p:nvSpPr>
          <p:cNvPr id="45" name="Title 2">
            <a:extLst>
              <a:ext uri="{FF2B5EF4-FFF2-40B4-BE49-F238E27FC236}">
                <a16:creationId xmlns:a16="http://schemas.microsoft.com/office/drawing/2014/main" id="{8DE12D4B-D2A5-4322-A9DC-EF2E6D6633D4}"/>
              </a:ext>
            </a:extLst>
          </p:cNvPr>
          <p:cNvSpPr>
            <a:spLocks noGrp="1"/>
          </p:cNvSpPr>
          <p:nvPr>
            <p:ph type="title"/>
          </p:nvPr>
        </p:nvSpPr>
        <p:spPr>
          <a:xfrm>
            <a:off x="584200" y="457200"/>
            <a:ext cx="11025188"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3" name="TextBox 32">
            <a:extLst>
              <a:ext uri="{FF2B5EF4-FFF2-40B4-BE49-F238E27FC236}">
                <a16:creationId xmlns:a16="http://schemas.microsoft.com/office/drawing/2014/main" id="{E0167C7D-2152-4C51-A0DC-8D7746377ECE}"/>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
        <p:nvSpPr>
          <p:cNvPr id="56" name="Text Placeholder 4">
            <a:extLst>
              <a:ext uri="{FF2B5EF4-FFF2-40B4-BE49-F238E27FC236}">
                <a16:creationId xmlns:a16="http://schemas.microsoft.com/office/drawing/2014/main" id="{FE3E6792-037D-49F9-8E8E-C91DD0B3FB85}"/>
              </a:ext>
            </a:extLst>
          </p:cNvPr>
          <p:cNvSpPr>
            <a:spLocks noGrp="1"/>
          </p:cNvSpPr>
          <p:nvPr>
            <p:ph type="body" sz="quarter" idx="22"/>
          </p:nvPr>
        </p:nvSpPr>
        <p:spPr>
          <a:xfrm>
            <a:off x="733425" y="1223633"/>
            <a:ext cx="1922941" cy="153888"/>
          </a:xfrm>
          <a:noFill/>
        </p:spPr>
        <p:txBody>
          <a:bodyPr wrap="square" lIns="0" tIns="0" rIns="0" bIns="0">
            <a:spAutoFit/>
          </a:bodyPr>
          <a:lstStyle>
            <a:lvl1pPr marL="0" indent="0">
              <a:spcBef>
                <a:spcPts val="0"/>
              </a:spcBef>
              <a:buNone/>
              <a:defRPr sz="10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Click to edit Master text styles</a:t>
            </a:r>
          </a:p>
        </p:txBody>
      </p:sp>
      <p:sp>
        <p:nvSpPr>
          <p:cNvPr id="57" name="Text Placeholder 4">
            <a:extLst>
              <a:ext uri="{FF2B5EF4-FFF2-40B4-BE49-F238E27FC236}">
                <a16:creationId xmlns:a16="http://schemas.microsoft.com/office/drawing/2014/main" id="{57AA703B-7EE8-4021-9101-3ECA64EFAFEB}"/>
              </a:ext>
            </a:extLst>
          </p:cNvPr>
          <p:cNvSpPr>
            <a:spLocks noGrp="1"/>
          </p:cNvSpPr>
          <p:nvPr>
            <p:ph type="body" sz="quarter" idx="23"/>
          </p:nvPr>
        </p:nvSpPr>
        <p:spPr>
          <a:xfrm>
            <a:off x="3427199" y="1223633"/>
            <a:ext cx="1566195" cy="153888"/>
          </a:xfrm>
          <a:noFill/>
        </p:spPr>
        <p:txBody>
          <a:bodyPr wrap="square" lIns="0" tIns="0" rIns="0" bIns="0">
            <a:spAutoFit/>
          </a:bodyPr>
          <a:lstStyle>
            <a:lvl1pPr marL="0" indent="0">
              <a:spcBef>
                <a:spcPts val="0"/>
              </a:spcBef>
              <a:buNone/>
              <a:defRPr sz="10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Click to edit Master text styles</a:t>
            </a:r>
          </a:p>
        </p:txBody>
      </p:sp>
      <p:sp>
        <p:nvSpPr>
          <p:cNvPr id="58" name="Text Placeholder 4">
            <a:extLst>
              <a:ext uri="{FF2B5EF4-FFF2-40B4-BE49-F238E27FC236}">
                <a16:creationId xmlns:a16="http://schemas.microsoft.com/office/drawing/2014/main" id="{9A49923D-F72A-4BAC-95E5-A3BDE3A83455}"/>
              </a:ext>
            </a:extLst>
          </p:cNvPr>
          <p:cNvSpPr>
            <a:spLocks noGrp="1"/>
          </p:cNvSpPr>
          <p:nvPr>
            <p:ph type="body" sz="quarter" idx="24"/>
          </p:nvPr>
        </p:nvSpPr>
        <p:spPr>
          <a:xfrm>
            <a:off x="5723465" y="1223633"/>
            <a:ext cx="1566195" cy="153888"/>
          </a:xfrm>
          <a:noFill/>
        </p:spPr>
        <p:txBody>
          <a:bodyPr wrap="square" lIns="0" tIns="0" rIns="0" bIns="0">
            <a:spAutoFit/>
          </a:bodyPr>
          <a:lstStyle>
            <a:lvl1pPr marL="0" indent="0">
              <a:spcBef>
                <a:spcPts val="0"/>
              </a:spcBef>
              <a:buNone/>
              <a:defRPr sz="10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B55CAD72-94AC-4EB7-99FE-47A7200A0B94}"/>
              </a:ext>
            </a:extLst>
          </p:cNvPr>
          <p:cNvSpPr>
            <a:spLocks noGrp="1"/>
          </p:cNvSpPr>
          <p:nvPr>
            <p:ph type="body" sz="quarter" idx="25"/>
          </p:nvPr>
        </p:nvSpPr>
        <p:spPr>
          <a:xfrm>
            <a:off x="8030060" y="1223633"/>
            <a:ext cx="1146000" cy="307777"/>
          </a:xfrm>
          <a:noFill/>
        </p:spPr>
        <p:txBody>
          <a:bodyPr wrap="square" lIns="0" tIns="0" rIns="0" bIns="0">
            <a:spAutoFit/>
          </a:bodyPr>
          <a:lstStyle>
            <a:lvl1pPr marL="0" indent="0">
              <a:spcBef>
                <a:spcPts val="0"/>
              </a:spcBef>
              <a:buNone/>
              <a:defRPr sz="10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CDC3C2CE-ED54-4BA2-B4AD-00D3AAE74C35}"/>
              </a:ext>
            </a:extLst>
          </p:cNvPr>
          <p:cNvSpPr>
            <a:spLocks noGrp="1"/>
          </p:cNvSpPr>
          <p:nvPr>
            <p:ph type="body" sz="quarter" idx="26"/>
          </p:nvPr>
        </p:nvSpPr>
        <p:spPr>
          <a:xfrm>
            <a:off x="9926308" y="1223633"/>
            <a:ext cx="1146000" cy="307777"/>
          </a:xfrm>
          <a:noFill/>
        </p:spPr>
        <p:txBody>
          <a:bodyPr wrap="square" lIns="0" tIns="0" rIns="0" bIns="0">
            <a:spAutoFit/>
          </a:bodyPr>
          <a:lstStyle>
            <a:lvl1pPr marL="0" indent="0">
              <a:spcBef>
                <a:spcPts val="0"/>
              </a:spcBef>
              <a:buNone/>
              <a:defRPr sz="10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B13FE753-2873-4940-8CAC-D37CECD0ED75}"/>
              </a:ext>
            </a:extLst>
          </p:cNvPr>
          <p:cNvSpPr>
            <a:spLocks noGrp="1"/>
          </p:cNvSpPr>
          <p:nvPr>
            <p:ph type="body" sz="quarter" idx="27"/>
          </p:nvPr>
        </p:nvSpPr>
        <p:spPr>
          <a:xfrm>
            <a:off x="733425" y="3855897"/>
            <a:ext cx="1922941" cy="153888"/>
          </a:xfrm>
          <a:noFill/>
        </p:spPr>
        <p:txBody>
          <a:bodyPr wrap="square" lIns="0" tIns="0" rIns="0" bIns="0">
            <a:spAutoFit/>
          </a:bodyPr>
          <a:lstStyle>
            <a:lvl1pPr marL="0" indent="0">
              <a:spcBef>
                <a:spcPts val="0"/>
              </a:spcBef>
              <a:buNone/>
              <a:defRPr sz="10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Click to edit Master text styles</a:t>
            </a:r>
          </a:p>
        </p:txBody>
      </p:sp>
      <p:sp>
        <p:nvSpPr>
          <p:cNvPr id="62" name="Text Placeholder 4">
            <a:extLst>
              <a:ext uri="{FF2B5EF4-FFF2-40B4-BE49-F238E27FC236}">
                <a16:creationId xmlns:a16="http://schemas.microsoft.com/office/drawing/2014/main" id="{01BCB12F-0368-4D79-8282-A585216E1A68}"/>
              </a:ext>
            </a:extLst>
          </p:cNvPr>
          <p:cNvSpPr>
            <a:spLocks noGrp="1"/>
          </p:cNvSpPr>
          <p:nvPr>
            <p:ph type="body" sz="quarter" idx="28"/>
          </p:nvPr>
        </p:nvSpPr>
        <p:spPr>
          <a:xfrm>
            <a:off x="3427199" y="3144279"/>
            <a:ext cx="1566195" cy="153888"/>
          </a:xfrm>
          <a:noFill/>
        </p:spPr>
        <p:txBody>
          <a:bodyPr wrap="square" lIns="0" tIns="0" rIns="0" bIns="0">
            <a:spAutoFit/>
          </a:bodyPr>
          <a:lstStyle>
            <a:lvl1pPr marL="0" indent="0">
              <a:spcBef>
                <a:spcPts val="0"/>
              </a:spcBef>
              <a:buNone/>
              <a:defRPr sz="10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Click to edit Master text styles</a:t>
            </a:r>
          </a:p>
        </p:txBody>
      </p:sp>
      <p:sp>
        <p:nvSpPr>
          <p:cNvPr id="63" name="Text Placeholder 4">
            <a:extLst>
              <a:ext uri="{FF2B5EF4-FFF2-40B4-BE49-F238E27FC236}">
                <a16:creationId xmlns:a16="http://schemas.microsoft.com/office/drawing/2014/main" id="{1C30BC50-E368-40B1-9F02-8067182C54C4}"/>
              </a:ext>
            </a:extLst>
          </p:cNvPr>
          <p:cNvSpPr>
            <a:spLocks noGrp="1"/>
          </p:cNvSpPr>
          <p:nvPr>
            <p:ph type="body" sz="quarter" idx="29"/>
          </p:nvPr>
        </p:nvSpPr>
        <p:spPr>
          <a:xfrm>
            <a:off x="3427199" y="5064925"/>
            <a:ext cx="1566195" cy="153888"/>
          </a:xfrm>
          <a:noFill/>
        </p:spPr>
        <p:txBody>
          <a:bodyPr wrap="square" lIns="0" tIns="0" rIns="0" bIns="0">
            <a:spAutoFit/>
          </a:bodyPr>
          <a:lstStyle>
            <a:lvl1pPr marL="0" indent="0">
              <a:spcBef>
                <a:spcPts val="0"/>
              </a:spcBef>
              <a:buNone/>
              <a:defRPr sz="10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Click to edit Master text styles</a:t>
            </a:r>
          </a:p>
        </p:txBody>
      </p:sp>
      <p:sp>
        <p:nvSpPr>
          <p:cNvPr id="64" name="Text Placeholder 4">
            <a:extLst>
              <a:ext uri="{FF2B5EF4-FFF2-40B4-BE49-F238E27FC236}">
                <a16:creationId xmlns:a16="http://schemas.microsoft.com/office/drawing/2014/main" id="{EABABB6E-63A4-42B7-8D2D-6C5D2FC2B0D9}"/>
              </a:ext>
            </a:extLst>
          </p:cNvPr>
          <p:cNvSpPr>
            <a:spLocks noGrp="1"/>
          </p:cNvSpPr>
          <p:nvPr>
            <p:ph type="body" sz="quarter" idx="30"/>
          </p:nvPr>
        </p:nvSpPr>
        <p:spPr>
          <a:xfrm>
            <a:off x="5723465" y="3144279"/>
            <a:ext cx="1566195" cy="153888"/>
          </a:xfrm>
          <a:noFill/>
        </p:spPr>
        <p:txBody>
          <a:bodyPr wrap="square" lIns="0" tIns="0" rIns="0" bIns="0">
            <a:spAutoFit/>
          </a:bodyPr>
          <a:lstStyle>
            <a:lvl1pPr marL="0" indent="0">
              <a:spcBef>
                <a:spcPts val="0"/>
              </a:spcBef>
              <a:buNone/>
              <a:defRPr sz="10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Click to edit Master text styles</a:t>
            </a:r>
          </a:p>
        </p:txBody>
      </p:sp>
      <p:sp>
        <p:nvSpPr>
          <p:cNvPr id="65" name="Text Placeholder 4">
            <a:extLst>
              <a:ext uri="{FF2B5EF4-FFF2-40B4-BE49-F238E27FC236}">
                <a16:creationId xmlns:a16="http://schemas.microsoft.com/office/drawing/2014/main" id="{65F726FC-154A-4D97-B2C6-9E3077E11E31}"/>
              </a:ext>
            </a:extLst>
          </p:cNvPr>
          <p:cNvSpPr>
            <a:spLocks noGrp="1"/>
          </p:cNvSpPr>
          <p:nvPr>
            <p:ph type="body" sz="quarter" idx="31"/>
          </p:nvPr>
        </p:nvSpPr>
        <p:spPr>
          <a:xfrm>
            <a:off x="8030059" y="5064925"/>
            <a:ext cx="3023201" cy="153888"/>
          </a:xfrm>
          <a:noFill/>
        </p:spPr>
        <p:txBody>
          <a:bodyPr wrap="square" lIns="0" tIns="0" rIns="0" bIns="0">
            <a:spAutoFit/>
          </a:bodyPr>
          <a:lstStyle>
            <a:lvl1pPr marL="0" indent="0">
              <a:spcBef>
                <a:spcPts val="0"/>
              </a:spcBef>
              <a:buNone/>
              <a:defRPr sz="10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31495316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mp; Content &amp; Sq phot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lgn="l">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a:effectLst>
            <a:outerShdw blurRad="152400" sx="102000" sy="102000" algn="ctr" rotWithShape="0">
              <a:prstClr val="black">
                <a:alpha val="20000"/>
              </a:prstClr>
            </a:outerShdw>
          </a:effectLst>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3FB9FE04-6DA2-4C78-80EE-FEF751819306}"/>
              </a:ext>
            </a:extLst>
          </p:cNvPr>
          <p:cNvSpPr txBox="1"/>
          <p:nvPr userDrawn="1"/>
        </p:nvSpPr>
        <p:spPr>
          <a:xfrm>
            <a:off x="584200" y="6605851"/>
            <a:ext cx="1840247"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35487089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2957826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mp; Sq phot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a:effectLst>
            <a:outerShdw blurRad="152400" sx="102000" sy="102000" algn="ctr" rotWithShape="0">
              <a:prstClr val="black">
                <a:alpha val="20000"/>
              </a:prstClr>
            </a:outerShdw>
          </a:effectLst>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F1193F2-6F8D-4837-B57B-22EF647BAAE0}"/>
              </a:ext>
            </a:extLst>
          </p:cNvPr>
          <p:cNvSpPr txBox="1"/>
          <p:nvPr userDrawn="1"/>
        </p:nvSpPr>
        <p:spPr>
          <a:xfrm>
            <a:off x="584200" y="6605851"/>
            <a:ext cx="1840247"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31856997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ontent &amp; Sq phot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8113"/>
            <a:ext cx="4163125" cy="861774"/>
          </a:xfrm>
        </p:spPr>
        <p:txBody>
          <a:bodyPr anchor="ctr" anchorCtr="0"/>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627687" y="293687"/>
            <a:ext cx="6270626" cy="6270626"/>
          </a:xfrm>
          <a:blipFill>
            <a:blip r:embed="rId2"/>
            <a:stretch>
              <a:fillRect/>
            </a:stretch>
          </a:blipFill>
          <a:effectLst>
            <a:outerShdw blurRad="152400" sx="102000" sy="102000" algn="ctr" rotWithShape="0">
              <a:prstClr val="black">
                <a:alpha val="20000"/>
              </a:prstClr>
            </a:outerShdw>
          </a:effectLst>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E51D4497-B0D1-46D3-9F3C-E7E13401B14B}"/>
              </a:ext>
            </a:extLst>
          </p:cNvPr>
          <p:cNvSpPr txBox="1"/>
          <p:nvPr userDrawn="1"/>
        </p:nvSpPr>
        <p:spPr>
          <a:xfrm>
            <a:off x="584200" y="6605851"/>
            <a:ext cx="1840247"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26364843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 photo coll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6698551" y="292100"/>
            <a:ext cx="5199762" cy="6273800"/>
          </a:xfrm>
          <a:blipFill>
            <a:blip r:embed="rId2"/>
            <a:stretch>
              <a:fillRect l="-10308" r="-10348"/>
            </a:stretch>
          </a:blipFill>
          <a:effectLst>
            <a:outerShdw blurRad="152400" sx="102000" sy="102000" algn="ctr" rotWithShape="0">
              <a:prstClr val="black">
                <a:alpha val="20000"/>
              </a:prstClr>
            </a:outerShdw>
          </a:effectLst>
        </p:spPr>
        <p:txBody>
          <a:bodyPr lIns="1280160" tIns="2103120" rIns="128016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or click or tap icon below to inser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01883085-A662-4C6A-B5D7-67D30D885BCE}"/>
              </a:ext>
            </a:extLst>
          </p:cNvPr>
          <p:cNvSpPr>
            <a:spLocks noGrp="1"/>
          </p:cNvSpPr>
          <p:nvPr>
            <p:ph type="pic" sz="quarter" idx="12" hasCustomPrompt="1"/>
          </p:nvPr>
        </p:nvSpPr>
        <p:spPr bwMode="gray">
          <a:xfrm>
            <a:off x="5353050" y="1905000"/>
            <a:ext cx="2162176" cy="3048000"/>
          </a:xfrm>
          <a:blipFill>
            <a:blip r:embed="rId2"/>
            <a:stretch>
              <a:fillRect l="-20231" r="-20740"/>
            </a:stretch>
          </a:blipFill>
          <a:effectLst>
            <a:outerShdw blurRad="152400" sx="102000" sy="102000" algn="ctr" rotWithShape="0">
              <a:prstClr val="black">
                <a:alpha val="20000"/>
              </a:prstClr>
            </a:outerShdw>
          </a:effectLst>
        </p:spPr>
        <p:txBody>
          <a:bodyPr lIns="365760" tIns="914400" rIns="36576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BAD3D568-FD85-4518-912A-97E14C4C45AB}"/>
              </a:ext>
            </a:extLst>
          </p:cNvPr>
          <p:cNvSpPr txBox="1"/>
          <p:nvPr userDrawn="1"/>
        </p:nvSpPr>
        <p:spPr>
          <a:xfrm>
            <a:off x="584200" y="6605851"/>
            <a:ext cx="1840247"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34983324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Quotation &amp; Sq photo">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916612" y="582612"/>
            <a:ext cx="5692776" cy="5692776"/>
          </a:xfrm>
          <a:blipFill>
            <a:blip r:embed="rId2"/>
            <a:stretch>
              <a:fillRect/>
            </a:stretch>
          </a:blipFill>
          <a:effectLst>
            <a:outerShdw blurRad="152400" sx="102000" sy="102000" algn="ctr" rotWithShape="0">
              <a:prstClr val="black">
                <a:alpha val="20000"/>
              </a:prstClr>
            </a:outerShdw>
          </a:effectLst>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8113"/>
            <a:ext cx="3364612" cy="861774"/>
          </a:xfrm>
        </p:spPr>
        <p:txBody>
          <a:bodyPr anchor="ctr" anchorCtr="0"/>
          <a:lstStyle>
            <a:lvl1pPr>
              <a:defRPr sz="2800"/>
            </a:lvl1pPr>
          </a:lstStyle>
          <a:p>
            <a:r>
              <a:rPr lang="en-US"/>
              <a:t>Square photo layout with smaller text</a:t>
            </a:r>
          </a:p>
        </p:txBody>
      </p:sp>
      <p:sp>
        <p:nvSpPr>
          <p:cNvPr id="11" name="TextBox 10">
            <a:extLst>
              <a:ext uri="{FF2B5EF4-FFF2-40B4-BE49-F238E27FC236}">
                <a16:creationId xmlns:a16="http://schemas.microsoft.com/office/drawing/2014/main" id="{B6973735-BEB5-42B8-8623-8CC1BCBE42A2}"/>
              </a:ext>
            </a:extLst>
          </p:cNvPr>
          <p:cNvSpPr txBox="1"/>
          <p:nvPr userDrawn="1"/>
        </p:nvSpPr>
        <p:spPr>
          <a:xfrm>
            <a:off x="584200" y="6605851"/>
            <a:ext cx="1840247"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
        <p:nvSpPr>
          <p:cNvPr id="12" name="Rectangle 11">
            <a:extLst>
              <a:ext uri="{FF2B5EF4-FFF2-40B4-BE49-F238E27FC236}">
                <a16:creationId xmlns:a16="http://schemas.microsoft.com/office/drawing/2014/main" id="{E972A9BA-A283-401E-9981-207F3801B9D3}"/>
              </a:ext>
            </a:extLst>
          </p:cNvPr>
          <p:cNvSpPr/>
          <p:nvPr userDrawn="1"/>
        </p:nvSpPr>
        <p:spPr bwMode="auto">
          <a:xfrm>
            <a:off x="5334000" y="1273969"/>
            <a:ext cx="1793357" cy="4310062"/>
          </a:xfrm>
          <a:prstGeom prst="rect">
            <a:avLst/>
          </a:prstGeom>
          <a:solidFill>
            <a:srgbClr val="FFFFFF"/>
          </a:solidFill>
          <a:ln w="9525" cap="flat" cmpd="sng" algn="ctr">
            <a:noFill/>
            <a:prstDash val="solid"/>
          </a:ln>
          <a:effectLst>
            <a:outerShdw blurRad="190500" dist="38100" dir="10800000" algn="r" rotWithShape="0">
              <a:prstClr val="black">
                <a:alpha val="25000"/>
              </a:prstClr>
            </a:outerShdw>
          </a:effectLst>
        </p:spPr>
        <p:txBody>
          <a:bodyPr rot="0" spcFirstLastPara="0" vertOverflow="overflow" horzOverflow="overflow" vert="horz" wrap="square" lIns="274320" tIns="146304" rIns="365760" bIns="146304" numCol="1" spcCol="0" rtlCol="0" fromWordArt="0" anchor="ctr" anchorCtr="0" forceAA="0" compatLnSpc="1">
            <a:prstTxWarp prst="textNoShape">
              <a:avLst/>
            </a:prstTxWarp>
            <a:noAutofit/>
          </a:bodyPr>
          <a:lstStyle/>
          <a:p>
            <a:pPr marL="60325" marR="0" lvl="0" indent="-60325"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78D4"/>
              </a:solidFill>
              <a:effectLst/>
              <a:uLnTx/>
              <a:uFillTx/>
              <a:latin typeface="Segoe UI"/>
              <a:ea typeface="Segoe UI" pitchFamily="34" charset="0"/>
              <a:cs typeface="Segoe UI" pitchFamily="34" charset="0"/>
            </a:endParaRPr>
          </a:p>
        </p:txBody>
      </p:sp>
      <p:sp>
        <p:nvSpPr>
          <p:cNvPr id="13" name="Text Placeholder 3">
            <a:extLst>
              <a:ext uri="{FF2B5EF4-FFF2-40B4-BE49-F238E27FC236}">
                <a16:creationId xmlns:a16="http://schemas.microsoft.com/office/drawing/2014/main" id="{F34989AF-9EDC-4CC0-8AA0-8890F57B55C6}"/>
              </a:ext>
            </a:extLst>
          </p:cNvPr>
          <p:cNvSpPr>
            <a:spLocks noGrp="1"/>
          </p:cNvSpPr>
          <p:nvPr>
            <p:ph type="body" sz="quarter" idx="21"/>
          </p:nvPr>
        </p:nvSpPr>
        <p:spPr>
          <a:xfrm>
            <a:off x="5584421" y="1714499"/>
            <a:ext cx="1264054" cy="2495551"/>
          </a:xfrm>
        </p:spPr>
        <p:txBody>
          <a:bodyPr anchor="t" anchorCtr="0"/>
          <a:lstStyle>
            <a:lvl1pPr marL="0" indent="0" algn="l">
              <a:spcBef>
                <a:spcPts val="0"/>
              </a:spcBef>
              <a:buNone/>
              <a:defRPr sz="1600">
                <a:solidFill>
                  <a:schemeClr val="accent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73260058-1F84-4062-93EC-CF8EA263ED07}"/>
              </a:ext>
            </a:extLst>
          </p:cNvPr>
          <p:cNvSpPr>
            <a:spLocks noGrp="1"/>
          </p:cNvSpPr>
          <p:nvPr>
            <p:ph type="body" sz="quarter" idx="22"/>
          </p:nvPr>
        </p:nvSpPr>
        <p:spPr>
          <a:xfrm>
            <a:off x="5584421" y="4527708"/>
            <a:ext cx="1264054" cy="738664"/>
          </a:xfrm>
        </p:spPr>
        <p:txBody>
          <a:bodyPr anchor="t" anchorCtr="0"/>
          <a:lstStyle>
            <a:lvl1pPr marL="0" indent="0" algn="l">
              <a:spcBef>
                <a:spcPts val="0"/>
              </a:spcBef>
              <a:buNone/>
              <a:defRPr sz="1600">
                <a:solidFill>
                  <a:schemeClr val="accent1"/>
                </a:solidFill>
                <a:latin typeface="+mn-lt"/>
              </a:defRPr>
            </a:lvl1pPr>
          </a:lstStyle>
          <a:p>
            <a:pPr lvl="0"/>
            <a:r>
              <a:rPr lang="en-US"/>
              <a:t>Click to edit Master text styles</a:t>
            </a:r>
          </a:p>
        </p:txBody>
      </p:sp>
      <p:sp>
        <p:nvSpPr>
          <p:cNvPr id="15" name="TextBox 14">
            <a:extLst>
              <a:ext uri="{FF2B5EF4-FFF2-40B4-BE49-F238E27FC236}">
                <a16:creationId xmlns:a16="http://schemas.microsoft.com/office/drawing/2014/main" id="{289AF701-C88F-44A3-8F2B-8E935811D086}"/>
              </a:ext>
            </a:extLst>
          </p:cNvPr>
          <p:cNvSpPr txBox="1"/>
          <p:nvPr userDrawn="1"/>
        </p:nvSpPr>
        <p:spPr>
          <a:xfrm>
            <a:off x="5488425" y="1396840"/>
            <a:ext cx="174728" cy="553998"/>
          </a:xfrm>
          <a:prstGeom prst="rect">
            <a:avLst/>
          </a:prstGeom>
          <a:noFill/>
        </p:spPr>
        <p:txBody>
          <a:bodyPr wrap="none" lIns="0" tIns="0" rIns="0" bIns="0" rtlCol="0">
            <a:spAutoFit/>
          </a:bodyPr>
          <a:lstStyle/>
          <a:p>
            <a:pPr algn="l"/>
            <a:r>
              <a:rPr lang="en-US" sz="3600">
                <a:solidFill>
                  <a:schemeClr val="accent1"/>
                </a:solidFill>
              </a:rPr>
              <a:t>“</a:t>
            </a:r>
          </a:p>
        </p:txBody>
      </p:sp>
      <p:sp>
        <p:nvSpPr>
          <p:cNvPr id="16" name="TextBox 15">
            <a:extLst>
              <a:ext uri="{FF2B5EF4-FFF2-40B4-BE49-F238E27FC236}">
                <a16:creationId xmlns:a16="http://schemas.microsoft.com/office/drawing/2014/main" id="{DFC6303F-A980-4D42-982C-AE1532163146}"/>
              </a:ext>
            </a:extLst>
          </p:cNvPr>
          <p:cNvSpPr txBox="1"/>
          <p:nvPr userDrawn="1"/>
        </p:nvSpPr>
        <p:spPr>
          <a:xfrm>
            <a:off x="6764670" y="4001730"/>
            <a:ext cx="174728" cy="553998"/>
          </a:xfrm>
          <a:prstGeom prst="rect">
            <a:avLst/>
          </a:prstGeom>
          <a:noFill/>
        </p:spPr>
        <p:txBody>
          <a:bodyPr wrap="none" lIns="0" tIns="0" rIns="0" bIns="0" rtlCol="0">
            <a:spAutoFit/>
          </a:bodyPr>
          <a:lstStyle/>
          <a:p>
            <a:pPr algn="l"/>
            <a:r>
              <a:rPr lang="en-US" sz="3600">
                <a:solidFill>
                  <a:schemeClr val="accent1"/>
                </a:solidFill>
              </a:rPr>
              <a:t>”</a:t>
            </a:r>
          </a:p>
        </p:txBody>
      </p:sp>
    </p:spTree>
    <p:extLst>
      <p:ext uri="{BB962C8B-B14F-4D97-AF65-F5344CB8AC3E}">
        <p14:creationId xmlns:p14="http://schemas.microsoft.com/office/powerpoint/2010/main" val="299873410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Full photo with boxed content">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6858000"/>
          </a:xfrm>
          <a:blipFill>
            <a:blip r:embed="rId2"/>
            <a:stretch>
              <a:fillRect/>
            </a:stretch>
          </a:blipFill>
          <a:effectLst/>
        </p:spPr>
        <p:txBody>
          <a:bodyPr vert="horz" wrap="square" lIns="1645920" tIns="2651760" rIns="45720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a:t>
            </a:r>
            <a:br>
              <a:rPr lang="en-US"/>
            </a:br>
            <a:r>
              <a:rPr lang="en-US"/>
              <a:t>your photo here </a:t>
            </a:r>
            <a:br>
              <a:rPr lang="en-US"/>
            </a:br>
            <a:r>
              <a:rPr lang="en-US"/>
              <a:t>or click</a:t>
            </a:r>
            <a:br>
              <a:rPr lang="en-US"/>
            </a:br>
            <a:r>
              <a:rPr lang="en-US"/>
              <a:t>or tap icon</a:t>
            </a:r>
            <a:br>
              <a:rPr lang="en-US"/>
            </a:br>
            <a:r>
              <a:rPr lang="en-US"/>
              <a:t>below </a:t>
            </a:r>
            <a:br>
              <a:rPr lang="en-US"/>
            </a:br>
            <a:r>
              <a:rPr lang="en-US"/>
              <a:t>to insert</a:t>
            </a:r>
          </a:p>
        </p:txBody>
      </p:sp>
      <p:sp>
        <p:nvSpPr>
          <p:cNvPr id="8" name="Rectangle 7">
            <a:extLst>
              <a:ext uri="{FF2B5EF4-FFF2-40B4-BE49-F238E27FC236}">
                <a16:creationId xmlns:a16="http://schemas.microsoft.com/office/drawing/2014/main" id="{4FCBD380-45A1-4F9B-90A9-23506DE084E4}"/>
              </a:ext>
            </a:extLst>
          </p:cNvPr>
          <p:cNvSpPr/>
          <p:nvPr userDrawn="1"/>
        </p:nvSpPr>
        <p:spPr bwMode="auto">
          <a:xfrm>
            <a:off x="584200" y="868680"/>
            <a:ext cx="5120640" cy="5120640"/>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 name="Text Placeholder 3">
            <a:extLst>
              <a:ext uri="{FF2B5EF4-FFF2-40B4-BE49-F238E27FC236}">
                <a16:creationId xmlns:a16="http://schemas.microsoft.com/office/drawing/2014/main" id="{D7A80F8C-915C-46C0-91D3-DCE93A080D3D}"/>
              </a:ext>
            </a:extLst>
          </p:cNvPr>
          <p:cNvSpPr>
            <a:spLocks noGrp="1"/>
          </p:cNvSpPr>
          <p:nvPr>
            <p:ph type="body" sz="quarter" idx="16"/>
          </p:nvPr>
        </p:nvSpPr>
        <p:spPr>
          <a:xfrm>
            <a:off x="996952" y="1267018"/>
            <a:ext cx="4175124" cy="1107996"/>
          </a:xfrm>
        </p:spPr>
        <p:txBody>
          <a:bodyPr/>
          <a:lstStyle>
            <a:lvl1pPr marL="0" indent="0" algn="l">
              <a:spcBef>
                <a:spcPts val="0"/>
              </a:spcBef>
              <a:buNone/>
              <a:defRPr sz="3600">
                <a:solidFill>
                  <a:schemeClr val="tx1"/>
                </a:soli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B11CA0A6-642E-4E90-9C03-D8414E2BA4D3}"/>
              </a:ext>
            </a:extLst>
          </p:cNvPr>
          <p:cNvSpPr>
            <a:spLocks noGrp="1"/>
          </p:cNvSpPr>
          <p:nvPr>
            <p:ph type="body" sz="quarter" idx="17"/>
          </p:nvPr>
        </p:nvSpPr>
        <p:spPr>
          <a:xfrm>
            <a:off x="996952" y="2666999"/>
            <a:ext cx="4175124" cy="2923983"/>
          </a:xfrm>
        </p:spPr>
        <p:txBody>
          <a:bodyPr/>
          <a:lstStyle>
            <a:lvl1pPr marL="0" indent="0" algn="l">
              <a:spcBef>
                <a:spcPts val="0"/>
              </a:spcBef>
              <a:buNone/>
              <a:defRPr sz="2000">
                <a:solidFill>
                  <a:schemeClr val="tx1"/>
                </a:solidFill>
                <a:latin typeface="+mn-lt"/>
              </a:defRPr>
            </a:lvl1pPr>
          </a:lstStyle>
          <a:p>
            <a:pPr lvl="0"/>
            <a:r>
              <a:rPr lang="en-US"/>
              <a:t>Click to edit Master text styles</a:t>
            </a:r>
          </a:p>
        </p:txBody>
      </p:sp>
      <p:sp>
        <p:nvSpPr>
          <p:cNvPr id="10" name="TextBox 9">
            <a:extLst>
              <a:ext uri="{FF2B5EF4-FFF2-40B4-BE49-F238E27FC236}">
                <a16:creationId xmlns:a16="http://schemas.microsoft.com/office/drawing/2014/main" id="{80115257-E287-46D1-BB4C-AA8B13D88752}"/>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3206551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500"/>
                                  </p:stCondLst>
                                  <p:childTnLst>
                                    <p:set>
                                      <p:cBhvr>
                                        <p:cTn id="6" dur="1" fill="hold">
                                          <p:stCondLst>
                                            <p:cond delay="0"/>
                                          </p:stCondLst>
                                        </p:cTn>
                                        <p:tgtEl>
                                          <p:spTgt spid="8"/>
                                        </p:tgtEl>
                                        <p:attrNameLst>
                                          <p:attrName>style.visibility</p:attrName>
                                        </p:attrNameLst>
                                      </p:cBhvr>
                                      <p:to>
                                        <p:strVal val="visible"/>
                                      </p:to>
                                    </p:set>
                                  </p:childTnLst>
                                </p:cTn>
                              </p:par>
                              <p:par>
                                <p:cTn id="7" presetID="6" presetClass="emph" presetSubtype="0" accel="100000" autoRev="1" fill="hold" grpId="0" nodeType="withEffect">
                                  <p:stCondLst>
                                    <p:cond delay="0"/>
                                  </p:stCondLst>
                                  <p:childTnLst>
                                    <p:animScale>
                                      <p:cBhvr>
                                        <p:cTn id="8" dur="500" fill="hold"/>
                                        <p:tgtEl>
                                          <p:spTgt spid="8"/>
                                        </p:tgtEl>
                                      </p:cBhvr>
                                      <p:by x="0" y="0"/>
                                    </p:animScale>
                                  </p:childTnLst>
                                </p:cTn>
                              </p:par>
                              <p:par>
                                <p:cTn id="9" presetID="42" presetClass="path" presetSubtype="0" decel="100000" fill="hold" grpId="2" nodeType="withEffect">
                                  <p:stCondLst>
                                    <p:cond delay="500"/>
                                  </p:stCondLst>
                                  <p:childTnLst>
                                    <p:animMotion origin="layout" path="M -2.70833E-6 0 L -0.21002 0.37338 " pathEditMode="relative" rAng="0" ptsTypes="AA">
                                      <p:cBhvr>
                                        <p:cTn id="10" dur="500" spd="-100000" fill="hold"/>
                                        <p:tgtEl>
                                          <p:spTgt spid="8"/>
                                        </p:tgtEl>
                                        <p:attrNameLst>
                                          <p:attrName>ppt_x</p:attrName>
                                          <p:attrName>ppt_y</p:attrName>
                                        </p:attrNameLst>
                                      </p:cBhvr>
                                      <p:rCtr x="-10508" y="1865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Lst>
  </p:timing>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ottom horizontal photo &amp;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a:effectLst>
            <a:outerShdw blurRad="152400" sx="102000" sy="102000" algn="ctr" rotWithShape="0">
              <a:prstClr val="black">
                <a:alpha val="20000"/>
              </a:prstClr>
            </a:outerShdw>
          </a:effectLst>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DA2E0E2F-AF7B-4B32-ADD9-C64065CAB8C5}"/>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866801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Top horizontal photo &amp;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a:effectLst>
            <a:outerShdw blurRad="152400" sx="102000" sy="102000" algn="ctr" rotWithShape="0">
              <a:prstClr val="black">
                <a:alpha val="20000"/>
              </a:prstClr>
            </a:outerShdw>
          </a:effectLst>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0829C3B1-5FD6-43C8-A4A9-A447146C50A6}"/>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26525961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photo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l">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a:effectLst>
            <a:outerShdw blurRad="152400" sx="102000" sy="102000" algn="ctr" rotWithShape="0">
              <a:prstClr val="black">
                <a:alpha val="20000"/>
              </a:prstClr>
            </a:outerShdw>
          </a:effectLst>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l">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a:effectLst>
            <a:outerShdw blurRad="152400" sx="102000" sy="102000" algn="ctr" rotWithShape="0">
              <a:prstClr val="black">
                <a:alpha val="20000"/>
              </a:prstClr>
            </a:outerShdw>
          </a:effectLst>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8378E22D-46BB-4CDE-A2D2-C7EEFF01B67A}"/>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2845911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hree column photo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l">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a:effectLst>
            <a:outerShdw blurRad="152400" sx="102000" sy="102000" algn="ctr" rotWithShape="0">
              <a:prstClr val="black">
                <a:alpha val="20000"/>
              </a:prstClr>
            </a:outerShdw>
          </a:effectLst>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l">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a:effectLst>
            <a:outerShdw blurRad="152400" sx="102000" sy="102000" algn="ctr" rotWithShape="0">
              <a:prstClr val="black">
                <a:alpha val="20000"/>
              </a:prstClr>
            </a:outerShdw>
          </a:effectLst>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l">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a:effectLst>
            <a:outerShdw blurRad="152400" sx="102000" sy="102000" algn="ctr" rotWithShape="0">
              <a:prstClr val="black">
                <a:alpha val="20000"/>
              </a:prstClr>
            </a:outerShdw>
          </a:effectLst>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62F75F5A-9513-419B-A43A-C84D8DB0EE09}"/>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9562501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Four column photo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615553"/>
          </a:xfrm>
        </p:spPr>
        <p:txBody>
          <a:bodyPr/>
          <a:lstStyle>
            <a:lvl1pPr marL="0" indent="0" algn="l">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a:effectLst>
            <a:outerShdw blurRad="152400" sx="102000" sy="102000" algn="ctr" rotWithShape="0">
              <a:prstClr val="black">
                <a:alpha val="20000"/>
              </a:prstClr>
            </a:outerShdw>
          </a:effectLst>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615553"/>
          </a:xfrm>
        </p:spPr>
        <p:txBody>
          <a:bodyPr/>
          <a:lstStyle>
            <a:lvl1pPr marL="0" indent="0" algn="l">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a:effectLst>
            <a:outerShdw blurRad="152400" sx="102000" sy="102000" algn="ctr" rotWithShape="0">
              <a:prstClr val="black">
                <a:alpha val="20000"/>
              </a:prstClr>
            </a:outerShdw>
          </a:effectLst>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615553"/>
          </a:xfrm>
        </p:spPr>
        <p:txBody>
          <a:bodyPr/>
          <a:lstStyle>
            <a:lvl1pPr marL="0" indent="0" algn="l">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a:effectLst>
            <a:outerShdw blurRad="152400" sx="102000" sy="102000" algn="ctr" rotWithShape="0">
              <a:prstClr val="black">
                <a:alpha val="20000"/>
              </a:prstClr>
            </a:outerShdw>
          </a:effectLst>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615553"/>
          </a:xfrm>
        </p:spPr>
        <p:txBody>
          <a:bodyPr/>
          <a:lstStyle>
            <a:lvl1pPr marL="0" indent="0" algn="l">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a:effectLst>
            <a:outerShdw blurRad="152400" sx="102000" sy="102000" algn="ctr" rotWithShape="0">
              <a:prstClr val="black">
                <a:alpha val="20000"/>
              </a:prstClr>
            </a:outerShdw>
          </a:effectLst>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1F433AF-BBB7-4B77-BA84-F53F071A622A}"/>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219986220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363484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Six photo conten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AA898FA5-4139-4CD9-975B-D14D3DA92592}"/>
              </a:ext>
            </a:extLst>
          </p:cNvPr>
          <p:cNvSpPr>
            <a:spLocks noGrp="1"/>
          </p:cNvSpPr>
          <p:nvPr>
            <p:ph type="body" sz="quarter" idx="16"/>
          </p:nvPr>
        </p:nvSpPr>
        <p:spPr>
          <a:xfrm>
            <a:off x="584198" y="3297907"/>
            <a:ext cx="3469069" cy="246221"/>
          </a:xfrm>
        </p:spPr>
        <p:txBody>
          <a:bodyPr/>
          <a:lstStyle>
            <a:lvl1pPr marL="0" indent="0" algn="l">
              <a:spcBef>
                <a:spcPts val="0"/>
              </a:spcBef>
              <a:buNone/>
              <a:defRPr sz="1600"/>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C71135C8-C715-4906-B9D0-920B6505AAC0}"/>
              </a:ext>
            </a:extLst>
          </p:cNvPr>
          <p:cNvSpPr>
            <a:spLocks noGrp="1"/>
          </p:cNvSpPr>
          <p:nvPr>
            <p:ph type="pic" sz="quarter" idx="13" hasCustomPrompt="1"/>
          </p:nvPr>
        </p:nvSpPr>
        <p:spPr bwMode="gray">
          <a:xfrm>
            <a:off x="588262" y="1177437"/>
            <a:ext cx="3469069" cy="2068558"/>
          </a:xfrm>
          <a:blipFill>
            <a:blip r:embed="rId2"/>
            <a:stretch>
              <a:fillRect/>
            </a:stretch>
          </a:blipFill>
          <a:effectLst>
            <a:outerShdw blurRad="152400" sx="102000" sy="102000" algn="ctr" rotWithShape="0">
              <a:prstClr val="black">
                <a:alpha val="20000"/>
              </a:prstClr>
            </a:outerShdw>
          </a:effectLst>
        </p:spPr>
        <p:txBody>
          <a:bodyPr vert="horz" wrap="square" lIns="0" tIns="0" rIns="0" bIns="7315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6" name="Title 7">
            <a:extLst>
              <a:ext uri="{FF2B5EF4-FFF2-40B4-BE49-F238E27FC236}">
                <a16:creationId xmlns:a16="http://schemas.microsoft.com/office/drawing/2014/main" id="{1068B44D-FDE0-4AAB-9472-EBE40B99A18B}"/>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17" name="Text Placeholder 3">
            <a:extLst>
              <a:ext uri="{FF2B5EF4-FFF2-40B4-BE49-F238E27FC236}">
                <a16:creationId xmlns:a16="http://schemas.microsoft.com/office/drawing/2014/main" id="{AA173FD7-9C0C-401C-977F-E3600A1009CF}"/>
              </a:ext>
            </a:extLst>
          </p:cNvPr>
          <p:cNvSpPr>
            <a:spLocks noGrp="1"/>
          </p:cNvSpPr>
          <p:nvPr>
            <p:ph type="body" sz="quarter" idx="17"/>
          </p:nvPr>
        </p:nvSpPr>
        <p:spPr>
          <a:xfrm>
            <a:off x="4358386" y="3297907"/>
            <a:ext cx="3469069" cy="246221"/>
          </a:xfrm>
        </p:spPr>
        <p:txBody>
          <a:bodyPr/>
          <a:lstStyle>
            <a:lvl1pPr marL="0" indent="0" algn="l">
              <a:spcBef>
                <a:spcPts val="0"/>
              </a:spcBef>
              <a:buNone/>
              <a:defRPr sz="1600"/>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782D12B8-D39B-4BF3-8687-A1BE9D489877}"/>
              </a:ext>
            </a:extLst>
          </p:cNvPr>
          <p:cNvSpPr>
            <a:spLocks noGrp="1"/>
          </p:cNvSpPr>
          <p:nvPr>
            <p:ph type="pic" sz="quarter" idx="18" hasCustomPrompt="1"/>
          </p:nvPr>
        </p:nvSpPr>
        <p:spPr bwMode="gray">
          <a:xfrm>
            <a:off x="4362450" y="1177437"/>
            <a:ext cx="3469069" cy="2068558"/>
          </a:xfrm>
          <a:blipFill>
            <a:blip r:embed="rId2"/>
            <a:stretch>
              <a:fillRect/>
            </a:stretch>
          </a:blipFill>
          <a:effectLst>
            <a:outerShdw blurRad="152400" sx="102000" sy="102000" algn="ctr" rotWithShape="0">
              <a:prstClr val="black">
                <a:alpha val="20000"/>
              </a:prstClr>
            </a:outerShdw>
          </a:effectLst>
        </p:spPr>
        <p:txBody>
          <a:bodyPr vert="horz" wrap="square" lIns="0" tIns="0" rIns="0" bIns="7315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9" name="Text Placeholder 3">
            <a:extLst>
              <a:ext uri="{FF2B5EF4-FFF2-40B4-BE49-F238E27FC236}">
                <a16:creationId xmlns:a16="http://schemas.microsoft.com/office/drawing/2014/main" id="{5136DE26-84AC-47E6-8C58-BABB89061091}"/>
              </a:ext>
            </a:extLst>
          </p:cNvPr>
          <p:cNvSpPr>
            <a:spLocks noGrp="1"/>
          </p:cNvSpPr>
          <p:nvPr>
            <p:ph type="body" sz="quarter" idx="19"/>
          </p:nvPr>
        </p:nvSpPr>
        <p:spPr>
          <a:xfrm>
            <a:off x="8128510" y="3297907"/>
            <a:ext cx="3469069" cy="246221"/>
          </a:xfrm>
        </p:spPr>
        <p:txBody>
          <a:bodyPr/>
          <a:lstStyle>
            <a:lvl1pPr marL="0" indent="0" algn="l">
              <a:spcBef>
                <a:spcPts val="0"/>
              </a:spcBef>
              <a:buNone/>
              <a:defRPr sz="1600"/>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7B88FB03-AFEE-43C0-B307-386FD4191CEA}"/>
              </a:ext>
            </a:extLst>
          </p:cNvPr>
          <p:cNvSpPr>
            <a:spLocks noGrp="1"/>
          </p:cNvSpPr>
          <p:nvPr>
            <p:ph type="pic" sz="quarter" idx="20" hasCustomPrompt="1"/>
          </p:nvPr>
        </p:nvSpPr>
        <p:spPr bwMode="gray">
          <a:xfrm>
            <a:off x="8132574" y="1177437"/>
            <a:ext cx="3469069" cy="2068558"/>
          </a:xfrm>
          <a:blipFill>
            <a:blip r:embed="rId2"/>
            <a:stretch>
              <a:fillRect/>
            </a:stretch>
          </a:blipFill>
          <a:effectLst>
            <a:outerShdw blurRad="152400" sx="102000" sy="102000" algn="ctr" rotWithShape="0">
              <a:prstClr val="black">
                <a:alpha val="20000"/>
              </a:prstClr>
            </a:outerShdw>
          </a:effectLst>
        </p:spPr>
        <p:txBody>
          <a:bodyPr vert="horz" wrap="square" lIns="0" tIns="0" rIns="0" bIns="7315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A6910918-77C3-4CB0-B84F-86F28F5496E1}"/>
              </a:ext>
            </a:extLst>
          </p:cNvPr>
          <p:cNvSpPr>
            <a:spLocks noGrp="1"/>
          </p:cNvSpPr>
          <p:nvPr>
            <p:ph type="body" sz="quarter" idx="21"/>
          </p:nvPr>
        </p:nvSpPr>
        <p:spPr>
          <a:xfrm>
            <a:off x="584198" y="6018372"/>
            <a:ext cx="3469069" cy="246221"/>
          </a:xfrm>
        </p:spPr>
        <p:txBody>
          <a:bodyPr/>
          <a:lstStyle>
            <a:lvl1pPr marL="0" indent="0" algn="l">
              <a:spcBef>
                <a:spcPts val="0"/>
              </a:spcBef>
              <a:buNone/>
              <a:defRPr sz="1600"/>
            </a:lvl1pPr>
          </a:lstStyle>
          <a:p>
            <a:pPr lvl="0"/>
            <a:r>
              <a:rPr lang="en-US"/>
              <a:t>Click to edit Master text styles</a:t>
            </a:r>
          </a:p>
        </p:txBody>
      </p:sp>
      <p:sp>
        <p:nvSpPr>
          <p:cNvPr id="22" name="Picture Placeholder" descr="This photo is a 'placeholder' only. Drag or drop your photo here, or click and tap the center to insert a photo.">
            <a:extLst>
              <a:ext uri="{FF2B5EF4-FFF2-40B4-BE49-F238E27FC236}">
                <a16:creationId xmlns:a16="http://schemas.microsoft.com/office/drawing/2014/main" id="{1D689E5C-AD5E-4A91-87A6-E55AA726DDE6}"/>
              </a:ext>
            </a:extLst>
          </p:cNvPr>
          <p:cNvSpPr>
            <a:spLocks noGrp="1"/>
          </p:cNvSpPr>
          <p:nvPr>
            <p:ph type="pic" sz="quarter" idx="22" hasCustomPrompt="1"/>
          </p:nvPr>
        </p:nvSpPr>
        <p:spPr bwMode="gray">
          <a:xfrm>
            <a:off x="588262" y="3897902"/>
            <a:ext cx="3469069" cy="2068558"/>
          </a:xfrm>
          <a:blipFill>
            <a:blip r:embed="rId2"/>
            <a:stretch>
              <a:fillRect/>
            </a:stretch>
          </a:blipFill>
          <a:effectLst>
            <a:outerShdw blurRad="152400" sx="102000" sy="102000" algn="ctr" rotWithShape="0">
              <a:prstClr val="black">
                <a:alpha val="20000"/>
              </a:prstClr>
            </a:outerShdw>
          </a:effectLst>
        </p:spPr>
        <p:txBody>
          <a:bodyPr vert="horz" wrap="square" lIns="0" tIns="0" rIns="0" bIns="7315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3" name="Text Placeholder 3">
            <a:extLst>
              <a:ext uri="{FF2B5EF4-FFF2-40B4-BE49-F238E27FC236}">
                <a16:creationId xmlns:a16="http://schemas.microsoft.com/office/drawing/2014/main" id="{633DBE78-A931-4D22-8064-1F41CEC37F96}"/>
              </a:ext>
            </a:extLst>
          </p:cNvPr>
          <p:cNvSpPr>
            <a:spLocks noGrp="1"/>
          </p:cNvSpPr>
          <p:nvPr>
            <p:ph type="body" sz="quarter" idx="23"/>
          </p:nvPr>
        </p:nvSpPr>
        <p:spPr>
          <a:xfrm>
            <a:off x="4358386" y="6018372"/>
            <a:ext cx="3469069" cy="246221"/>
          </a:xfrm>
        </p:spPr>
        <p:txBody>
          <a:bodyPr/>
          <a:lstStyle>
            <a:lvl1pPr marL="0" indent="0" algn="l">
              <a:spcBef>
                <a:spcPts val="0"/>
              </a:spcBef>
              <a:buNone/>
              <a:defRPr sz="1600"/>
            </a:lvl1pPr>
          </a:lstStyle>
          <a:p>
            <a:pPr lvl="0"/>
            <a:r>
              <a:rPr lang="en-US"/>
              <a:t>Click to edit Master text styles</a:t>
            </a:r>
          </a:p>
        </p:txBody>
      </p:sp>
      <p:sp>
        <p:nvSpPr>
          <p:cNvPr id="24" name="Picture Placeholder" descr="This photo is a 'placeholder' only. Drag or drop your photo here, or click and tap the center to insert a photo.">
            <a:extLst>
              <a:ext uri="{FF2B5EF4-FFF2-40B4-BE49-F238E27FC236}">
                <a16:creationId xmlns:a16="http://schemas.microsoft.com/office/drawing/2014/main" id="{EFD0E6C4-D2B8-43AC-82C6-9274C0DEF90B}"/>
              </a:ext>
            </a:extLst>
          </p:cNvPr>
          <p:cNvSpPr>
            <a:spLocks noGrp="1"/>
          </p:cNvSpPr>
          <p:nvPr>
            <p:ph type="pic" sz="quarter" idx="24" hasCustomPrompt="1"/>
          </p:nvPr>
        </p:nvSpPr>
        <p:spPr bwMode="gray">
          <a:xfrm>
            <a:off x="4362450" y="3897902"/>
            <a:ext cx="3469069" cy="2068558"/>
          </a:xfrm>
          <a:blipFill>
            <a:blip r:embed="rId2"/>
            <a:stretch>
              <a:fillRect/>
            </a:stretch>
          </a:blipFill>
          <a:effectLst>
            <a:outerShdw blurRad="152400" sx="102000" sy="102000" algn="ctr" rotWithShape="0">
              <a:prstClr val="black">
                <a:alpha val="20000"/>
              </a:prstClr>
            </a:outerShdw>
          </a:effectLst>
        </p:spPr>
        <p:txBody>
          <a:bodyPr vert="horz" wrap="square" lIns="0" tIns="0" rIns="0" bIns="7315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5" name="Text Placeholder 3">
            <a:extLst>
              <a:ext uri="{FF2B5EF4-FFF2-40B4-BE49-F238E27FC236}">
                <a16:creationId xmlns:a16="http://schemas.microsoft.com/office/drawing/2014/main" id="{4BB6EBFA-9280-4898-8136-05F02689B792}"/>
              </a:ext>
            </a:extLst>
          </p:cNvPr>
          <p:cNvSpPr>
            <a:spLocks noGrp="1"/>
          </p:cNvSpPr>
          <p:nvPr>
            <p:ph type="body" sz="quarter" idx="25"/>
          </p:nvPr>
        </p:nvSpPr>
        <p:spPr>
          <a:xfrm>
            <a:off x="8128510" y="6018372"/>
            <a:ext cx="3469069" cy="246221"/>
          </a:xfrm>
        </p:spPr>
        <p:txBody>
          <a:bodyPr/>
          <a:lstStyle>
            <a:lvl1pPr marL="0" indent="0" algn="l">
              <a:spcBef>
                <a:spcPts val="0"/>
              </a:spcBef>
              <a:buNone/>
              <a:defRPr sz="1600"/>
            </a:lvl1pPr>
          </a:lstStyle>
          <a:p>
            <a:pPr lvl="0"/>
            <a:r>
              <a:rPr lang="en-US"/>
              <a:t>Click to edit Master text styles</a:t>
            </a:r>
          </a:p>
        </p:txBody>
      </p:sp>
      <p:sp>
        <p:nvSpPr>
          <p:cNvPr id="26" name="Picture Placeholder" descr="This photo is a 'placeholder' only. Drag or drop your photo here, or click and tap the center to insert a photo.">
            <a:extLst>
              <a:ext uri="{FF2B5EF4-FFF2-40B4-BE49-F238E27FC236}">
                <a16:creationId xmlns:a16="http://schemas.microsoft.com/office/drawing/2014/main" id="{CA962D04-57E2-4BB5-8BA7-38F1F8D7CEEB}"/>
              </a:ext>
            </a:extLst>
          </p:cNvPr>
          <p:cNvSpPr>
            <a:spLocks noGrp="1"/>
          </p:cNvSpPr>
          <p:nvPr>
            <p:ph type="pic" sz="quarter" idx="26" hasCustomPrompt="1"/>
          </p:nvPr>
        </p:nvSpPr>
        <p:spPr bwMode="gray">
          <a:xfrm>
            <a:off x="8132574" y="3897902"/>
            <a:ext cx="3469069" cy="2068558"/>
          </a:xfrm>
          <a:blipFill>
            <a:blip r:embed="rId2"/>
            <a:stretch>
              <a:fillRect/>
            </a:stretch>
          </a:blipFill>
          <a:effectLst>
            <a:outerShdw blurRad="152400" sx="102000" sy="102000" algn="ctr" rotWithShape="0">
              <a:prstClr val="black">
                <a:alpha val="20000"/>
              </a:prstClr>
            </a:outerShdw>
          </a:effectLst>
        </p:spPr>
        <p:txBody>
          <a:bodyPr vert="horz" wrap="square" lIns="0" tIns="0" rIns="0" bIns="7315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7" name="TextBox 26">
            <a:extLst>
              <a:ext uri="{FF2B5EF4-FFF2-40B4-BE49-F238E27FC236}">
                <a16:creationId xmlns:a16="http://schemas.microsoft.com/office/drawing/2014/main" id="{69D13E91-C0D3-4150-9C42-87C58EAA500A}"/>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326368435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2448">
          <p15:clr>
            <a:srgbClr val="5ACBF0"/>
          </p15:clr>
        </p15:guide>
        <p15:guide id="9" pos="5123">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1436688"/>
            <a:ext cx="3494088" cy="4832350"/>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FCE0B57E-CAD9-49D5-AAF1-B38127453930}"/>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4925317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blue) -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accent1"/>
          </a:solidFill>
          <a:ln>
            <a:noFill/>
            <a:headEnd type="none" w="med" len="med"/>
            <a:tailEnd type="none" w="med" len="med"/>
          </a:ln>
          <a:effectLst>
            <a:outerShdw blurRad="1524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77A10BC-66FD-4606-A25B-7FF82EDF170C}"/>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350770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white) -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C382336-8312-4A74-994C-BBC0184437B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5" name="TextBox 4">
            <a:extLst>
              <a:ext uri="{FF2B5EF4-FFF2-40B4-BE49-F238E27FC236}">
                <a16:creationId xmlns:a16="http://schemas.microsoft.com/office/drawing/2014/main" id="{4D72C4E2-E278-41FD-9A00-225598112ECE}"/>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30802299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gray) -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lumMod val="95000"/>
            </a:schemeClr>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7CA9D495-7BC4-40A1-95FA-588C524EBFC4}"/>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307343920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E737715-EFA0-4044-B14B-C86ADE3789F4}"/>
              </a:ext>
              <a:ext uri="{C183D7F6-B498-43B3-948B-1728B52AA6E4}">
                <adec:decorative xmlns:adec="http://schemas.microsoft.com/office/drawing/2017/decorative" val="1"/>
              </a:ext>
            </a:extLst>
          </p:cNvPr>
          <p:cNvSpPr/>
          <p:nvPr userDrawn="1"/>
        </p:nvSpPr>
        <p:spPr bwMode="blackWhite">
          <a:xfrm>
            <a:off x="0" y="0"/>
            <a:ext cx="6096000" cy="6858000"/>
          </a:xfrm>
          <a:prstGeom prst="rect">
            <a:avLst/>
          </a:prstGeom>
          <a:solidFill>
            <a:schemeClr val="bg1">
              <a:lumMod val="95000"/>
            </a:schemeClr>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F6BF09AD-256C-4936-AE70-97DE6263A6AB}"/>
              </a:ext>
              <a:ext uri="{C183D7F6-B498-43B3-948B-1728B52AA6E4}">
                <adec:decorative xmlns:adec="http://schemas.microsoft.com/office/drawing/2017/decorative" val="1"/>
              </a:ext>
            </a:extLst>
          </p:cNvPr>
          <p:cNvSpPr/>
          <p:nvPr userDrawn="1"/>
        </p:nvSpPr>
        <p:spPr bwMode="blackWhite">
          <a:xfrm>
            <a:off x="6096000" y="0"/>
            <a:ext cx="6096000" cy="6858000"/>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 name="Title 2">
            <a:extLst>
              <a:ext uri="{FF2B5EF4-FFF2-40B4-BE49-F238E27FC236}">
                <a16:creationId xmlns:a16="http://schemas.microsoft.com/office/drawing/2014/main" id="{869A0AB1-6BB3-426F-95C2-2312D294D230}"/>
              </a:ext>
            </a:extLst>
          </p:cNvPr>
          <p:cNvSpPr>
            <a:spLocks noGrp="1"/>
          </p:cNvSpPr>
          <p:nvPr>
            <p:ph type="title"/>
          </p:nvPr>
        </p:nvSpPr>
        <p:spPr>
          <a:xfrm>
            <a:off x="588264" y="3244334"/>
            <a:ext cx="4593336" cy="369332"/>
          </a:xfrm>
        </p:spPr>
        <p:txBody>
          <a:bodyPr anchor="ctr" anchorCtr="0"/>
          <a:lstStyle>
            <a:lvl1pPr>
              <a:defRPr sz="2400"/>
            </a:lvl1pPr>
          </a:lstStyle>
          <a:p>
            <a:r>
              <a:rPr lang="en-US"/>
              <a:t>Click to edit Master title style</a:t>
            </a:r>
          </a:p>
        </p:txBody>
      </p:sp>
      <p:sp>
        <p:nvSpPr>
          <p:cNvPr id="14" name="TextBox 13">
            <a:extLst>
              <a:ext uri="{FF2B5EF4-FFF2-40B4-BE49-F238E27FC236}">
                <a16:creationId xmlns:a16="http://schemas.microsoft.com/office/drawing/2014/main" id="{F691E081-F473-4023-A819-598B37820B08}"/>
              </a:ext>
            </a:extLst>
          </p:cNvPr>
          <p:cNvSpPr txBox="1"/>
          <p:nvPr userDrawn="1"/>
        </p:nvSpPr>
        <p:spPr>
          <a:xfrm>
            <a:off x="588264" y="6605851"/>
            <a:ext cx="1840247"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298938556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gray) - 5 ico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lumMod val="95000"/>
            </a:schemeClr>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B81CDEAF-6103-42B3-894B-1F3C4BAB4333}"/>
              </a:ext>
              <a:ext uri="{C183D7F6-B498-43B3-948B-1728B52AA6E4}">
                <adec:decorative xmlns:adec="http://schemas.microsoft.com/office/drawing/2017/decorative" val="1"/>
              </a:ext>
            </a:extLst>
          </p:cNvPr>
          <p:cNvSpPr/>
          <p:nvPr userDrawn="1"/>
        </p:nvSpPr>
        <p:spPr bwMode="blackWhite">
          <a:xfrm>
            <a:off x="4356100" y="0"/>
            <a:ext cx="7835900" cy="6858000"/>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6787620" y="976233"/>
            <a:ext cx="4793154" cy="276999"/>
          </a:xfrm>
        </p:spPr>
        <p:txBody>
          <a:bodyPr anchor="ctr" anchorCtr="0"/>
          <a:lstStyle>
            <a:lvl1pPr marL="0" indent="0">
              <a:spcBef>
                <a:spcPts val="0"/>
              </a:spcBef>
              <a:spcAft>
                <a:spcPts val="600"/>
              </a:spcAft>
              <a:buNone/>
              <a:defRPr sz="1800"/>
            </a:lvl1pPr>
            <a:lvl2pPr marL="2286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7CA9D495-7BC4-40A1-95FA-588C524EBFC4}"/>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
        <p:nvSpPr>
          <p:cNvPr id="15" name="Oval 14">
            <a:extLst>
              <a:ext uri="{FF2B5EF4-FFF2-40B4-BE49-F238E27FC236}">
                <a16:creationId xmlns:a16="http://schemas.microsoft.com/office/drawing/2014/main" id="{E1E87194-7FE3-4BAD-AF4D-49F1823EEAE9}"/>
              </a:ext>
            </a:extLst>
          </p:cNvPr>
          <p:cNvSpPr/>
          <p:nvPr/>
        </p:nvSpPr>
        <p:spPr bwMode="auto">
          <a:xfrm>
            <a:off x="5732794" y="1890565"/>
            <a:ext cx="739959" cy="739959"/>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a:extLst>
              <a:ext uri="{FF2B5EF4-FFF2-40B4-BE49-F238E27FC236}">
                <a16:creationId xmlns:a16="http://schemas.microsoft.com/office/drawing/2014/main" id="{8E506F3B-DC3F-4486-8433-C96948E00CEB}"/>
              </a:ext>
            </a:extLst>
          </p:cNvPr>
          <p:cNvSpPr/>
          <p:nvPr/>
        </p:nvSpPr>
        <p:spPr bwMode="auto">
          <a:xfrm>
            <a:off x="5732794" y="744753"/>
            <a:ext cx="739959" cy="739959"/>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Oval 53">
            <a:extLst>
              <a:ext uri="{FF2B5EF4-FFF2-40B4-BE49-F238E27FC236}">
                <a16:creationId xmlns:a16="http://schemas.microsoft.com/office/drawing/2014/main" id="{CB7FB382-FACF-4EEB-98C3-7D53959B9B70}"/>
              </a:ext>
            </a:extLst>
          </p:cNvPr>
          <p:cNvSpPr/>
          <p:nvPr/>
        </p:nvSpPr>
        <p:spPr bwMode="auto">
          <a:xfrm>
            <a:off x="5732794" y="5328001"/>
            <a:ext cx="739959" cy="739959"/>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61">
            <a:extLst>
              <a:ext uri="{FF2B5EF4-FFF2-40B4-BE49-F238E27FC236}">
                <a16:creationId xmlns:a16="http://schemas.microsoft.com/office/drawing/2014/main" id="{E182269C-F1FE-41FB-902F-B3AFDF88CC04}"/>
              </a:ext>
            </a:extLst>
          </p:cNvPr>
          <p:cNvSpPr/>
          <p:nvPr/>
        </p:nvSpPr>
        <p:spPr bwMode="auto">
          <a:xfrm>
            <a:off x="5732794" y="4182189"/>
            <a:ext cx="739959" cy="739959"/>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72">
            <a:extLst>
              <a:ext uri="{FF2B5EF4-FFF2-40B4-BE49-F238E27FC236}">
                <a16:creationId xmlns:a16="http://schemas.microsoft.com/office/drawing/2014/main" id="{BC8FF0B1-90D3-451E-9309-F122FBDFD489}"/>
              </a:ext>
            </a:extLst>
          </p:cNvPr>
          <p:cNvSpPr/>
          <p:nvPr/>
        </p:nvSpPr>
        <p:spPr bwMode="auto">
          <a:xfrm>
            <a:off x="5732794" y="3036377"/>
            <a:ext cx="739959" cy="739959"/>
          </a:xfrm>
          <a:prstGeom prst="ellipse">
            <a:avLst/>
          </a:prstGeom>
          <a:solidFill>
            <a:schemeClr val="bg1"/>
          </a:solidFill>
          <a:ln>
            <a:noFill/>
            <a:headEnd type="none" w="med" len="med"/>
            <a:tailEnd type="none" w="med" len="med"/>
          </a:ln>
          <a:effectLst>
            <a:outerShdw blurRad="152400" sx="102000" sy="102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8" name="Text Placeholder 6">
            <a:extLst>
              <a:ext uri="{FF2B5EF4-FFF2-40B4-BE49-F238E27FC236}">
                <a16:creationId xmlns:a16="http://schemas.microsoft.com/office/drawing/2014/main" id="{6AF9F175-6681-4A65-94F5-276BA5C80906}"/>
              </a:ext>
            </a:extLst>
          </p:cNvPr>
          <p:cNvSpPr>
            <a:spLocks noGrp="1"/>
          </p:cNvSpPr>
          <p:nvPr userDrawn="1">
            <p:ph type="body" sz="quarter" idx="11"/>
          </p:nvPr>
        </p:nvSpPr>
        <p:spPr>
          <a:xfrm>
            <a:off x="6787620" y="2122045"/>
            <a:ext cx="4793154" cy="276999"/>
          </a:xfrm>
        </p:spPr>
        <p:txBody>
          <a:bodyPr anchor="ctr" anchorCtr="0"/>
          <a:lstStyle>
            <a:lvl1pPr marL="0" indent="0">
              <a:spcBef>
                <a:spcPts val="0"/>
              </a:spcBef>
              <a:spcAft>
                <a:spcPts val="600"/>
              </a:spcAft>
              <a:buNone/>
              <a:defRPr sz="1800"/>
            </a:lvl1pPr>
            <a:lvl2pPr marL="228600" indent="0">
              <a:buNone/>
              <a:defRPr/>
            </a:lvl2pPr>
          </a:lstStyle>
          <a:p>
            <a:pPr lvl="0"/>
            <a:r>
              <a:rPr lang="en-US"/>
              <a:t>Click to edit Master text styles</a:t>
            </a:r>
          </a:p>
        </p:txBody>
      </p:sp>
      <p:sp>
        <p:nvSpPr>
          <p:cNvPr id="79" name="Text Placeholder 6">
            <a:extLst>
              <a:ext uri="{FF2B5EF4-FFF2-40B4-BE49-F238E27FC236}">
                <a16:creationId xmlns:a16="http://schemas.microsoft.com/office/drawing/2014/main" id="{3047C228-171C-477B-B53B-53662E6F44A6}"/>
              </a:ext>
            </a:extLst>
          </p:cNvPr>
          <p:cNvSpPr>
            <a:spLocks noGrp="1"/>
          </p:cNvSpPr>
          <p:nvPr userDrawn="1">
            <p:ph type="body" sz="quarter" idx="12"/>
          </p:nvPr>
        </p:nvSpPr>
        <p:spPr>
          <a:xfrm>
            <a:off x="6787620" y="3267857"/>
            <a:ext cx="4793154" cy="276999"/>
          </a:xfrm>
        </p:spPr>
        <p:txBody>
          <a:bodyPr anchor="ctr" anchorCtr="0"/>
          <a:lstStyle>
            <a:lvl1pPr marL="0" indent="0">
              <a:spcBef>
                <a:spcPts val="0"/>
              </a:spcBef>
              <a:spcAft>
                <a:spcPts val="600"/>
              </a:spcAft>
              <a:buNone/>
              <a:defRPr sz="1800"/>
            </a:lvl1pPr>
            <a:lvl2pPr marL="228600" indent="0">
              <a:buNone/>
              <a:defRPr/>
            </a:lvl2pPr>
          </a:lstStyle>
          <a:p>
            <a:pPr lvl="0"/>
            <a:r>
              <a:rPr lang="en-US"/>
              <a:t>Click to edit Master text styles</a:t>
            </a:r>
          </a:p>
        </p:txBody>
      </p:sp>
      <p:sp>
        <p:nvSpPr>
          <p:cNvPr id="80" name="Text Placeholder 6">
            <a:extLst>
              <a:ext uri="{FF2B5EF4-FFF2-40B4-BE49-F238E27FC236}">
                <a16:creationId xmlns:a16="http://schemas.microsoft.com/office/drawing/2014/main" id="{91CEF908-EE06-4776-AF85-E846F4B428C1}"/>
              </a:ext>
            </a:extLst>
          </p:cNvPr>
          <p:cNvSpPr>
            <a:spLocks noGrp="1"/>
          </p:cNvSpPr>
          <p:nvPr userDrawn="1">
            <p:ph type="body" sz="quarter" idx="13"/>
          </p:nvPr>
        </p:nvSpPr>
        <p:spPr>
          <a:xfrm>
            <a:off x="6787620" y="4413669"/>
            <a:ext cx="4793154" cy="276999"/>
          </a:xfrm>
        </p:spPr>
        <p:txBody>
          <a:bodyPr anchor="ctr" anchorCtr="0"/>
          <a:lstStyle>
            <a:lvl1pPr marL="0" indent="0">
              <a:spcBef>
                <a:spcPts val="0"/>
              </a:spcBef>
              <a:spcAft>
                <a:spcPts val="600"/>
              </a:spcAft>
              <a:buNone/>
              <a:defRPr sz="1800"/>
            </a:lvl1pPr>
            <a:lvl2pPr marL="228600" indent="0">
              <a:buNone/>
              <a:defRPr/>
            </a:lvl2pPr>
          </a:lstStyle>
          <a:p>
            <a:pPr lvl="0"/>
            <a:r>
              <a:rPr lang="en-US"/>
              <a:t>Click to edit Master text styles</a:t>
            </a:r>
          </a:p>
        </p:txBody>
      </p:sp>
      <p:sp>
        <p:nvSpPr>
          <p:cNvPr id="81" name="Text Placeholder 6">
            <a:extLst>
              <a:ext uri="{FF2B5EF4-FFF2-40B4-BE49-F238E27FC236}">
                <a16:creationId xmlns:a16="http://schemas.microsoft.com/office/drawing/2014/main" id="{56E4B84A-F200-4DD0-A35C-6DD97A8B8A05}"/>
              </a:ext>
            </a:extLst>
          </p:cNvPr>
          <p:cNvSpPr>
            <a:spLocks noGrp="1"/>
          </p:cNvSpPr>
          <p:nvPr userDrawn="1">
            <p:ph type="body" sz="quarter" idx="14"/>
          </p:nvPr>
        </p:nvSpPr>
        <p:spPr>
          <a:xfrm>
            <a:off x="6787620" y="5559481"/>
            <a:ext cx="4793154" cy="276999"/>
          </a:xfrm>
        </p:spPr>
        <p:txBody>
          <a:bodyPr anchor="ctr" anchorCtr="0"/>
          <a:lstStyle>
            <a:lvl1pPr marL="0" indent="0">
              <a:spcBef>
                <a:spcPts val="0"/>
              </a:spcBef>
              <a:spcAft>
                <a:spcPts val="600"/>
              </a:spcAft>
              <a:buNone/>
              <a:defRPr sz="1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039651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mp; Right side bullete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910B715-8602-489B-BF0F-5C5C889DA65E}"/>
              </a:ext>
              <a:ext uri="{C183D7F6-B498-43B3-948B-1728B52AA6E4}">
                <adec:decorative xmlns:adec="http://schemas.microsoft.com/office/drawing/2017/decorative" val="1"/>
              </a:ext>
            </a:extLst>
          </p:cNvPr>
          <p:cNvSpPr/>
          <p:nvPr userDrawn="1"/>
        </p:nvSpPr>
        <p:spPr bwMode="blackWhite">
          <a:xfrm>
            <a:off x="4356100" y="0"/>
            <a:ext cx="7835900" cy="6858000"/>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875002"/>
            <a:ext cx="3058160" cy="1107996"/>
          </a:xfrm>
        </p:spPr>
        <p:txBody>
          <a:bodyPr anchor="ctr" anchorCtr="0"/>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5200650" y="585788"/>
            <a:ext cx="6406642" cy="5683248"/>
          </a:xfrm>
        </p:spPr>
        <p:txBody>
          <a:bodyPr anchor="ctr" anchorCtr="0">
            <a:normAutofit/>
          </a:bodyPr>
          <a:lstStyle>
            <a:lvl1pPr marL="274320" indent="-274320">
              <a:spcAft>
                <a:spcPts val="1200"/>
              </a:spcAft>
              <a:buClr>
                <a:schemeClr val="tx1">
                  <a:lumMod val="50000"/>
                  <a:lumOff val="50000"/>
                </a:schemeClr>
              </a:buClr>
              <a:buSzPct val="100000"/>
              <a:buFont typeface="Arial" panose="020B0604020202020204" pitchFamily="34" charset="0"/>
              <a:buChar char="•"/>
              <a:defRPr sz="2400"/>
            </a:lvl1pPr>
            <a:lvl2pPr marL="228600" indent="0">
              <a:buNone/>
              <a:defRPr/>
            </a:lvl2pPr>
          </a:lstStyle>
          <a:p>
            <a:pPr lvl="0"/>
            <a:r>
              <a:rPr lang="en-US"/>
              <a:t>Click to edit Master text styles</a:t>
            </a:r>
          </a:p>
        </p:txBody>
      </p:sp>
      <p:sp>
        <p:nvSpPr>
          <p:cNvPr id="8" name="TextBox 7">
            <a:extLst>
              <a:ext uri="{FF2B5EF4-FFF2-40B4-BE49-F238E27FC236}">
                <a16:creationId xmlns:a16="http://schemas.microsoft.com/office/drawing/2014/main" id="{0BE058B9-ABA0-4FF5-808D-DD05C531B05D}"/>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17852008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2 rows boxe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EEA41C-CC7A-46B6-8999-333369687C40}"/>
              </a:ext>
              <a:ext uri="{C183D7F6-B498-43B3-948B-1728B52AA6E4}">
                <adec:decorative xmlns:adec="http://schemas.microsoft.com/office/drawing/2017/decorative" val="1"/>
              </a:ext>
            </a:extLst>
          </p:cNvPr>
          <p:cNvSpPr/>
          <p:nvPr userDrawn="1"/>
        </p:nvSpPr>
        <p:spPr bwMode="blackWhite">
          <a:xfrm>
            <a:off x="4939791" y="600593"/>
            <a:ext cx="6958522" cy="2758040"/>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875002"/>
            <a:ext cx="3468956" cy="1107996"/>
          </a:xfrm>
        </p:spPr>
        <p:txBody>
          <a:bodyPr anchor="ctr" anchorCtr="0"/>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5449996" y="1004888"/>
            <a:ext cx="5951429" cy="1949450"/>
          </a:xfrm>
        </p:spPr>
        <p:txBody>
          <a:bodyPr anchor="ctr" anchorCtr="0">
            <a:normAutofit/>
          </a:bodyPr>
          <a:lstStyle>
            <a:lvl1pPr marL="0" indent="0">
              <a:spcAft>
                <a:spcPts val="1200"/>
              </a:spcAft>
              <a:buNone/>
              <a:defRPr sz="2400"/>
            </a:lvl1pPr>
            <a:lvl2pPr marL="228600"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33522EF1-5068-4025-B51A-18B6E0279C4B}"/>
              </a:ext>
              <a:ext uri="{C183D7F6-B498-43B3-948B-1728B52AA6E4}">
                <adec:decorative xmlns:adec="http://schemas.microsoft.com/office/drawing/2017/decorative" val="1"/>
              </a:ext>
            </a:extLst>
          </p:cNvPr>
          <p:cNvSpPr/>
          <p:nvPr userDrawn="1"/>
        </p:nvSpPr>
        <p:spPr bwMode="blackWhite">
          <a:xfrm>
            <a:off x="4939791" y="3509963"/>
            <a:ext cx="6958522" cy="2758040"/>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07D3AB2-2906-44B4-9ABE-DBBCA25522D8}"/>
              </a:ext>
            </a:extLst>
          </p:cNvPr>
          <p:cNvSpPr>
            <a:spLocks noGrp="1"/>
          </p:cNvSpPr>
          <p:nvPr>
            <p:ph type="body" sz="quarter" idx="11"/>
          </p:nvPr>
        </p:nvSpPr>
        <p:spPr>
          <a:xfrm>
            <a:off x="5449996" y="3914258"/>
            <a:ext cx="5951429" cy="1949450"/>
          </a:xfrm>
        </p:spPr>
        <p:txBody>
          <a:bodyPr anchor="ctr" anchorCtr="0">
            <a:normAutofit/>
          </a:bodyPr>
          <a:lstStyle>
            <a:lvl1pPr marL="0" indent="0">
              <a:spcAft>
                <a:spcPts val="1200"/>
              </a:spcAft>
              <a:buNone/>
              <a:defRPr sz="2400"/>
            </a:lvl1pPr>
            <a:lvl2pPr marL="228600" indent="0">
              <a:buNone/>
              <a:defRPr/>
            </a:lvl2pPr>
          </a:lstStyle>
          <a:p>
            <a:pPr lvl="0"/>
            <a:r>
              <a:rPr lang="en-US"/>
              <a:t>Click to edit Master text styles</a:t>
            </a:r>
          </a:p>
        </p:txBody>
      </p:sp>
      <p:sp>
        <p:nvSpPr>
          <p:cNvPr id="9" name="TextBox 8">
            <a:extLst>
              <a:ext uri="{FF2B5EF4-FFF2-40B4-BE49-F238E27FC236}">
                <a16:creationId xmlns:a16="http://schemas.microsoft.com/office/drawing/2014/main" id="{A2528D81-E4AD-44AE-96DE-26DEA27A13A1}"/>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292524511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3 rows boxe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EEA41C-CC7A-46B6-8999-333369687C40}"/>
              </a:ext>
              <a:ext uri="{C183D7F6-B498-43B3-948B-1728B52AA6E4}">
                <adec:decorative xmlns:adec="http://schemas.microsoft.com/office/drawing/2017/decorative" val="1"/>
              </a:ext>
            </a:extLst>
          </p:cNvPr>
          <p:cNvSpPr/>
          <p:nvPr userDrawn="1"/>
        </p:nvSpPr>
        <p:spPr bwMode="blackWhite">
          <a:xfrm>
            <a:off x="4939791" y="602302"/>
            <a:ext cx="6958522" cy="1780930"/>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875002"/>
            <a:ext cx="3468956" cy="1107996"/>
          </a:xfrm>
        </p:spPr>
        <p:txBody>
          <a:bodyPr anchor="ctr" anchorCtr="0"/>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5449996" y="863365"/>
            <a:ext cx="5951429" cy="1258804"/>
          </a:xfrm>
        </p:spPr>
        <p:txBody>
          <a:bodyPr anchor="ctr" anchorCtr="0">
            <a:normAutofit/>
          </a:bodyPr>
          <a:lstStyle>
            <a:lvl1pPr marL="0" indent="0">
              <a:spcAft>
                <a:spcPts val="1200"/>
              </a:spcAft>
              <a:buNone/>
              <a:defRPr sz="2400"/>
            </a:lvl1pPr>
            <a:lvl2pPr marL="228600" indent="0">
              <a:buNone/>
              <a:defRPr/>
            </a:lvl2pPr>
          </a:lstStyle>
          <a:p>
            <a:pPr lvl="0"/>
            <a:r>
              <a:rPr lang="en-US"/>
              <a:t>Click to edit Master text styles</a:t>
            </a:r>
          </a:p>
        </p:txBody>
      </p:sp>
      <p:sp>
        <p:nvSpPr>
          <p:cNvPr id="9" name="Rectangle 8">
            <a:extLst>
              <a:ext uri="{FF2B5EF4-FFF2-40B4-BE49-F238E27FC236}">
                <a16:creationId xmlns:a16="http://schemas.microsoft.com/office/drawing/2014/main" id="{471C3553-A928-46D1-868F-E134C4E83DBD}"/>
              </a:ext>
              <a:ext uri="{C183D7F6-B498-43B3-948B-1728B52AA6E4}">
                <adec:decorative xmlns:adec="http://schemas.microsoft.com/office/drawing/2017/decorative" val="1"/>
              </a:ext>
            </a:extLst>
          </p:cNvPr>
          <p:cNvSpPr/>
          <p:nvPr userDrawn="1"/>
        </p:nvSpPr>
        <p:spPr bwMode="blackWhite">
          <a:xfrm>
            <a:off x="4939791" y="2549173"/>
            <a:ext cx="6958522" cy="1780930"/>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6">
            <a:extLst>
              <a:ext uri="{FF2B5EF4-FFF2-40B4-BE49-F238E27FC236}">
                <a16:creationId xmlns:a16="http://schemas.microsoft.com/office/drawing/2014/main" id="{852D2F65-C88D-405F-ABEC-8689E7BB2437}"/>
              </a:ext>
            </a:extLst>
          </p:cNvPr>
          <p:cNvSpPr>
            <a:spLocks noGrp="1"/>
          </p:cNvSpPr>
          <p:nvPr>
            <p:ph type="body" sz="quarter" idx="11"/>
          </p:nvPr>
        </p:nvSpPr>
        <p:spPr>
          <a:xfrm>
            <a:off x="5449996" y="2810236"/>
            <a:ext cx="5951429" cy="1258804"/>
          </a:xfrm>
        </p:spPr>
        <p:txBody>
          <a:bodyPr anchor="ctr" anchorCtr="0">
            <a:normAutofit/>
          </a:bodyPr>
          <a:lstStyle>
            <a:lvl1pPr marL="0" indent="0">
              <a:spcAft>
                <a:spcPts val="1200"/>
              </a:spcAft>
              <a:buNone/>
              <a:defRPr sz="2400"/>
            </a:lvl1pPr>
            <a:lvl2pPr marL="228600" indent="0">
              <a:buNone/>
              <a:defRPr/>
            </a:lvl2pPr>
          </a:lstStyle>
          <a:p>
            <a:pPr lvl="0"/>
            <a:r>
              <a:rPr lang="en-US"/>
              <a:t>Click to edit Master text styles</a:t>
            </a:r>
          </a:p>
        </p:txBody>
      </p:sp>
      <p:sp>
        <p:nvSpPr>
          <p:cNvPr id="11" name="Rectangle 10">
            <a:extLst>
              <a:ext uri="{FF2B5EF4-FFF2-40B4-BE49-F238E27FC236}">
                <a16:creationId xmlns:a16="http://schemas.microsoft.com/office/drawing/2014/main" id="{2C010FFB-83C1-48D2-9778-17BAC921E5B8}"/>
              </a:ext>
              <a:ext uri="{C183D7F6-B498-43B3-948B-1728B52AA6E4}">
                <adec:decorative xmlns:adec="http://schemas.microsoft.com/office/drawing/2017/decorative" val="1"/>
              </a:ext>
            </a:extLst>
          </p:cNvPr>
          <p:cNvSpPr/>
          <p:nvPr userDrawn="1"/>
        </p:nvSpPr>
        <p:spPr bwMode="blackWhite">
          <a:xfrm>
            <a:off x="4939791" y="4496045"/>
            <a:ext cx="6958522" cy="1780930"/>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6">
            <a:extLst>
              <a:ext uri="{FF2B5EF4-FFF2-40B4-BE49-F238E27FC236}">
                <a16:creationId xmlns:a16="http://schemas.microsoft.com/office/drawing/2014/main" id="{988995F0-A216-42F0-AC8A-54CDEB9C61EB}"/>
              </a:ext>
            </a:extLst>
          </p:cNvPr>
          <p:cNvSpPr>
            <a:spLocks noGrp="1"/>
          </p:cNvSpPr>
          <p:nvPr>
            <p:ph type="body" sz="quarter" idx="12"/>
          </p:nvPr>
        </p:nvSpPr>
        <p:spPr>
          <a:xfrm>
            <a:off x="5449996" y="4757108"/>
            <a:ext cx="5951429" cy="1258804"/>
          </a:xfrm>
        </p:spPr>
        <p:txBody>
          <a:bodyPr anchor="ctr" anchorCtr="0">
            <a:normAutofit/>
          </a:bodyPr>
          <a:lstStyle>
            <a:lvl1pPr marL="0" indent="0">
              <a:spcAft>
                <a:spcPts val="1200"/>
              </a:spcAft>
              <a:buNone/>
              <a:defRPr sz="2400"/>
            </a:lvl1pPr>
            <a:lvl2pPr marL="2286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5983F165-0588-4652-9212-43123AB68DFD}"/>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98213418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93473265"/>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mp; 4 rows boxe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EEA41C-CC7A-46B6-8999-333369687C40}"/>
              </a:ext>
              <a:ext uri="{C183D7F6-B498-43B3-948B-1728B52AA6E4}">
                <adec:decorative xmlns:adec="http://schemas.microsoft.com/office/drawing/2017/decorative" val="1"/>
              </a:ext>
            </a:extLst>
          </p:cNvPr>
          <p:cNvSpPr/>
          <p:nvPr userDrawn="1"/>
        </p:nvSpPr>
        <p:spPr bwMode="blackWhite">
          <a:xfrm>
            <a:off x="4939791" y="585788"/>
            <a:ext cx="6958522" cy="1258804"/>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875002"/>
            <a:ext cx="3468956" cy="1107996"/>
          </a:xfrm>
        </p:spPr>
        <p:txBody>
          <a:bodyPr anchor="ctr" anchorCtr="0"/>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5449996" y="858755"/>
            <a:ext cx="5951429" cy="712870"/>
          </a:xfrm>
        </p:spPr>
        <p:txBody>
          <a:bodyPr anchor="ctr" anchorCtr="0">
            <a:normAutofit/>
          </a:bodyPr>
          <a:lstStyle>
            <a:lvl1pPr marL="0" indent="0">
              <a:spcAft>
                <a:spcPts val="1200"/>
              </a:spcAft>
              <a:buNone/>
              <a:defRPr sz="2200"/>
            </a:lvl1pPr>
            <a:lvl2pPr marL="228600" indent="0">
              <a:buNone/>
              <a:defRPr/>
            </a:lvl2pPr>
          </a:lstStyle>
          <a:p>
            <a:pPr lvl="0"/>
            <a:r>
              <a:rPr lang="en-US"/>
              <a:t>Click to edit Master text styles</a:t>
            </a:r>
          </a:p>
        </p:txBody>
      </p:sp>
      <p:sp>
        <p:nvSpPr>
          <p:cNvPr id="9" name="Rectangle 8">
            <a:extLst>
              <a:ext uri="{FF2B5EF4-FFF2-40B4-BE49-F238E27FC236}">
                <a16:creationId xmlns:a16="http://schemas.microsoft.com/office/drawing/2014/main" id="{471C3553-A928-46D1-868F-E134C4E83DBD}"/>
              </a:ext>
              <a:ext uri="{C183D7F6-B498-43B3-948B-1728B52AA6E4}">
                <adec:decorative xmlns:adec="http://schemas.microsoft.com/office/drawing/2017/decorative" val="1"/>
              </a:ext>
            </a:extLst>
          </p:cNvPr>
          <p:cNvSpPr/>
          <p:nvPr userDrawn="1"/>
        </p:nvSpPr>
        <p:spPr bwMode="blackWhite">
          <a:xfrm>
            <a:off x="4939791" y="2061661"/>
            <a:ext cx="6958522" cy="1258804"/>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6">
            <a:extLst>
              <a:ext uri="{FF2B5EF4-FFF2-40B4-BE49-F238E27FC236}">
                <a16:creationId xmlns:a16="http://schemas.microsoft.com/office/drawing/2014/main" id="{852D2F65-C88D-405F-ABEC-8689E7BB2437}"/>
              </a:ext>
            </a:extLst>
          </p:cNvPr>
          <p:cNvSpPr>
            <a:spLocks noGrp="1"/>
          </p:cNvSpPr>
          <p:nvPr>
            <p:ph type="body" sz="quarter" idx="11"/>
          </p:nvPr>
        </p:nvSpPr>
        <p:spPr>
          <a:xfrm>
            <a:off x="5449996" y="2334628"/>
            <a:ext cx="5951429" cy="712870"/>
          </a:xfrm>
        </p:spPr>
        <p:txBody>
          <a:bodyPr anchor="ctr" anchorCtr="0">
            <a:normAutofit/>
          </a:bodyPr>
          <a:lstStyle>
            <a:lvl1pPr marL="0" indent="0">
              <a:spcAft>
                <a:spcPts val="1200"/>
              </a:spcAft>
              <a:buNone/>
              <a:defRPr sz="2200"/>
            </a:lvl1pPr>
            <a:lvl2pPr marL="228600" indent="0">
              <a:buNone/>
              <a:defRPr/>
            </a:lvl2pPr>
          </a:lstStyle>
          <a:p>
            <a:pPr lvl="0"/>
            <a:r>
              <a:rPr lang="en-US"/>
              <a:t>Click to edit Master text styles</a:t>
            </a:r>
          </a:p>
        </p:txBody>
      </p:sp>
      <p:sp>
        <p:nvSpPr>
          <p:cNvPr id="11" name="Rectangle 10">
            <a:extLst>
              <a:ext uri="{FF2B5EF4-FFF2-40B4-BE49-F238E27FC236}">
                <a16:creationId xmlns:a16="http://schemas.microsoft.com/office/drawing/2014/main" id="{2C010FFB-83C1-48D2-9778-17BAC921E5B8}"/>
              </a:ext>
              <a:ext uri="{C183D7F6-B498-43B3-948B-1728B52AA6E4}">
                <adec:decorative xmlns:adec="http://schemas.microsoft.com/office/drawing/2017/decorative" val="1"/>
              </a:ext>
            </a:extLst>
          </p:cNvPr>
          <p:cNvSpPr/>
          <p:nvPr userDrawn="1"/>
        </p:nvSpPr>
        <p:spPr bwMode="blackWhite">
          <a:xfrm>
            <a:off x="4939791" y="5013408"/>
            <a:ext cx="6958522" cy="1258804"/>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6">
            <a:extLst>
              <a:ext uri="{FF2B5EF4-FFF2-40B4-BE49-F238E27FC236}">
                <a16:creationId xmlns:a16="http://schemas.microsoft.com/office/drawing/2014/main" id="{988995F0-A216-42F0-AC8A-54CDEB9C61EB}"/>
              </a:ext>
            </a:extLst>
          </p:cNvPr>
          <p:cNvSpPr>
            <a:spLocks noGrp="1"/>
          </p:cNvSpPr>
          <p:nvPr>
            <p:ph type="body" sz="quarter" idx="12"/>
          </p:nvPr>
        </p:nvSpPr>
        <p:spPr>
          <a:xfrm>
            <a:off x="5449996" y="5286375"/>
            <a:ext cx="5951429" cy="712870"/>
          </a:xfrm>
        </p:spPr>
        <p:txBody>
          <a:bodyPr anchor="ctr" anchorCtr="0">
            <a:normAutofit/>
          </a:bodyPr>
          <a:lstStyle>
            <a:lvl1pPr marL="0" indent="0">
              <a:spcAft>
                <a:spcPts val="1200"/>
              </a:spcAft>
              <a:buNone/>
              <a:defRPr sz="2200"/>
            </a:lvl1pPr>
            <a:lvl2pPr marL="228600" indent="0">
              <a:buNone/>
              <a:defRPr/>
            </a:lvl2pPr>
          </a:lstStyle>
          <a:p>
            <a:pPr lvl="0"/>
            <a:r>
              <a:rPr lang="en-US"/>
              <a:t>Click to edit Master text styles</a:t>
            </a:r>
          </a:p>
        </p:txBody>
      </p:sp>
      <p:sp>
        <p:nvSpPr>
          <p:cNvPr id="13" name="Rectangle 12">
            <a:extLst>
              <a:ext uri="{FF2B5EF4-FFF2-40B4-BE49-F238E27FC236}">
                <a16:creationId xmlns:a16="http://schemas.microsoft.com/office/drawing/2014/main" id="{23A96E80-2AAC-44BF-8183-F8BAD1A04DA7}"/>
              </a:ext>
              <a:ext uri="{C183D7F6-B498-43B3-948B-1728B52AA6E4}">
                <adec:decorative xmlns:adec="http://schemas.microsoft.com/office/drawing/2017/decorative" val="1"/>
              </a:ext>
            </a:extLst>
          </p:cNvPr>
          <p:cNvSpPr/>
          <p:nvPr userDrawn="1"/>
        </p:nvSpPr>
        <p:spPr bwMode="blackWhite">
          <a:xfrm>
            <a:off x="4939791" y="3537534"/>
            <a:ext cx="6958522" cy="1258804"/>
          </a:xfrm>
          <a:prstGeom prst="rect">
            <a:avLst/>
          </a:prstGeom>
          <a:solidFill>
            <a:schemeClr val="bg1"/>
          </a:solidFill>
          <a:ln>
            <a:noFill/>
            <a:headEnd type="none" w="med" len="med"/>
            <a:tailEnd type="none" w="med" len="med"/>
          </a:ln>
          <a:effectLst>
            <a:outerShdw blurRad="1524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6">
            <a:extLst>
              <a:ext uri="{FF2B5EF4-FFF2-40B4-BE49-F238E27FC236}">
                <a16:creationId xmlns:a16="http://schemas.microsoft.com/office/drawing/2014/main" id="{EBBFAAA6-D94E-4B49-A5B8-95CEB43B2ED7}"/>
              </a:ext>
            </a:extLst>
          </p:cNvPr>
          <p:cNvSpPr>
            <a:spLocks noGrp="1"/>
          </p:cNvSpPr>
          <p:nvPr>
            <p:ph type="body" sz="quarter" idx="13"/>
          </p:nvPr>
        </p:nvSpPr>
        <p:spPr>
          <a:xfrm>
            <a:off x="5449996" y="3810501"/>
            <a:ext cx="5951429" cy="712870"/>
          </a:xfrm>
        </p:spPr>
        <p:txBody>
          <a:bodyPr anchor="ctr" anchorCtr="0">
            <a:normAutofit/>
          </a:bodyPr>
          <a:lstStyle>
            <a:lvl1pPr marL="0" indent="0">
              <a:spcAft>
                <a:spcPts val="1200"/>
              </a:spcAft>
              <a:buNone/>
              <a:defRPr sz="2200"/>
            </a:lvl1pPr>
            <a:lvl2pPr marL="228600" indent="0">
              <a:buNone/>
              <a:defRPr/>
            </a:lvl2pPr>
          </a:lstStyle>
          <a:p>
            <a:pPr lvl="0"/>
            <a:r>
              <a:rPr lang="en-US"/>
              <a:t>Click to edit Master text styles</a:t>
            </a:r>
          </a:p>
        </p:txBody>
      </p:sp>
      <p:sp>
        <p:nvSpPr>
          <p:cNvPr id="15" name="TextBox 14">
            <a:extLst>
              <a:ext uri="{FF2B5EF4-FFF2-40B4-BE49-F238E27FC236}">
                <a16:creationId xmlns:a16="http://schemas.microsoft.com/office/drawing/2014/main" id="{D4A269F0-684E-4F32-8BE3-E614D4454689}"/>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133229347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Demo titl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44332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2454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059C2D13-183F-4D43-BAF2-E6BC2941BF2C}"/>
              </a:ext>
            </a:extLst>
          </p:cNvPr>
          <p:cNvSpPr txBox="1"/>
          <p:nvPr userDrawn="1"/>
        </p:nvSpPr>
        <p:spPr>
          <a:xfrm>
            <a:off x="5175876" y="6605851"/>
            <a:ext cx="1840247"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00" normalizeH="0" noProof="0">
                <a:ln>
                  <a:noFill/>
                </a:ln>
                <a:solidFill>
                  <a:schemeClr val="accent5"/>
                </a:solidFill>
                <a:effectLst/>
                <a:uLnTx/>
                <a:uFillTx/>
                <a:latin typeface="Segoe UI" panose="020B0502040204020203" pitchFamily="34" charset="0"/>
                <a:ea typeface="+mn-ea"/>
                <a:cs typeface="Segoe UI" panose="020B0502040204020203" pitchFamily="34" charset="0"/>
              </a:rPr>
              <a:t>MICROSOFT CONFIDENTIAL</a:t>
            </a:r>
          </a:p>
        </p:txBody>
      </p:sp>
    </p:spTree>
    <p:extLst>
      <p:ext uri="{BB962C8B-B14F-4D97-AF65-F5344CB8AC3E}">
        <p14:creationId xmlns:p14="http://schemas.microsoft.com/office/powerpoint/2010/main" val="2893966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9337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1003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losing logo (blue)">
    <p:bg>
      <p:bgPr>
        <a:solidFill>
          <a:schemeClr val="bg2"/>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7919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64627066"/>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0/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0071781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9093916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1253677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5888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1212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88022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04996"/>
          </a:xfrm>
        </p:spPr>
        <p:txBody>
          <a:bodyPr>
            <a:spAutoFit/>
          </a:bodyPr>
          <a:lstStyle>
            <a:lvl1pPr>
              <a:lnSpc>
                <a:spcPct val="100000"/>
              </a:lnSpc>
              <a:spcBef>
                <a:spcPts val="588"/>
              </a:spcBef>
              <a:spcAft>
                <a:spcPts val="0"/>
              </a:spcAft>
              <a:defRPr sz="3137">
                <a:solidFill>
                  <a:schemeClr val="tx1"/>
                </a:solidFill>
                <a:latin typeface="+mj-lt"/>
              </a:defRPr>
            </a:lvl1pPr>
            <a:lvl2pPr>
              <a:lnSpc>
                <a:spcPct val="100000"/>
              </a:lnSpc>
              <a:spcBef>
                <a:spcPts val="588"/>
              </a:spcBef>
              <a:spcAft>
                <a:spcPts val="0"/>
              </a:spcAft>
              <a:defRPr sz="1961">
                <a:latin typeface="+mn-lt"/>
              </a:defRPr>
            </a:lvl2pPr>
            <a:lvl3pPr>
              <a:lnSpc>
                <a:spcPct val="100000"/>
              </a:lnSpc>
              <a:spcBef>
                <a:spcPts val="588"/>
              </a:spcBef>
              <a:spcAft>
                <a:spcPts val="0"/>
              </a:spcAft>
              <a:defRPr sz="1765">
                <a:latin typeface="+mn-lt"/>
              </a:defRPr>
            </a:lvl3pPr>
            <a:lvl4pPr>
              <a:lnSpc>
                <a:spcPct val="100000"/>
              </a:lnSpc>
              <a:spcBef>
                <a:spcPts val="588"/>
              </a:spcBef>
              <a:spcAft>
                <a:spcPts val="0"/>
              </a:spcAft>
              <a:defRPr sz="1568">
                <a:latin typeface="+mn-lt"/>
              </a:defRPr>
            </a:lvl4pPr>
            <a:lvl5pPr>
              <a:lnSpc>
                <a:spcPct val="100000"/>
              </a:lnSpc>
              <a:spcBef>
                <a:spcPts val="588"/>
              </a:spcBef>
              <a:spcAft>
                <a:spcPts val="0"/>
              </a:spcAft>
              <a:defRPr sz="1372">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p:cNvSpPr>
            <a:spLocks noGrp="1"/>
          </p:cNvSpPr>
          <p:nvPr>
            <p:ph type="title"/>
          </p:nvPr>
        </p:nvSpPr>
        <p:spPr/>
        <p:txBody>
          <a:bodyPr/>
          <a:lstStyle>
            <a:lvl1pPr>
              <a:defRPr sz="3529"/>
            </a:lvl1pPr>
          </a:lstStyle>
          <a:p>
            <a:r>
              <a:rPr lang="en-US"/>
              <a:t>Click to edit Master title style</a:t>
            </a:r>
          </a:p>
        </p:txBody>
      </p:sp>
    </p:spTree>
    <p:extLst>
      <p:ext uri="{BB962C8B-B14F-4D97-AF65-F5344CB8AC3E}">
        <p14:creationId xmlns:p14="http://schemas.microsoft.com/office/powerpoint/2010/main" val="2282205305"/>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ver_Slide">
    <p:bg>
      <p:bgPr>
        <a:solidFill>
          <a:srgbClr val="012F91"/>
        </a:solidFill>
        <a:effectLst/>
      </p:bgPr>
    </p:bg>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58DEF3CF-186E-472B-95A9-1E6C05D757E2}"/>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grpSp>
        <p:nvGrpSpPr>
          <p:cNvPr id="8" name="Group 7">
            <a:extLst>
              <a:ext uri="{FF2B5EF4-FFF2-40B4-BE49-F238E27FC236}">
                <a16:creationId xmlns:a16="http://schemas.microsoft.com/office/drawing/2014/main" id="{525D4CFF-1446-FFBE-1466-D4351AB13508}"/>
              </a:ext>
            </a:extLst>
          </p:cNvPr>
          <p:cNvGrpSpPr/>
          <p:nvPr userDrawn="1"/>
        </p:nvGrpSpPr>
        <p:grpSpPr>
          <a:xfrm>
            <a:off x="572157" y="3180907"/>
            <a:ext cx="11047688" cy="1630224"/>
            <a:chOff x="686588" y="3817089"/>
            <a:chExt cx="13257225" cy="1956268"/>
          </a:xfrm>
        </p:grpSpPr>
        <p:grpSp>
          <p:nvGrpSpPr>
            <p:cNvPr id="18" name="Group 17">
              <a:extLst>
                <a:ext uri="{FF2B5EF4-FFF2-40B4-BE49-F238E27FC236}">
                  <a16:creationId xmlns:a16="http://schemas.microsoft.com/office/drawing/2014/main" id="{657E4B52-2B11-4561-89C7-74FBEE0B3006}"/>
                </a:ext>
              </a:extLst>
            </p:cNvPr>
            <p:cNvGrpSpPr/>
            <p:nvPr userDrawn="1"/>
          </p:nvGrpSpPr>
          <p:grpSpPr>
            <a:xfrm>
              <a:off x="686588" y="3817089"/>
              <a:ext cx="13257225" cy="1956268"/>
              <a:chOff x="777752" y="3817089"/>
              <a:chExt cx="13257225" cy="1956268"/>
            </a:xfrm>
          </p:grpSpPr>
          <p:sp>
            <p:nvSpPr>
              <p:cNvPr id="9" name="TextBox 8">
                <a:extLst>
                  <a:ext uri="{FF2B5EF4-FFF2-40B4-BE49-F238E27FC236}">
                    <a16:creationId xmlns:a16="http://schemas.microsoft.com/office/drawing/2014/main" id="{696087DC-5935-467F-9230-92AFDFF3D77F}"/>
                  </a:ext>
                </a:extLst>
              </p:cNvPr>
              <p:cNvSpPr txBox="1"/>
              <p:nvPr userDrawn="1"/>
            </p:nvSpPr>
            <p:spPr>
              <a:xfrm>
                <a:off x="777752" y="3817089"/>
                <a:ext cx="13257225" cy="1034129"/>
              </a:xfrm>
              <a:prstGeom prst="rect">
                <a:avLst/>
              </a:prstGeom>
              <a:noFill/>
            </p:spPr>
            <p:txBody>
              <a:bodyPr wrap="square">
                <a:spAutoFit/>
              </a:bodyPr>
              <a:lstStyle/>
              <a:p>
                <a:pPr algn="ctr"/>
                <a:r>
                  <a:rPr lang="en-IN" sz="5000" b="1" i="0" u="none" strike="noStrike" baseline="0" dirty="0">
                    <a:solidFill>
                      <a:schemeClr val="bg1"/>
                    </a:solidFill>
                    <a:latin typeface="Poppins" pitchFamily="2" charset="77"/>
                    <a:cs typeface="Poppins" pitchFamily="2" charset="77"/>
                  </a:rPr>
                  <a:t> Az COMMUNITY</a:t>
                </a:r>
                <a:endParaRPr lang="en-IN" sz="19916" b="1" dirty="0">
                  <a:solidFill>
                    <a:schemeClr val="bg1"/>
                  </a:solidFill>
                  <a:latin typeface="Poppins" pitchFamily="2" charset="77"/>
                  <a:cs typeface="Poppins" pitchFamily="2" charset="77"/>
                </a:endParaRPr>
              </a:p>
            </p:txBody>
          </p:sp>
          <p:sp>
            <p:nvSpPr>
              <p:cNvPr id="10" name="TextBox 9">
                <a:extLst>
                  <a:ext uri="{FF2B5EF4-FFF2-40B4-BE49-F238E27FC236}">
                    <a16:creationId xmlns:a16="http://schemas.microsoft.com/office/drawing/2014/main" id="{3FC10824-1FC6-40DE-B68C-D18496CA8FB6}"/>
                  </a:ext>
                </a:extLst>
              </p:cNvPr>
              <p:cNvSpPr txBox="1"/>
              <p:nvPr userDrawn="1"/>
            </p:nvSpPr>
            <p:spPr>
              <a:xfrm>
                <a:off x="3234249" y="4739150"/>
                <a:ext cx="8344230" cy="541610"/>
              </a:xfrm>
              <a:prstGeom prst="rect">
                <a:avLst/>
              </a:prstGeom>
              <a:noFill/>
            </p:spPr>
            <p:txBody>
              <a:bodyPr wrap="square">
                <a:spAutoFit/>
              </a:bodyPr>
              <a:lstStyle/>
              <a:p>
                <a:pPr algn="ctr"/>
                <a:r>
                  <a:rPr lang="en-IN" sz="2333" b="0" i="0" u="none" strike="noStrike" baseline="0" dirty="0">
                    <a:solidFill>
                      <a:schemeClr val="bg1"/>
                    </a:solidFill>
                    <a:latin typeface="Poppins" pitchFamily="2" charset="77"/>
                    <a:cs typeface="Poppins" pitchFamily="2" charset="77"/>
                  </a:rPr>
                  <a:t>Conference 2022</a:t>
                </a:r>
                <a:endParaRPr lang="en-US" sz="2333" b="0" i="1" dirty="0">
                  <a:solidFill>
                    <a:schemeClr val="bg1"/>
                  </a:solidFill>
                  <a:latin typeface="Poppins" pitchFamily="2" charset="77"/>
                  <a:cs typeface="Poppins" pitchFamily="2" charset="77"/>
                </a:endParaRPr>
              </a:p>
            </p:txBody>
          </p:sp>
          <p:sp>
            <p:nvSpPr>
              <p:cNvPr id="11" name="TextBox 10">
                <a:extLst>
                  <a:ext uri="{FF2B5EF4-FFF2-40B4-BE49-F238E27FC236}">
                    <a16:creationId xmlns:a16="http://schemas.microsoft.com/office/drawing/2014/main" id="{44A1878D-F88B-F745-2DA9-1C187E86CEDB}"/>
                  </a:ext>
                </a:extLst>
              </p:cNvPr>
              <p:cNvSpPr txBox="1"/>
              <p:nvPr userDrawn="1"/>
            </p:nvSpPr>
            <p:spPr>
              <a:xfrm>
                <a:off x="3234249" y="5354703"/>
                <a:ext cx="8344230" cy="418654"/>
              </a:xfrm>
              <a:prstGeom prst="rect">
                <a:avLst/>
              </a:prstGeom>
              <a:noFill/>
            </p:spPr>
            <p:txBody>
              <a:bodyPr wrap="square">
                <a:spAutoFit/>
              </a:bodyPr>
              <a:lstStyle/>
              <a:p>
                <a:pPr algn="ctr"/>
                <a:r>
                  <a:rPr lang="en-IN" sz="1667" b="0" i="0" u="none" strike="noStrike" baseline="0" dirty="0">
                    <a:solidFill>
                      <a:schemeClr val="bg1"/>
                    </a:solidFill>
                    <a:latin typeface="Poppins Light" pitchFamily="2" charset="77"/>
                    <a:cs typeface="Poppins Light" pitchFamily="2" charset="77"/>
                  </a:rPr>
                  <a:t>Asia’s Largest Azure Community Conference</a:t>
                </a:r>
                <a:endParaRPr lang="en-US" sz="1667" b="0" i="0" dirty="0">
                  <a:solidFill>
                    <a:schemeClr val="bg1"/>
                  </a:solidFill>
                  <a:latin typeface="Poppins Light" pitchFamily="2" charset="77"/>
                  <a:cs typeface="Poppins Light" pitchFamily="2" charset="77"/>
                </a:endParaRPr>
              </a:p>
            </p:txBody>
          </p:sp>
        </p:grpSp>
        <p:cxnSp>
          <p:nvCxnSpPr>
            <p:cNvPr id="6" name="Straight Connector 5">
              <a:extLst>
                <a:ext uri="{FF2B5EF4-FFF2-40B4-BE49-F238E27FC236}">
                  <a16:creationId xmlns:a16="http://schemas.microsoft.com/office/drawing/2014/main" id="{4A13910C-C961-C1A2-7B55-871C4565BEB5}"/>
                </a:ext>
              </a:extLst>
            </p:cNvPr>
            <p:cNvCxnSpPr/>
            <p:nvPr userDrawn="1"/>
          </p:nvCxnSpPr>
          <p:spPr>
            <a:xfrm>
              <a:off x="4654550" y="5058431"/>
              <a:ext cx="833718"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D8C85C7-F559-B3F4-8497-19B59ACF0951}"/>
                </a:ext>
              </a:extLst>
            </p:cNvPr>
            <p:cNvCxnSpPr/>
            <p:nvPr userDrawn="1"/>
          </p:nvCxnSpPr>
          <p:spPr>
            <a:xfrm>
              <a:off x="9065185" y="5058431"/>
              <a:ext cx="833718"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14" name="Picture 13">
            <a:extLst>
              <a:ext uri="{FF2B5EF4-FFF2-40B4-BE49-F238E27FC236}">
                <a16:creationId xmlns:a16="http://schemas.microsoft.com/office/drawing/2014/main" id="{E8D3B0CC-234F-FE6F-6748-9A210C9DCC2B}"/>
              </a:ext>
            </a:extLst>
          </p:cNvPr>
          <p:cNvPicPr>
            <a:picLocks noChangeAspect="1"/>
          </p:cNvPicPr>
          <p:nvPr userDrawn="1"/>
        </p:nvPicPr>
        <p:blipFill>
          <a:blip r:embed="rId2"/>
          <a:stretch>
            <a:fillRect/>
          </a:stretch>
        </p:blipFill>
        <p:spPr>
          <a:xfrm>
            <a:off x="5007785" y="1005798"/>
            <a:ext cx="1906245" cy="1579460"/>
          </a:xfrm>
          <a:prstGeom prst="rect">
            <a:avLst/>
          </a:prstGeom>
        </p:spPr>
      </p:pic>
      <p:pic>
        <p:nvPicPr>
          <p:cNvPr id="16" name="Picture 15">
            <a:extLst>
              <a:ext uri="{FF2B5EF4-FFF2-40B4-BE49-F238E27FC236}">
                <a16:creationId xmlns:a16="http://schemas.microsoft.com/office/drawing/2014/main" id="{6A91F16C-3C79-6733-1250-EA38D1942226}"/>
              </a:ext>
            </a:extLst>
          </p:cNvPr>
          <p:cNvPicPr>
            <a:picLocks noChangeAspect="1"/>
          </p:cNvPicPr>
          <p:nvPr userDrawn="1"/>
        </p:nvPicPr>
        <p:blipFill>
          <a:blip r:embed="rId3"/>
          <a:stretch>
            <a:fillRect/>
          </a:stretch>
        </p:blipFill>
        <p:spPr>
          <a:xfrm>
            <a:off x="0" y="-20786"/>
            <a:ext cx="3302000" cy="2053167"/>
          </a:xfrm>
          <a:prstGeom prst="rect">
            <a:avLst/>
          </a:prstGeom>
        </p:spPr>
      </p:pic>
      <p:pic>
        <p:nvPicPr>
          <p:cNvPr id="17" name="Picture 16">
            <a:extLst>
              <a:ext uri="{FF2B5EF4-FFF2-40B4-BE49-F238E27FC236}">
                <a16:creationId xmlns:a16="http://schemas.microsoft.com/office/drawing/2014/main" id="{E6A11A65-9DBF-5173-D8BB-80230607B428}"/>
              </a:ext>
            </a:extLst>
          </p:cNvPr>
          <p:cNvPicPr>
            <a:picLocks noChangeAspect="1"/>
          </p:cNvPicPr>
          <p:nvPr userDrawn="1"/>
        </p:nvPicPr>
        <p:blipFill>
          <a:blip r:embed="rId4"/>
          <a:stretch>
            <a:fillRect/>
          </a:stretch>
        </p:blipFill>
        <p:spPr>
          <a:xfrm>
            <a:off x="8805333" y="4795677"/>
            <a:ext cx="3386667" cy="2095500"/>
          </a:xfrm>
          <a:prstGeom prst="rect">
            <a:avLst/>
          </a:prstGeom>
        </p:spPr>
      </p:pic>
    </p:spTree>
    <p:extLst>
      <p:ext uri="{BB962C8B-B14F-4D97-AF65-F5344CB8AC3E}">
        <p14:creationId xmlns:p14="http://schemas.microsoft.com/office/powerpoint/2010/main" val="2165785411"/>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peaker_Slide1">
    <p:spTree>
      <p:nvGrpSpPr>
        <p:cNvPr id="1" name=""/>
        <p:cNvGrpSpPr/>
        <p:nvPr/>
      </p:nvGrpSpPr>
      <p:grpSpPr>
        <a:xfrm>
          <a:off x="0" y="0"/>
          <a:ext cx="0" cy="0"/>
          <a:chOff x="0" y="0"/>
          <a:chExt cx="0" cy="0"/>
        </a:xfrm>
      </p:grpSpPr>
      <p:sp>
        <p:nvSpPr>
          <p:cNvPr id="35" name="Title 1"/>
          <p:cNvSpPr>
            <a:spLocks noGrp="1"/>
          </p:cNvSpPr>
          <p:nvPr>
            <p:ph type="title" hasCustomPrompt="1"/>
          </p:nvPr>
        </p:nvSpPr>
        <p:spPr>
          <a:xfrm>
            <a:off x="5210093" y="2786265"/>
            <a:ext cx="5725729" cy="561585"/>
          </a:xfrm>
          <a:prstGeom prst="rect">
            <a:avLst/>
          </a:prstGeom>
          <a:noFill/>
        </p:spPr>
        <p:txBody>
          <a:bodyPr wrap="square" lIns="0" tIns="0" rIns="0" bIns="0" anchor="b" anchorCtr="0">
            <a:spAutoFit/>
          </a:bodyPr>
          <a:lstStyle>
            <a:lvl1pPr>
              <a:defRPr sz="3600" spc="-50" baseline="0">
                <a:solidFill>
                  <a:srgbClr val="9BF00B"/>
                </a:solidFill>
                <a:latin typeface="+mj-lt"/>
                <a:cs typeface="Segoe UI" panose="020B0502040204020203" pitchFamily="34" charset="0"/>
              </a:defRPr>
            </a:lvl1pPr>
          </a:lstStyle>
          <a:p>
            <a:r>
              <a:rPr lang="en-US" dirty="0"/>
              <a:t>INSERT SPEAKER NAME</a:t>
            </a:r>
          </a:p>
        </p:txBody>
      </p:sp>
      <p:sp>
        <p:nvSpPr>
          <p:cNvPr id="36" name="Text Placeholder 4"/>
          <p:cNvSpPr>
            <a:spLocks noGrp="1"/>
          </p:cNvSpPr>
          <p:nvPr>
            <p:ph type="body" sz="quarter" idx="12" hasCustomPrompt="1"/>
          </p:nvPr>
        </p:nvSpPr>
        <p:spPr>
          <a:xfrm>
            <a:off x="5210093" y="3750391"/>
            <a:ext cx="4572000" cy="307777"/>
          </a:xfrm>
          <a:prstGeom prst="rect">
            <a:avLst/>
          </a:prstGeo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dirty="0"/>
              <a:t>Speaker Designation</a:t>
            </a:r>
          </a:p>
        </p:txBody>
      </p:sp>
      <p:sp>
        <p:nvSpPr>
          <p:cNvPr id="37" name="Picture Placeholder 2"/>
          <p:cNvSpPr>
            <a:spLocks noGrp="1"/>
          </p:cNvSpPr>
          <p:nvPr>
            <p:ph type="pic" sz="quarter" idx="10"/>
          </p:nvPr>
        </p:nvSpPr>
        <p:spPr>
          <a:xfrm>
            <a:off x="2449720" y="2043885"/>
            <a:ext cx="2607931" cy="2607931"/>
          </a:xfrm>
          <a:prstGeom prst="rect">
            <a:avLst/>
          </a:prstGeom>
        </p:spPr>
        <p:txBody>
          <a:bodyPr/>
          <a:lstStyle>
            <a:lvl1pPr>
              <a:defRPr b="0" cap="none" spc="0">
                <a:ln>
                  <a:noFill/>
                </a:ln>
                <a:solidFill>
                  <a:schemeClr val="bg1"/>
                </a:solidFill>
                <a:effectLst/>
              </a:defRPr>
            </a:lvl1pPr>
          </a:lstStyle>
          <a:p>
            <a:endParaRPr lang="en-IN" dirty="0"/>
          </a:p>
        </p:txBody>
      </p:sp>
      <p:pic>
        <p:nvPicPr>
          <p:cNvPr id="40"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2"/>
          <a:stretch>
            <a:fillRect/>
          </a:stretch>
        </p:blipFill>
        <p:spPr bwMode="black">
          <a:xfrm>
            <a:off x="12607123" y="6224772"/>
            <a:ext cx="1515394" cy="324552"/>
          </a:xfrm>
          <a:prstGeom prst="rect">
            <a:avLst/>
          </a:prstGeom>
        </p:spPr>
      </p:pic>
      <p:sp>
        <p:nvSpPr>
          <p:cNvPr id="10" name="Rectangle 9">
            <a:extLst>
              <a:ext uri="{FF2B5EF4-FFF2-40B4-BE49-F238E27FC236}">
                <a16:creationId xmlns:a16="http://schemas.microsoft.com/office/drawing/2014/main" id="{A8AF06C1-28F8-477E-8F79-B654DA2C6B6B}"/>
              </a:ext>
            </a:extLst>
          </p:cNvPr>
          <p:cNvSpPr/>
          <p:nvPr userDrawn="1"/>
        </p:nvSpPr>
        <p:spPr>
          <a:xfrm>
            <a:off x="5210093" y="3504604"/>
            <a:ext cx="4922635" cy="29678"/>
          </a:xfrm>
          <a:prstGeom prst="rect">
            <a:avLst/>
          </a:prstGeom>
          <a:solidFill>
            <a:srgbClr val="9BF00B"/>
          </a:solidFill>
          <a:ln>
            <a:solidFill>
              <a:srgbClr val="9BF00B"/>
            </a:solidFill>
          </a:ln>
        </p:spPr>
        <p:style>
          <a:lnRef idx="2">
            <a:schemeClr val="accent1">
              <a:shade val="50000"/>
            </a:schemeClr>
          </a:lnRef>
          <a:fillRef idx="1">
            <a:schemeClr val="accent1"/>
          </a:fillRef>
          <a:effectRef idx="0">
            <a:schemeClr val="accent1"/>
          </a:effectRef>
          <a:fontRef idx="minor">
            <a:schemeClr val="lt1"/>
          </a:fontRef>
        </p:style>
        <p:txBody>
          <a:bodyPr lIns="130888" tIns="65444" rIns="130888" bIns="65444" rtlCol="0" anchor="ctr"/>
          <a:lstStyle/>
          <a:p>
            <a:pPr algn="ctr"/>
            <a:endParaRPr lang="en-IN" sz="1500">
              <a:solidFill>
                <a:srgbClr val="9BF00B"/>
              </a:solidFill>
            </a:endParaRPr>
          </a:p>
        </p:txBody>
      </p:sp>
      <p:pic>
        <p:nvPicPr>
          <p:cNvPr id="2" name="Picture 1">
            <a:extLst>
              <a:ext uri="{FF2B5EF4-FFF2-40B4-BE49-F238E27FC236}">
                <a16:creationId xmlns:a16="http://schemas.microsoft.com/office/drawing/2014/main" id="{C9479E0C-A6B5-5CB6-79A9-863A3C3DA508}"/>
              </a:ext>
            </a:extLst>
          </p:cNvPr>
          <p:cNvPicPr>
            <a:picLocks noChangeAspect="1"/>
          </p:cNvPicPr>
          <p:nvPr userDrawn="1"/>
        </p:nvPicPr>
        <p:blipFill>
          <a:blip r:embed="rId3"/>
          <a:stretch>
            <a:fillRect/>
          </a:stretch>
        </p:blipFill>
        <p:spPr>
          <a:xfrm>
            <a:off x="10533530" y="-33617"/>
            <a:ext cx="1381997" cy="1688188"/>
          </a:xfrm>
          <a:prstGeom prst="rect">
            <a:avLst/>
          </a:prstGeom>
        </p:spPr>
      </p:pic>
      <p:pic>
        <p:nvPicPr>
          <p:cNvPr id="3" name="Picture 2">
            <a:extLst>
              <a:ext uri="{FF2B5EF4-FFF2-40B4-BE49-F238E27FC236}">
                <a16:creationId xmlns:a16="http://schemas.microsoft.com/office/drawing/2014/main" id="{DA5B878A-8061-138A-9124-1AA8074E653A}"/>
              </a:ext>
            </a:extLst>
          </p:cNvPr>
          <p:cNvPicPr>
            <a:picLocks noChangeAspect="1"/>
          </p:cNvPicPr>
          <p:nvPr userDrawn="1"/>
        </p:nvPicPr>
        <p:blipFill>
          <a:blip r:embed="rId4"/>
          <a:stretch>
            <a:fillRect/>
          </a:stretch>
        </p:blipFill>
        <p:spPr>
          <a:xfrm>
            <a:off x="0" y="-20786"/>
            <a:ext cx="3302000" cy="2053167"/>
          </a:xfrm>
          <a:prstGeom prst="rect">
            <a:avLst/>
          </a:prstGeom>
        </p:spPr>
      </p:pic>
      <p:pic>
        <p:nvPicPr>
          <p:cNvPr id="4" name="Picture 3">
            <a:extLst>
              <a:ext uri="{FF2B5EF4-FFF2-40B4-BE49-F238E27FC236}">
                <a16:creationId xmlns:a16="http://schemas.microsoft.com/office/drawing/2014/main" id="{DD54E03D-C176-BB2F-41A1-61B913E9D530}"/>
              </a:ext>
            </a:extLst>
          </p:cNvPr>
          <p:cNvPicPr>
            <a:picLocks noChangeAspect="1"/>
          </p:cNvPicPr>
          <p:nvPr userDrawn="1"/>
        </p:nvPicPr>
        <p:blipFill>
          <a:blip r:embed="rId5"/>
          <a:stretch>
            <a:fillRect/>
          </a:stretch>
        </p:blipFill>
        <p:spPr>
          <a:xfrm>
            <a:off x="8805333" y="4795677"/>
            <a:ext cx="3386667" cy="2095500"/>
          </a:xfrm>
          <a:prstGeom prst="rect">
            <a:avLst/>
          </a:prstGeom>
        </p:spPr>
      </p:pic>
      <p:sp>
        <p:nvSpPr>
          <p:cNvPr id="5" name="TextBox 4">
            <a:extLst>
              <a:ext uri="{FF2B5EF4-FFF2-40B4-BE49-F238E27FC236}">
                <a16:creationId xmlns:a16="http://schemas.microsoft.com/office/drawing/2014/main" id="{4E835E6B-BBCA-F8A3-75AF-E2CC1ACF76B8}"/>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spTree>
    <p:extLst>
      <p:ext uri="{BB962C8B-B14F-4D97-AF65-F5344CB8AC3E}">
        <p14:creationId xmlns:p14="http://schemas.microsoft.com/office/powerpoint/2010/main" val="1817595339"/>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_session_title and Speakers name">
    <p:spTree>
      <p:nvGrpSpPr>
        <p:cNvPr id="1" name=""/>
        <p:cNvGrpSpPr/>
        <p:nvPr/>
      </p:nvGrpSpPr>
      <p:grpSpPr>
        <a:xfrm>
          <a:off x="0" y="0"/>
          <a:ext cx="0" cy="0"/>
          <a:chOff x="0" y="0"/>
          <a:chExt cx="0" cy="0"/>
        </a:xfrm>
      </p:grpSpPr>
      <p:pic>
        <p:nvPicPr>
          <p:cNvPr id="40"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2"/>
          <a:stretch>
            <a:fillRect/>
          </a:stretch>
        </p:blipFill>
        <p:spPr bwMode="black">
          <a:xfrm>
            <a:off x="12607123" y="6224772"/>
            <a:ext cx="1515394" cy="324552"/>
          </a:xfrm>
          <a:prstGeom prst="rect">
            <a:avLst/>
          </a:prstGeom>
        </p:spPr>
      </p:pic>
      <p:sp>
        <p:nvSpPr>
          <p:cNvPr id="14" name="Title 1">
            <a:extLst>
              <a:ext uri="{FF2B5EF4-FFF2-40B4-BE49-F238E27FC236}">
                <a16:creationId xmlns:a16="http://schemas.microsoft.com/office/drawing/2014/main" id="{BA80D204-AA27-4BBD-BBCA-179B38FA2E15}"/>
              </a:ext>
            </a:extLst>
          </p:cNvPr>
          <p:cNvSpPr>
            <a:spLocks noGrp="1"/>
          </p:cNvSpPr>
          <p:nvPr>
            <p:ph type="title" hasCustomPrompt="1"/>
          </p:nvPr>
        </p:nvSpPr>
        <p:spPr>
          <a:xfrm>
            <a:off x="1819317" y="2831228"/>
            <a:ext cx="9144000" cy="561585"/>
          </a:xfrm>
          <a:prstGeom prst="rect">
            <a:avLst/>
          </a:prstGeom>
          <a:noFill/>
        </p:spPr>
        <p:txBody>
          <a:bodyPr lIns="0" tIns="0" rIns="0" bIns="0" anchor="b" anchorCtr="0">
            <a:spAutoFit/>
          </a:bodyPr>
          <a:lstStyle>
            <a:lvl1pPr>
              <a:defRPr sz="3600" spc="-50" baseline="0">
                <a:solidFill>
                  <a:srgbClr val="9BF00B"/>
                </a:solidFill>
                <a:latin typeface="+mj-lt"/>
                <a:cs typeface="Segoe UI" panose="020B0502040204020203" pitchFamily="34" charset="0"/>
              </a:defRPr>
            </a:lvl1pPr>
          </a:lstStyle>
          <a:p>
            <a:r>
              <a:rPr lang="en-US" dirty="0"/>
              <a:t>Event name or presentation title </a:t>
            </a:r>
          </a:p>
        </p:txBody>
      </p:sp>
      <p:sp>
        <p:nvSpPr>
          <p:cNvPr id="15" name="Text Placeholder 4">
            <a:extLst>
              <a:ext uri="{FF2B5EF4-FFF2-40B4-BE49-F238E27FC236}">
                <a16:creationId xmlns:a16="http://schemas.microsoft.com/office/drawing/2014/main" id="{E165C242-C706-4D94-AC69-527037CF2A09}"/>
              </a:ext>
            </a:extLst>
          </p:cNvPr>
          <p:cNvSpPr>
            <a:spLocks noGrp="1"/>
          </p:cNvSpPr>
          <p:nvPr>
            <p:ph type="body" sz="quarter" idx="12" hasCustomPrompt="1"/>
          </p:nvPr>
        </p:nvSpPr>
        <p:spPr>
          <a:xfrm>
            <a:off x="1819317" y="3821438"/>
            <a:ext cx="9144000" cy="307777"/>
          </a:xfrm>
          <a:prstGeom prst="rect">
            <a:avLst/>
          </a:prstGeom>
          <a:noFill/>
        </p:spPr>
        <p:txBody>
          <a:bodyPr wrap="square" lIns="0" tIns="0" rIns="0" bIns="0">
            <a:spAutoFit/>
          </a:bodyPr>
          <a:lstStyle>
            <a:lvl1pPr marL="0" indent="0">
              <a:spcBef>
                <a:spcPts val="0"/>
              </a:spcBef>
              <a:buNone/>
              <a:defRPr sz="2000" spc="0" baseline="0">
                <a:solidFill>
                  <a:srgbClr val="FFFFFF"/>
                </a:solidFill>
                <a:latin typeface="+mn-lt"/>
                <a:cs typeface="Segoe UI" panose="020B0502040204020203" pitchFamily="34" charset="0"/>
              </a:defRPr>
            </a:lvl1pPr>
          </a:lstStyle>
          <a:p>
            <a:pPr lvl="0"/>
            <a:r>
              <a:rPr lang="en-US" dirty="0"/>
              <a:t>Speaker name or subtitle text</a:t>
            </a:r>
          </a:p>
        </p:txBody>
      </p:sp>
      <p:pic>
        <p:nvPicPr>
          <p:cNvPr id="2" name="Picture 1">
            <a:extLst>
              <a:ext uri="{FF2B5EF4-FFF2-40B4-BE49-F238E27FC236}">
                <a16:creationId xmlns:a16="http://schemas.microsoft.com/office/drawing/2014/main" id="{3754ED74-435A-3CBE-021F-D45AC904E2CA}"/>
              </a:ext>
            </a:extLst>
          </p:cNvPr>
          <p:cNvPicPr>
            <a:picLocks noChangeAspect="1"/>
          </p:cNvPicPr>
          <p:nvPr userDrawn="1"/>
        </p:nvPicPr>
        <p:blipFill>
          <a:blip r:embed="rId3"/>
          <a:stretch>
            <a:fillRect/>
          </a:stretch>
        </p:blipFill>
        <p:spPr>
          <a:xfrm>
            <a:off x="10533530" y="-33617"/>
            <a:ext cx="1381997" cy="1688188"/>
          </a:xfrm>
          <a:prstGeom prst="rect">
            <a:avLst/>
          </a:prstGeom>
        </p:spPr>
      </p:pic>
      <p:pic>
        <p:nvPicPr>
          <p:cNvPr id="3" name="Picture 2">
            <a:extLst>
              <a:ext uri="{FF2B5EF4-FFF2-40B4-BE49-F238E27FC236}">
                <a16:creationId xmlns:a16="http://schemas.microsoft.com/office/drawing/2014/main" id="{590D26F4-2C47-6052-AA5C-E30B408989E6}"/>
              </a:ext>
            </a:extLst>
          </p:cNvPr>
          <p:cNvPicPr>
            <a:picLocks noChangeAspect="1"/>
          </p:cNvPicPr>
          <p:nvPr userDrawn="1"/>
        </p:nvPicPr>
        <p:blipFill>
          <a:blip r:embed="rId4"/>
          <a:stretch>
            <a:fillRect/>
          </a:stretch>
        </p:blipFill>
        <p:spPr>
          <a:xfrm>
            <a:off x="0" y="-20786"/>
            <a:ext cx="3302000" cy="2053167"/>
          </a:xfrm>
          <a:prstGeom prst="rect">
            <a:avLst/>
          </a:prstGeom>
        </p:spPr>
      </p:pic>
      <p:pic>
        <p:nvPicPr>
          <p:cNvPr id="4" name="Picture 3">
            <a:extLst>
              <a:ext uri="{FF2B5EF4-FFF2-40B4-BE49-F238E27FC236}">
                <a16:creationId xmlns:a16="http://schemas.microsoft.com/office/drawing/2014/main" id="{A8A9032D-C234-7DB1-9C40-828D753C280A}"/>
              </a:ext>
            </a:extLst>
          </p:cNvPr>
          <p:cNvPicPr>
            <a:picLocks noChangeAspect="1"/>
          </p:cNvPicPr>
          <p:nvPr userDrawn="1"/>
        </p:nvPicPr>
        <p:blipFill>
          <a:blip r:embed="rId5"/>
          <a:stretch>
            <a:fillRect/>
          </a:stretch>
        </p:blipFill>
        <p:spPr>
          <a:xfrm>
            <a:off x="8805333" y="4795677"/>
            <a:ext cx="3386667" cy="2095500"/>
          </a:xfrm>
          <a:prstGeom prst="rect">
            <a:avLst/>
          </a:prstGeom>
        </p:spPr>
      </p:pic>
      <p:sp>
        <p:nvSpPr>
          <p:cNvPr id="5" name="TextBox 4">
            <a:extLst>
              <a:ext uri="{FF2B5EF4-FFF2-40B4-BE49-F238E27FC236}">
                <a16:creationId xmlns:a16="http://schemas.microsoft.com/office/drawing/2014/main" id="{8CAD33D4-6500-F717-491B-95E5B0CCB471}"/>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spTree>
    <p:extLst>
      <p:ext uri="{BB962C8B-B14F-4D97-AF65-F5344CB8AC3E}">
        <p14:creationId xmlns:p14="http://schemas.microsoft.com/office/powerpoint/2010/main" val="3376350144"/>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_Title slide with blue Windows logo on white backgroun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7E2EE96-CAD6-46F7-AEB7-00C81021CC84}"/>
              </a:ext>
            </a:extLst>
          </p:cNvPr>
          <p:cNvSpPr>
            <a:spLocks noGrp="1"/>
          </p:cNvSpPr>
          <p:nvPr>
            <p:ph type="title" hasCustomPrompt="1"/>
          </p:nvPr>
        </p:nvSpPr>
        <p:spPr>
          <a:xfrm>
            <a:off x="666859" y="638365"/>
            <a:ext cx="2694105" cy="498598"/>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3600" b="0" kern="1200" cap="none" spc="-50" baseline="0" dirty="0">
                <a:ln w="3175">
                  <a:noFill/>
                </a:ln>
                <a:solidFill>
                  <a:srgbClr val="9BF00B"/>
                </a:solidFill>
                <a:effectLst/>
                <a:latin typeface="+mj-lt"/>
                <a:ea typeface="+mn-ea"/>
                <a:cs typeface="Segoe UI" pitchFamily="34" charset="0"/>
              </a:defRPr>
            </a:lvl1pPr>
          </a:lstStyle>
          <a:p>
            <a:r>
              <a:rPr lang="en-US" dirty="0"/>
              <a:t>Title </a:t>
            </a:r>
          </a:p>
        </p:txBody>
      </p:sp>
      <p:sp>
        <p:nvSpPr>
          <p:cNvPr id="9" name="Text Placeholder 4">
            <a:extLst>
              <a:ext uri="{FF2B5EF4-FFF2-40B4-BE49-F238E27FC236}">
                <a16:creationId xmlns:a16="http://schemas.microsoft.com/office/drawing/2014/main" id="{79FFE2EB-4633-440A-931A-7B899DCAFF28}"/>
              </a:ext>
            </a:extLst>
          </p:cNvPr>
          <p:cNvSpPr>
            <a:spLocks noGrp="1"/>
          </p:cNvSpPr>
          <p:nvPr>
            <p:ph type="body" sz="quarter" idx="12" hasCustomPrompt="1"/>
          </p:nvPr>
        </p:nvSpPr>
        <p:spPr>
          <a:xfrm>
            <a:off x="848985" y="1554551"/>
            <a:ext cx="9144000" cy="307777"/>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dirty="0"/>
              <a:t>Content</a:t>
            </a:r>
          </a:p>
        </p:txBody>
      </p:sp>
      <p:pic>
        <p:nvPicPr>
          <p:cNvPr id="2" name="Picture 1">
            <a:extLst>
              <a:ext uri="{FF2B5EF4-FFF2-40B4-BE49-F238E27FC236}">
                <a16:creationId xmlns:a16="http://schemas.microsoft.com/office/drawing/2014/main" id="{D4196B89-88B5-CC4D-25E4-4010A11D5525}"/>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4" name="TextBox 3">
            <a:extLst>
              <a:ext uri="{FF2B5EF4-FFF2-40B4-BE49-F238E27FC236}">
                <a16:creationId xmlns:a16="http://schemas.microsoft.com/office/drawing/2014/main" id="{9630E578-5B8B-0589-225E-129E6E4B0219}"/>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spTree>
    <p:extLst>
      <p:ext uri="{BB962C8B-B14F-4D97-AF65-F5344CB8AC3E}">
        <p14:creationId xmlns:p14="http://schemas.microsoft.com/office/powerpoint/2010/main" val="66677445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nk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BF7828-A93B-1553-BE7A-BBBD0DDA8874}"/>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5" name="TextBox 4">
            <a:extLst>
              <a:ext uri="{FF2B5EF4-FFF2-40B4-BE49-F238E27FC236}">
                <a16:creationId xmlns:a16="http://schemas.microsoft.com/office/drawing/2014/main" id="{F8E71E4E-265E-98EB-F20D-F0D962B490C9}"/>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spTree>
    <p:extLst>
      <p:ext uri="{BB962C8B-B14F-4D97-AF65-F5344CB8AC3E}">
        <p14:creationId xmlns:p14="http://schemas.microsoft.com/office/powerpoint/2010/main" val="342880453"/>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3_Title slide with blue Windows logo on white background">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704" rtl="0" eaLnBrk="1" latinLnBrk="0" hangingPunct="1">
              <a:lnSpc>
                <a:spcPct val="90000"/>
              </a:lnSpc>
              <a:spcBef>
                <a:spcPct val="0"/>
              </a:spcBef>
              <a:buNone/>
              <a:defRPr lang="en-US" sz="3600" b="0" kern="1200" cap="none" spc="-50" baseline="0" dirty="0">
                <a:ln w="3175">
                  <a:noFill/>
                </a:ln>
                <a:solidFill>
                  <a:srgbClr val="9BF00B"/>
                </a:solidFill>
                <a:effectLst/>
                <a:latin typeface="+mj-lt"/>
                <a:ea typeface="+mn-ea"/>
                <a:cs typeface="Segoe UI" pitchFamily="34" charset="0"/>
              </a:defRPr>
            </a:lvl1pPr>
          </a:lstStyle>
          <a:p>
            <a:r>
              <a:rPr lang="en-US" dirty="0"/>
              <a:t>Demo title</a:t>
            </a:r>
          </a:p>
        </p:txBody>
      </p:sp>
      <p:sp>
        <p:nvSpPr>
          <p:cNvPr id="16" name="Text Placeholder 4"/>
          <p:cNvSpPr>
            <a:spLocks noGrp="1"/>
          </p:cNvSpPr>
          <p:nvPr>
            <p:ph type="body" sz="quarter" idx="12" hasCustomPrompt="1"/>
          </p:nvPr>
        </p:nvSpPr>
        <p:spPr>
          <a:xfrm>
            <a:off x="585216" y="3977320"/>
            <a:ext cx="9144000" cy="307777"/>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dirty="0"/>
              <a:t>Content</a:t>
            </a:r>
          </a:p>
        </p:txBody>
      </p:sp>
      <p:pic>
        <p:nvPicPr>
          <p:cNvPr id="2" name="Picture 1">
            <a:extLst>
              <a:ext uri="{FF2B5EF4-FFF2-40B4-BE49-F238E27FC236}">
                <a16:creationId xmlns:a16="http://schemas.microsoft.com/office/drawing/2014/main" id="{8461767A-9EB4-0B5F-D3E9-55448C181D09}"/>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3" name="TextBox 2">
            <a:extLst>
              <a:ext uri="{FF2B5EF4-FFF2-40B4-BE49-F238E27FC236}">
                <a16:creationId xmlns:a16="http://schemas.microsoft.com/office/drawing/2014/main" id="{A742999F-C9A4-D023-F6D2-BE848D0A90CD}"/>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pic>
        <p:nvPicPr>
          <p:cNvPr id="4" name="Picture 3">
            <a:extLst>
              <a:ext uri="{FF2B5EF4-FFF2-40B4-BE49-F238E27FC236}">
                <a16:creationId xmlns:a16="http://schemas.microsoft.com/office/drawing/2014/main" id="{B539734D-F64C-8044-6A22-46F0C7B94E82}"/>
              </a:ext>
            </a:extLst>
          </p:cNvPr>
          <p:cNvPicPr>
            <a:picLocks noChangeAspect="1"/>
          </p:cNvPicPr>
          <p:nvPr userDrawn="1"/>
        </p:nvPicPr>
        <p:blipFill>
          <a:blip r:embed="rId3"/>
          <a:stretch>
            <a:fillRect/>
          </a:stretch>
        </p:blipFill>
        <p:spPr>
          <a:xfrm>
            <a:off x="0" y="-20786"/>
            <a:ext cx="3302000" cy="2053167"/>
          </a:xfrm>
          <a:prstGeom prst="rect">
            <a:avLst/>
          </a:prstGeom>
        </p:spPr>
      </p:pic>
      <p:pic>
        <p:nvPicPr>
          <p:cNvPr id="5" name="Picture 4">
            <a:extLst>
              <a:ext uri="{FF2B5EF4-FFF2-40B4-BE49-F238E27FC236}">
                <a16:creationId xmlns:a16="http://schemas.microsoft.com/office/drawing/2014/main" id="{566B686A-DFB3-CEDC-1100-2FA0F589BB9B}"/>
              </a:ext>
            </a:extLst>
          </p:cNvPr>
          <p:cNvPicPr>
            <a:picLocks noChangeAspect="1"/>
          </p:cNvPicPr>
          <p:nvPr userDrawn="1"/>
        </p:nvPicPr>
        <p:blipFill>
          <a:blip r:embed="rId4"/>
          <a:stretch>
            <a:fillRect/>
          </a:stretch>
        </p:blipFill>
        <p:spPr>
          <a:xfrm>
            <a:off x="8805333" y="4795677"/>
            <a:ext cx="3386667" cy="2095500"/>
          </a:xfrm>
          <a:prstGeom prst="rect">
            <a:avLst/>
          </a:prstGeom>
        </p:spPr>
      </p:pic>
    </p:spTree>
    <p:extLst>
      <p:ext uri="{BB962C8B-B14F-4D97-AF65-F5344CB8AC3E}">
        <p14:creationId xmlns:p14="http://schemas.microsoft.com/office/powerpoint/2010/main" val="17716850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59198789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5_Title slide with blue Windows logo on white background">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806228" y="2921169"/>
            <a:ext cx="2579546" cy="1015663"/>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7333" b="0" kern="1200" cap="none" spc="-50" baseline="0" dirty="0">
                <a:ln w="3175">
                  <a:noFill/>
                </a:ln>
                <a:solidFill>
                  <a:srgbClr val="9BF00B"/>
                </a:solidFill>
                <a:effectLst/>
                <a:latin typeface="+mj-lt"/>
                <a:ea typeface="+mn-ea"/>
                <a:cs typeface="Segoe UI" pitchFamily="34" charset="0"/>
              </a:defRPr>
            </a:lvl1pPr>
          </a:lstStyle>
          <a:p>
            <a:r>
              <a:rPr lang="en-US" dirty="0"/>
              <a:t>Q &amp; A</a:t>
            </a:r>
          </a:p>
        </p:txBody>
      </p:sp>
      <p:pic>
        <p:nvPicPr>
          <p:cNvPr id="2" name="Picture 1">
            <a:extLst>
              <a:ext uri="{FF2B5EF4-FFF2-40B4-BE49-F238E27FC236}">
                <a16:creationId xmlns:a16="http://schemas.microsoft.com/office/drawing/2014/main" id="{293B4412-8D61-2570-57E5-7258067B42C2}"/>
              </a:ext>
            </a:extLst>
          </p:cNvPr>
          <p:cNvPicPr>
            <a:picLocks noChangeAspect="1"/>
          </p:cNvPicPr>
          <p:nvPr userDrawn="1"/>
        </p:nvPicPr>
        <p:blipFill>
          <a:blip r:embed="rId2"/>
          <a:stretch>
            <a:fillRect/>
          </a:stretch>
        </p:blipFill>
        <p:spPr>
          <a:xfrm>
            <a:off x="10533530" y="-33617"/>
            <a:ext cx="1381997" cy="1688188"/>
          </a:xfrm>
          <a:prstGeom prst="rect">
            <a:avLst/>
          </a:prstGeom>
        </p:spPr>
      </p:pic>
      <p:pic>
        <p:nvPicPr>
          <p:cNvPr id="3" name="Picture 2">
            <a:extLst>
              <a:ext uri="{FF2B5EF4-FFF2-40B4-BE49-F238E27FC236}">
                <a16:creationId xmlns:a16="http://schemas.microsoft.com/office/drawing/2014/main" id="{A1350D79-A7CF-E1B7-6482-789E80453F3C}"/>
              </a:ext>
            </a:extLst>
          </p:cNvPr>
          <p:cNvPicPr>
            <a:picLocks noChangeAspect="1"/>
          </p:cNvPicPr>
          <p:nvPr userDrawn="1"/>
        </p:nvPicPr>
        <p:blipFill>
          <a:blip r:embed="rId3"/>
          <a:stretch>
            <a:fillRect/>
          </a:stretch>
        </p:blipFill>
        <p:spPr>
          <a:xfrm>
            <a:off x="0" y="-20786"/>
            <a:ext cx="3302000" cy="2053167"/>
          </a:xfrm>
          <a:prstGeom prst="rect">
            <a:avLst/>
          </a:prstGeom>
        </p:spPr>
      </p:pic>
      <p:pic>
        <p:nvPicPr>
          <p:cNvPr id="4" name="Picture 3">
            <a:extLst>
              <a:ext uri="{FF2B5EF4-FFF2-40B4-BE49-F238E27FC236}">
                <a16:creationId xmlns:a16="http://schemas.microsoft.com/office/drawing/2014/main" id="{774D4732-8B4E-C639-A1CA-FDA544A4FBCB}"/>
              </a:ext>
            </a:extLst>
          </p:cNvPr>
          <p:cNvPicPr>
            <a:picLocks noChangeAspect="1"/>
          </p:cNvPicPr>
          <p:nvPr userDrawn="1"/>
        </p:nvPicPr>
        <p:blipFill>
          <a:blip r:embed="rId4"/>
          <a:stretch>
            <a:fillRect/>
          </a:stretch>
        </p:blipFill>
        <p:spPr>
          <a:xfrm>
            <a:off x="8805333" y="4795677"/>
            <a:ext cx="3386667" cy="2095500"/>
          </a:xfrm>
          <a:prstGeom prst="rect">
            <a:avLst/>
          </a:prstGeom>
        </p:spPr>
      </p:pic>
      <p:sp>
        <p:nvSpPr>
          <p:cNvPr id="5" name="TextBox 4">
            <a:extLst>
              <a:ext uri="{FF2B5EF4-FFF2-40B4-BE49-F238E27FC236}">
                <a16:creationId xmlns:a16="http://schemas.microsoft.com/office/drawing/2014/main" id="{B475B0DC-BFB1-A18E-2374-7829569B9F24}"/>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spTree>
    <p:extLst>
      <p:ext uri="{BB962C8B-B14F-4D97-AF65-F5344CB8AC3E}">
        <p14:creationId xmlns:p14="http://schemas.microsoft.com/office/powerpoint/2010/main" val="3692641473"/>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ver_Slide">
    <p:bg>
      <p:bgPr>
        <a:solidFill>
          <a:srgbClr val="FFFFFF"/>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8EBB168-63DF-6A2A-FD0D-B25A6D720C17}"/>
              </a:ext>
            </a:extLst>
          </p:cNvPr>
          <p:cNvPicPr>
            <a:picLocks noChangeAspect="1"/>
          </p:cNvPicPr>
          <p:nvPr userDrawn="1"/>
        </p:nvPicPr>
        <p:blipFill>
          <a:blip r:embed="rId2"/>
          <a:stretch>
            <a:fillRect/>
          </a:stretch>
        </p:blipFill>
        <p:spPr>
          <a:xfrm>
            <a:off x="6362095" y="2996337"/>
            <a:ext cx="5829905" cy="3885334"/>
          </a:xfrm>
          <a:prstGeom prst="rect">
            <a:avLst/>
          </a:prstGeom>
        </p:spPr>
      </p:pic>
      <p:pic>
        <p:nvPicPr>
          <p:cNvPr id="2" name="Picture 1">
            <a:extLst>
              <a:ext uri="{FF2B5EF4-FFF2-40B4-BE49-F238E27FC236}">
                <a16:creationId xmlns:a16="http://schemas.microsoft.com/office/drawing/2014/main" id="{3676C7E9-E4C3-F4FF-11BF-E31EB2EF5DF2}"/>
              </a:ext>
            </a:extLst>
          </p:cNvPr>
          <p:cNvPicPr>
            <a:picLocks noChangeAspect="1"/>
          </p:cNvPicPr>
          <p:nvPr userDrawn="1"/>
        </p:nvPicPr>
        <p:blipFill>
          <a:blip r:embed="rId3"/>
          <a:stretch>
            <a:fillRect/>
          </a:stretch>
        </p:blipFill>
        <p:spPr>
          <a:xfrm>
            <a:off x="5014321" y="757119"/>
            <a:ext cx="2163358" cy="1792498"/>
          </a:xfrm>
          <a:prstGeom prst="rect">
            <a:avLst/>
          </a:prstGeom>
        </p:spPr>
      </p:pic>
      <p:grpSp>
        <p:nvGrpSpPr>
          <p:cNvPr id="3" name="Group 2">
            <a:extLst>
              <a:ext uri="{FF2B5EF4-FFF2-40B4-BE49-F238E27FC236}">
                <a16:creationId xmlns:a16="http://schemas.microsoft.com/office/drawing/2014/main" id="{B8B200C2-9A20-62AC-5C2C-88A9625DF5E2}"/>
              </a:ext>
            </a:extLst>
          </p:cNvPr>
          <p:cNvGrpSpPr/>
          <p:nvPr userDrawn="1"/>
        </p:nvGrpSpPr>
        <p:grpSpPr>
          <a:xfrm>
            <a:off x="572156" y="2818050"/>
            <a:ext cx="11047688" cy="1630224"/>
            <a:chOff x="686588" y="3817089"/>
            <a:chExt cx="13257225" cy="1956268"/>
          </a:xfrm>
        </p:grpSpPr>
        <p:grpSp>
          <p:nvGrpSpPr>
            <p:cNvPr id="5" name="Group 4">
              <a:extLst>
                <a:ext uri="{FF2B5EF4-FFF2-40B4-BE49-F238E27FC236}">
                  <a16:creationId xmlns:a16="http://schemas.microsoft.com/office/drawing/2014/main" id="{85F48C6B-232C-FD95-F955-C30FD9A25254}"/>
                </a:ext>
              </a:extLst>
            </p:cNvPr>
            <p:cNvGrpSpPr/>
            <p:nvPr userDrawn="1"/>
          </p:nvGrpSpPr>
          <p:grpSpPr>
            <a:xfrm>
              <a:off x="686588" y="3817089"/>
              <a:ext cx="13257225" cy="1956268"/>
              <a:chOff x="777752" y="3817089"/>
              <a:chExt cx="13257225" cy="1956268"/>
            </a:xfrm>
          </p:grpSpPr>
          <p:sp>
            <p:nvSpPr>
              <p:cNvPr id="8" name="TextBox 7">
                <a:extLst>
                  <a:ext uri="{FF2B5EF4-FFF2-40B4-BE49-F238E27FC236}">
                    <a16:creationId xmlns:a16="http://schemas.microsoft.com/office/drawing/2014/main" id="{0FC3866D-098A-697E-E000-CDAEAC110DBA}"/>
                  </a:ext>
                </a:extLst>
              </p:cNvPr>
              <p:cNvSpPr txBox="1"/>
              <p:nvPr userDrawn="1"/>
            </p:nvSpPr>
            <p:spPr>
              <a:xfrm>
                <a:off x="777752" y="3817089"/>
                <a:ext cx="13257225" cy="1034129"/>
              </a:xfrm>
              <a:prstGeom prst="rect">
                <a:avLst/>
              </a:prstGeom>
              <a:noFill/>
            </p:spPr>
            <p:txBody>
              <a:bodyPr wrap="square">
                <a:spAutoFit/>
              </a:bodyPr>
              <a:lstStyle/>
              <a:p>
                <a:pPr algn="ctr"/>
                <a:r>
                  <a:rPr lang="en-IN" sz="5000" b="1" i="0" u="none" strike="noStrike" baseline="0" dirty="0">
                    <a:solidFill>
                      <a:schemeClr val="tx1"/>
                    </a:solidFill>
                    <a:latin typeface="Poppins" pitchFamily="2" charset="77"/>
                    <a:cs typeface="Poppins" pitchFamily="2" charset="77"/>
                  </a:rPr>
                  <a:t> Az COMMUNITY</a:t>
                </a:r>
                <a:endParaRPr lang="en-IN" sz="19916" b="1" dirty="0">
                  <a:solidFill>
                    <a:schemeClr val="tx1"/>
                  </a:solidFill>
                  <a:latin typeface="Poppins" pitchFamily="2" charset="77"/>
                  <a:cs typeface="Poppins" pitchFamily="2" charset="77"/>
                </a:endParaRPr>
              </a:p>
            </p:txBody>
          </p:sp>
          <p:sp>
            <p:nvSpPr>
              <p:cNvPr id="11" name="TextBox 10">
                <a:extLst>
                  <a:ext uri="{FF2B5EF4-FFF2-40B4-BE49-F238E27FC236}">
                    <a16:creationId xmlns:a16="http://schemas.microsoft.com/office/drawing/2014/main" id="{5B9A006F-B8E0-6E70-A3EA-B32BE1776BEE}"/>
                  </a:ext>
                </a:extLst>
              </p:cNvPr>
              <p:cNvSpPr txBox="1"/>
              <p:nvPr userDrawn="1"/>
            </p:nvSpPr>
            <p:spPr>
              <a:xfrm>
                <a:off x="3234249" y="4739150"/>
                <a:ext cx="8344230" cy="541610"/>
              </a:xfrm>
              <a:prstGeom prst="rect">
                <a:avLst/>
              </a:prstGeom>
              <a:noFill/>
            </p:spPr>
            <p:txBody>
              <a:bodyPr wrap="square">
                <a:spAutoFit/>
              </a:bodyPr>
              <a:lstStyle/>
              <a:p>
                <a:pPr algn="ctr"/>
                <a:r>
                  <a:rPr lang="en-IN" sz="2333" b="0" i="0" u="none" strike="noStrike" baseline="0" dirty="0">
                    <a:solidFill>
                      <a:schemeClr val="tx1"/>
                    </a:solidFill>
                    <a:latin typeface="Poppins" pitchFamily="2" charset="77"/>
                    <a:cs typeface="Poppins" pitchFamily="2" charset="77"/>
                  </a:rPr>
                  <a:t>Conference 2022</a:t>
                </a:r>
                <a:endParaRPr lang="en-US" sz="2333" b="0" i="1" dirty="0">
                  <a:solidFill>
                    <a:schemeClr val="tx1"/>
                  </a:solidFill>
                  <a:latin typeface="Poppins" pitchFamily="2" charset="77"/>
                  <a:cs typeface="Poppins" pitchFamily="2" charset="77"/>
                </a:endParaRPr>
              </a:p>
            </p:txBody>
          </p:sp>
          <p:sp>
            <p:nvSpPr>
              <p:cNvPr id="12" name="TextBox 11">
                <a:extLst>
                  <a:ext uri="{FF2B5EF4-FFF2-40B4-BE49-F238E27FC236}">
                    <a16:creationId xmlns:a16="http://schemas.microsoft.com/office/drawing/2014/main" id="{BE5077D1-984D-57AF-6E03-035ECF9F9418}"/>
                  </a:ext>
                </a:extLst>
              </p:cNvPr>
              <p:cNvSpPr txBox="1"/>
              <p:nvPr userDrawn="1"/>
            </p:nvSpPr>
            <p:spPr>
              <a:xfrm>
                <a:off x="3234249" y="5354703"/>
                <a:ext cx="8344230" cy="418654"/>
              </a:xfrm>
              <a:prstGeom prst="rect">
                <a:avLst/>
              </a:prstGeom>
              <a:noFill/>
            </p:spPr>
            <p:txBody>
              <a:bodyPr wrap="square">
                <a:spAutoFit/>
              </a:bodyPr>
              <a:lstStyle/>
              <a:p>
                <a:pPr algn="ctr"/>
                <a:r>
                  <a:rPr lang="en-IN" sz="1667" b="0" i="0" u="none" strike="noStrike" baseline="0" dirty="0">
                    <a:solidFill>
                      <a:schemeClr val="tx1"/>
                    </a:solidFill>
                    <a:latin typeface="Poppins Light" pitchFamily="2" charset="77"/>
                    <a:cs typeface="Poppins Light" pitchFamily="2" charset="77"/>
                  </a:rPr>
                  <a:t>Asia’s Largest Azure Community Conference</a:t>
                </a:r>
                <a:endParaRPr lang="en-US" sz="1667" b="0" i="0" dirty="0">
                  <a:solidFill>
                    <a:schemeClr val="tx1"/>
                  </a:solidFill>
                  <a:latin typeface="Poppins Light" pitchFamily="2" charset="77"/>
                  <a:cs typeface="Poppins Light" pitchFamily="2" charset="77"/>
                </a:endParaRPr>
              </a:p>
            </p:txBody>
          </p:sp>
        </p:grpSp>
        <p:cxnSp>
          <p:nvCxnSpPr>
            <p:cNvPr id="6" name="Straight Connector 5">
              <a:extLst>
                <a:ext uri="{FF2B5EF4-FFF2-40B4-BE49-F238E27FC236}">
                  <a16:creationId xmlns:a16="http://schemas.microsoft.com/office/drawing/2014/main" id="{A9D49B73-252F-4DEF-129A-424FE66E75CC}"/>
                </a:ext>
              </a:extLst>
            </p:cNvPr>
            <p:cNvCxnSpPr/>
            <p:nvPr userDrawn="1"/>
          </p:nvCxnSpPr>
          <p:spPr>
            <a:xfrm>
              <a:off x="4654550" y="5058431"/>
              <a:ext cx="833718"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1BDCEC3-F110-7DCA-5D75-F5A42867A066}"/>
                </a:ext>
              </a:extLst>
            </p:cNvPr>
            <p:cNvCxnSpPr/>
            <p:nvPr userDrawn="1"/>
          </p:nvCxnSpPr>
          <p:spPr>
            <a:xfrm>
              <a:off x="9065185" y="5058431"/>
              <a:ext cx="833718" cy="0"/>
            </a:xfrm>
            <a:prstGeom prst="line">
              <a:avLst/>
            </a:prstGeom>
            <a:ln w="381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F8D579D5-F805-AAE5-016E-41B126A7C16C}"/>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3138255944"/>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Speaker_Slide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D1B822-EEFB-2720-6198-0819CB08840D}"/>
              </a:ext>
            </a:extLst>
          </p:cNvPr>
          <p:cNvPicPr>
            <a:picLocks noChangeAspect="1"/>
          </p:cNvPicPr>
          <p:nvPr userDrawn="1"/>
        </p:nvPicPr>
        <p:blipFill>
          <a:blip r:embed="rId2"/>
          <a:stretch>
            <a:fillRect/>
          </a:stretch>
        </p:blipFill>
        <p:spPr>
          <a:xfrm>
            <a:off x="6362095" y="2996337"/>
            <a:ext cx="5829905" cy="3885334"/>
          </a:xfrm>
          <a:prstGeom prst="rect">
            <a:avLst/>
          </a:prstGeom>
        </p:spPr>
      </p:pic>
      <p:sp>
        <p:nvSpPr>
          <p:cNvPr id="35" name="Title 1"/>
          <p:cNvSpPr>
            <a:spLocks noGrp="1"/>
          </p:cNvSpPr>
          <p:nvPr>
            <p:ph type="title" hasCustomPrompt="1"/>
          </p:nvPr>
        </p:nvSpPr>
        <p:spPr>
          <a:xfrm>
            <a:off x="5210093" y="2786265"/>
            <a:ext cx="5725729" cy="561585"/>
          </a:xfrm>
          <a:prstGeom prst="rect">
            <a:avLst/>
          </a:prstGeom>
          <a:noFill/>
        </p:spPr>
        <p:txBody>
          <a:bodyPr wrap="square" lIns="0" tIns="0" rIns="0" bIns="0" anchor="b" anchorCtr="0">
            <a:spAutoFit/>
          </a:bodyPr>
          <a:lstStyle>
            <a:lvl1pPr>
              <a:defRPr sz="3600" spc="-50" baseline="0">
                <a:solidFill>
                  <a:srgbClr val="08023F"/>
                </a:solidFill>
                <a:latin typeface="+mj-lt"/>
                <a:cs typeface="Segoe UI" panose="020B0502040204020203" pitchFamily="34" charset="0"/>
              </a:defRPr>
            </a:lvl1pPr>
          </a:lstStyle>
          <a:p>
            <a:r>
              <a:rPr lang="en-US" dirty="0"/>
              <a:t>INSERT SPEAKER NAME</a:t>
            </a:r>
          </a:p>
        </p:txBody>
      </p:sp>
      <p:sp>
        <p:nvSpPr>
          <p:cNvPr id="36" name="Text Placeholder 4"/>
          <p:cNvSpPr>
            <a:spLocks noGrp="1"/>
          </p:cNvSpPr>
          <p:nvPr>
            <p:ph type="body" sz="quarter" idx="12" hasCustomPrompt="1"/>
          </p:nvPr>
        </p:nvSpPr>
        <p:spPr>
          <a:xfrm>
            <a:off x="5210093" y="3750391"/>
            <a:ext cx="4572000" cy="307777"/>
          </a:xfrm>
          <a:prstGeom prst="rect">
            <a:avLst/>
          </a:prstGeom>
          <a:noFill/>
        </p:spPr>
        <p:txBody>
          <a:bodyPr wrap="square" lIns="0" tIns="0" rIns="0" bIns="0">
            <a:spAutoFit/>
          </a:bodyPr>
          <a:lstStyle>
            <a:lvl1pPr marL="0" indent="0">
              <a:spcBef>
                <a:spcPts val="0"/>
              </a:spcBef>
              <a:buNone/>
              <a:defRPr sz="2000" spc="0" baseline="0">
                <a:solidFill>
                  <a:srgbClr val="08023F"/>
                </a:solidFill>
                <a:latin typeface="+mn-lt"/>
                <a:cs typeface="Segoe UI" panose="020B0502040204020203" pitchFamily="34" charset="0"/>
              </a:defRPr>
            </a:lvl1pPr>
          </a:lstStyle>
          <a:p>
            <a:pPr lvl="0"/>
            <a:r>
              <a:rPr lang="en-US" dirty="0"/>
              <a:t>Speaker Designation</a:t>
            </a:r>
          </a:p>
        </p:txBody>
      </p:sp>
      <p:sp>
        <p:nvSpPr>
          <p:cNvPr id="37" name="Picture Placeholder 2"/>
          <p:cNvSpPr>
            <a:spLocks noGrp="1"/>
          </p:cNvSpPr>
          <p:nvPr>
            <p:ph type="pic" sz="quarter" idx="10"/>
          </p:nvPr>
        </p:nvSpPr>
        <p:spPr>
          <a:xfrm>
            <a:off x="2449720" y="2043885"/>
            <a:ext cx="2607931" cy="2607931"/>
          </a:xfrm>
          <a:prstGeom prst="rect">
            <a:avLst/>
          </a:prstGeom>
        </p:spPr>
        <p:txBody>
          <a:bodyPr/>
          <a:lstStyle>
            <a:lvl1pPr>
              <a:defRPr b="0" cap="none" spc="0">
                <a:ln>
                  <a:noFill/>
                </a:ln>
                <a:solidFill>
                  <a:schemeClr val="bg1"/>
                </a:solidFill>
                <a:effectLst/>
              </a:defRPr>
            </a:lvl1pPr>
          </a:lstStyle>
          <a:p>
            <a:endParaRPr lang="en-IN" dirty="0"/>
          </a:p>
        </p:txBody>
      </p:sp>
      <p:pic>
        <p:nvPicPr>
          <p:cNvPr id="40"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3"/>
          <a:stretch>
            <a:fillRect/>
          </a:stretch>
        </p:blipFill>
        <p:spPr bwMode="black">
          <a:xfrm>
            <a:off x="12607123" y="6224772"/>
            <a:ext cx="1515394" cy="324552"/>
          </a:xfrm>
          <a:prstGeom prst="rect">
            <a:avLst/>
          </a:prstGeom>
        </p:spPr>
      </p:pic>
      <p:sp>
        <p:nvSpPr>
          <p:cNvPr id="10" name="Rectangle 9">
            <a:extLst>
              <a:ext uri="{FF2B5EF4-FFF2-40B4-BE49-F238E27FC236}">
                <a16:creationId xmlns:a16="http://schemas.microsoft.com/office/drawing/2014/main" id="{A8AF06C1-28F8-477E-8F79-B654DA2C6B6B}"/>
              </a:ext>
            </a:extLst>
          </p:cNvPr>
          <p:cNvSpPr/>
          <p:nvPr userDrawn="1"/>
        </p:nvSpPr>
        <p:spPr>
          <a:xfrm>
            <a:off x="5210093" y="3504604"/>
            <a:ext cx="4922635" cy="29678"/>
          </a:xfrm>
          <a:prstGeom prst="rect">
            <a:avLst/>
          </a:prstGeom>
          <a:solidFill>
            <a:srgbClr val="9BF00B"/>
          </a:solidFill>
          <a:ln>
            <a:solidFill>
              <a:srgbClr val="9FCB3A"/>
            </a:solidFill>
          </a:ln>
        </p:spPr>
        <p:style>
          <a:lnRef idx="2">
            <a:schemeClr val="accent1">
              <a:shade val="50000"/>
            </a:schemeClr>
          </a:lnRef>
          <a:fillRef idx="1">
            <a:schemeClr val="accent1"/>
          </a:fillRef>
          <a:effectRef idx="0">
            <a:schemeClr val="accent1"/>
          </a:effectRef>
          <a:fontRef idx="minor">
            <a:schemeClr val="lt1"/>
          </a:fontRef>
        </p:style>
        <p:txBody>
          <a:bodyPr lIns="130888" tIns="65444" rIns="130888" bIns="65444" rtlCol="0" anchor="ctr"/>
          <a:lstStyle/>
          <a:p>
            <a:pPr algn="ctr"/>
            <a:endParaRPr lang="en-IN" sz="1500">
              <a:solidFill>
                <a:srgbClr val="9BF00B"/>
              </a:solidFill>
            </a:endParaRPr>
          </a:p>
        </p:txBody>
      </p:sp>
      <p:pic>
        <p:nvPicPr>
          <p:cNvPr id="3" name="Picture 2">
            <a:extLst>
              <a:ext uri="{FF2B5EF4-FFF2-40B4-BE49-F238E27FC236}">
                <a16:creationId xmlns:a16="http://schemas.microsoft.com/office/drawing/2014/main" id="{482FC026-AB71-1100-6845-AE77E0FBCC4A}"/>
              </a:ext>
            </a:extLst>
          </p:cNvPr>
          <p:cNvPicPr>
            <a:picLocks noChangeAspect="1"/>
          </p:cNvPicPr>
          <p:nvPr userDrawn="1"/>
        </p:nvPicPr>
        <p:blipFill>
          <a:blip r:embed="rId4"/>
          <a:stretch>
            <a:fillRect/>
          </a:stretch>
        </p:blipFill>
        <p:spPr>
          <a:xfrm>
            <a:off x="10533530" y="-33617"/>
            <a:ext cx="1381997" cy="1688188"/>
          </a:xfrm>
          <a:prstGeom prst="rect">
            <a:avLst/>
          </a:prstGeom>
        </p:spPr>
      </p:pic>
      <p:sp>
        <p:nvSpPr>
          <p:cNvPr id="5" name="TextBox 4">
            <a:extLst>
              <a:ext uri="{FF2B5EF4-FFF2-40B4-BE49-F238E27FC236}">
                <a16:creationId xmlns:a16="http://schemas.microsoft.com/office/drawing/2014/main" id="{76E71516-673D-D9FB-D2DE-7C7CE5B0E293}"/>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385265385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2_session_title and Speakers nam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B0E24D-511E-5968-1763-177E9E1C9CA0}"/>
              </a:ext>
            </a:extLst>
          </p:cNvPr>
          <p:cNvPicPr>
            <a:picLocks noChangeAspect="1"/>
          </p:cNvPicPr>
          <p:nvPr userDrawn="1"/>
        </p:nvPicPr>
        <p:blipFill>
          <a:blip r:embed="rId2"/>
          <a:stretch>
            <a:fillRect/>
          </a:stretch>
        </p:blipFill>
        <p:spPr>
          <a:xfrm>
            <a:off x="6362095" y="2996337"/>
            <a:ext cx="5829905" cy="3885334"/>
          </a:xfrm>
          <a:prstGeom prst="rect">
            <a:avLst/>
          </a:prstGeom>
        </p:spPr>
      </p:pic>
      <p:pic>
        <p:nvPicPr>
          <p:cNvPr id="40"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3"/>
          <a:stretch>
            <a:fillRect/>
          </a:stretch>
        </p:blipFill>
        <p:spPr bwMode="black">
          <a:xfrm>
            <a:off x="12607123" y="6224772"/>
            <a:ext cx="1515394" cy="324552"/>
          </a:xfrm>
          <a:prstGeom prst="rect">
            <a:avLst/>
          </a:prstGeom>
        </p:spPr>
      </p:pic>
      <p:sp>
        <p:nvSpPr>
          <p:cNvPr id="14" name="Title 1">
            <a:extLst>
              <a:ext uri="{FF2B5EF4-FFF2-40B4-BE49-F238E27FC236}">
                <a16:creationId xmlns:a16="http://schemas.microsoft.com/office/drawing/2014/main" id="{BA80D204-AA27-4BBD-BBCA-179B38FA2E15}"/>
              </a:ext>
            </a:extLst>
          </p:cNvPr>
          <p:cNvSpPr>
            <a:spLocks noGrp="1"/>
          </p:cNvSpPr>
          <p:nvPr>
            <p:ph type="title" hasCustomPrompt="1"/>
          </p:nvPr>
        </p:nvSpPr>
        <p:spPr>
          <a:xfrm>
            <a:off x="1819317" y="2831228"/>
            <a:ext cx="9144000" cy="561585"/>
          </a:xfrm>
          <a:prstGeom prst="rect">
            <a:avLst/>
          </a:prstGeom>
          <a:noFill/>
        </p:spPr>
        <p:txBody>
          <a:bodyPr lIns="0" tIns="0" rIns="0" bIns="0" anchor="b" anchorCtr="0">
            <a:spAutoFit/>
          </a:bodyPr>
          <a:lstStyle>
            <a:lvl1pPr>
              <a:defRPr sz="3600" spc="-50" baseline="0">
                <a:solidFill>
                  <a:srgbClr val="08023F"/>
                </a:solidFill>
                <a:latin typeface="+mj-lt"/>
                <a:cs typeface="Segoe UI" panose="020B0502040204020203" pitchFamily="34" charset="0"/>
              </a:defRPr>
            </a:lvl1pPr>
          </a:lstStyle>
          <a:p>
            <a:r>
              <a:rPr lang="en-US" dirty="0"/>
              <a:t>Event name or presentation title </a:t>
            </a:r>
          </a:p>
        </p:txBody>
      </p:sp>
      <p:sp>
        <p:nvSpPr>
          <p:cNvPr id="15" name="Text Placeholder 4">
            <a:extLst>
              <a:ext uri="{FF2B5EF4-FFF2-40B4-BE49-F238E27FC236}">
                <a16:creationId xmlns:a16="http://schemas.microsoft.com/office/drawing/2014/main" id="{E165C242-C706-4D94-AC69-527037CF2A09}"/>
              </a:ext>
            </a:extLst>
          </p:cNvPr>
          <p:cNvSpPr>
            <a:spLocks noGrp="1"/>
          </p:cNvSpPr>
          <p:nvPr>
            <p:ph type="body" sz="quarter" idx="12" hasCustomPrompt="1"/>
          </p:nvPr>
        </p:nvSpPr>
        <p:spPr>
          <a:xfrm>
            <a:off x="1819317" y="3821438"/>
            <a:ext cx="9144000" cy="307777"/>
          </a:xfrm>
          <a:prstGeom prst="rect">
            <a:avLst/>
          </a:prstGeom>
          <a:noFill/>
        </p:spPr>
        <p:txBody>
          <a:bodyPr wrap="square" lIns="0" tIns="0" rIns="0" bIns="0">
            <a:spAutoFit/>
          </a:bodyPr>
          <a:lstStyle>
            <a:lvl1pPr marL="0" indent="0">
              <a:spcBef>
                <a:spcPts val="0"/>
              </a:spcBef>
              <a:buNone/>
              <a:defRPr sz="2000" spc="0" baseline="0">
                <a:solidFill>
                  <a:srgbClr val="08023F"/>
                </a:solidFill>
                <a:latin typeface="+mn-lt"/>
                <a:cs typeface="Segoe UI" panose="020B0502040204020203" pitchFamily="34" charset="0"/>
              </a:defRPr>
            </a:lvl1pPr>
          </a:lstStyle>
          <a:p>
            <a:pPr lvl="0"/>
            <a:r>
              <a:rPr lang="en-US" dirty="0"/>
              <a:t>Speaker name or subtitle text</a:t>
            </a:r>
          </a:p>
        </p:txBody>
      </p:sp>
      <p:pic>
        <p:nvPicPr>
          <p:cNvPr id="2" name="Picture 1">
            <a:extLst>
              <a:ext uri="{FF2B5EF4-FFF2-40B4-BE49-F238E27FC236}">
                <a16:creationId xmlns:a16="http://schemas.microsoft.com/office/drawing/2014/main" id="{6049C1C0-996D-182B-6EC3-D264E1CA90C0}"/>
              </a:ext>
            </a:extLst>
          </p:cNvPr>
          <p:cNvPicPr>
            <a:picLocks noChangeAspect="1"/>
          </p:cNvPicPr>
          <p:nvPr userDrawn="1"/>
        </p:nvPicPr>
        <p:blipFill>
          <a:blip r:embed="rId4"/>
          <a:stretch>
            <a:fillRect/>
          </a:stretch>
        </p:blipFill>
        <p:spPr>
          <a:xfrm>
            <a:off x="10533530" y="-33617"/>
            <a:ext cx="1381997" cy="1688188"/>
          </a:xfrm>
          <a:prstGeom prst="rect">
            <a:avLst/>
          </a:prstGeom>
        </p:spPr>
      </p:pic>
      <p:sp>
        <p:nvSpPr>
          <p:cNvPr id="4" name="TextBox 3">
            <a:extLst>
              <a:ext uri="{FF2B5EF4-FFF2-40B4-BE49-F238E27FC236}">
                <a16:creationId xmlns:a16="http://schemas.microsoft.com/office/drawing/2014/main" id="{5A80008A-C231-0137-22EA-A1688558EEF5}"/>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351882822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4_Title slide with blue Windows logo on white backgroun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7E2EE96-CAD6-46F7-AEB7-00C81021CC84}"/>
              </a:ext>
            </a:extLst>
          </p:cNvPr>
          <p:cNvSpPr>
            <a:spLocks noGrp="1"/>
          </p:cNvSpPr>
          <p:nvPr>
            <p:ph type="title" hasCustomPrompt="1"/>
          </p:nvPr>
        </p:nvSpPr>
        <p:spPr>
          <a:xfrm>
            <a:off x="666859" y="638365"/>
            <a:ext cx="2694105" cy="498598"/>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3600" b="0" kern="1200" cap="none" spc="-50" baseline="0" dirty="0">
                <a:ln w="3175">
                  <a:noFill/>
                </a:ln>
                <a:solidFill>
                  <a:srgbClr val="08023F"/>
                </a:solidFill>
                <a:effectLst/>
                <a:latin typeface="+mj-lt"/>
                <a:ea typeface="+mn-ea"/>
                <a:cs typeface="Segoe UI" pitchFamily="34" charset="0"/>
              </a:defRPr>
            </a:lvl1pPr>
          </a:lstStyle>
          <a:p>
            <a:r>
              <a:rPr lang="en-US" dirty="0"/>
              <a:t>Title </a:t>
            </a:r>
          </a:p>
        </p:txBody>
      </p:sp>
      <p:sp>
        <p:nvSpPr>
          <p:cNvPr id="9" name="Text Placeholder 4">
            <a:extLst>
              <a:ext uri="{FF2B5EF4-FFF2-40B4-BE49-F238E27FC236}">
                <a16:creationId xmlns:a16="http://schemas.microsoft.com/office/drawing/2014/main" id="{EAD98D2E-15E9-4E97-B820-4F26956CA8B1}"/>
              </a:ext>
            </a:extLst>
          </p:cNvPr>
          <p:cNvSpPr>
            <a:spLocks noGrp="1"/>
          </p:cNvSpPr>
          <p:nvPr>
            <p:ph type="body" sz="quarter" idx="12" hasCustomPrompt="1"/>
          </p:nvPr>
        </p:nvSpPr>
        <p:spPr>
          <a:xfrm>
            <a:off x="975985" y="1808551"/>
            <a:ext cx="9144000" cy="307777"/>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rgbClr val="08023F"/>
                </a:solidFill>
                <a:latin typeface="+mn-lt"/>
              </a:defRPr>
            </a:lvl1pPr>
          </a:lstStyle>
          <a:p>
            <a:pPr lvl="0"/>
            <a:r>
              <a:rPr lang="en-US" dirty="0"/>
              <a:t>Content</a:t>
            </a:r>
          </a:p>
        </p:txBody>
      </p:sp>
      <p:pic>
        <p:nvPicPr>
          <p:cNvPr id="2" name="Picture 1">
            <a:extLst>
              <a:ext uri="{FF2B5EF4-FFF2-40B4-BE49-F238E27FC236}">
                <a16:creationId xmlns:a16="http://schemas.microsoft.com/office/drawing/2014/main" id="{AEECA080-AAEE-044D-DBBF-87373C688126}"/>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5" name="TextBox 4">
            <a:extLst>
              <a:ext uri="{FF2B5EF4-FFF2-40B4-BE49-F238E27FC236}">
                <a16:creationId xmlns:a16="http://schemas.microsoft.com/office/drawing/2014/main" id="{3D4FEBDC-D193-AE5D-4DD5-A0E6D35ED633}"/>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299122374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Blank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37E4AD-5E40-7B9E-EF6B-51E9C3CF6AAA}"/>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3" name="TextBox 2">
            <a:extLst>
              <a:ext uri="{FF2B5EF4-FFF2-40B4-BE49-F238E27FC236}">
                <a16:creationId xmlns:a16="http://schemas.microsoft.com/office/drawing/2014/main" id="{8901C681-4913-FBC0-A76C-8214176716AC}"/>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260697333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3_Title slide with blue Windows logo on whit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9F2933-547A-2601-63DB-A0630CFD226C}"/>
              </a:ext>
            </a:extLst>
          </p:cNvPr>
          <p:cNvPicPr>
            <a:picLocks noChangeAspect="1"/>
          </p:cNvPicPr>
          <p:nvPr userDrawn="1"/>
        </p:nvPicPr>
        <p:blipFill>
          <a:blip r:embed="rId2"/>
          <a:stretch>
            <a:fillRect/>
          </a:stretch>
        </p:blipFill>
        <p:spPr>
          <a:xfrm>
            <a:off x="6362095" y="2996337"/>
            <a:ext cx="5829905" cy="3885334"/>
          </a:xfrm>
          <a:prstGeom prst="rect">
            <a:avLst/>
          </a:prstGeom>
        </p:spPr>
      </p:pic>
      <p:sp>
        <p:nvSpPr>
          <p:cNvPr id="15"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704" rtl="0" eaLnBrk="1" latinLnBrk="0" hangingPunct="1">
              <a:lnSpc>
                <a:spcPct val="90000"/>
              </a:lnSpc>
              <a:spcBef>
                <a:spcPct val="0"/>
              </a:spcBef>
              <a:buNone/>
              <a:defRPr lang="en-US" sz="3600" b="0" kern="1200" cap="none" spc="-50" baseline="0" dirty="0">
                <a:ln w="3175">
                  <a:noFill/>
                </a:ln>
                <a:solidFill>
                  <a:srgbClr val="08023F"/>
                </a:solidFill>
                <a:effectLst/>
                <a:latin typeface="+mj-lt"/>
                <a:ea typeface="+mn-ea"/>
                <a:cs typeface="Segoe UI" pitchFamily="34" charset="0"/>
              </a:defRPr>
            </a:lvl1pPr>
          </a:lstStyle>
          <a:p>
            <a:r>
              <a:rPr lang="en-US" dirty="0"/>
              <a:t>Demo title</a:t>
            </a:r>
          </a:p>
        </p:txBody>
      </p:sp>
      <p:sp>
        <p:nvSpPr>
          <p:cNvPr id="16" name="Text Placeholder 4"/>
          <p:cNvSpPr>
            <a:spLocks noGrp="1"/>
          </p:cNvSpPr>
          <p:nvPr>
            <p:ph type="body" sz="quarter" idx="12" hasCustomPrompt="1"/>
          </p:nvPr>
        </p:nvSpPr>
        <p:spPr>
          <a:xfrm>
            <a:off x="585216" y="3977320"/>
            <a:ext cx="9144000" cy="307777"/>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rgbClr val="08023F"/>
                </a:solidFill>
                <a:latin typeface="+mn-lt"/>
              </a:defRPr>
            </a:lvl1pPr>
          </a:lstStyle>
          <a:p>
            <a:pPr lvl="0"/>
            <a:r>
              <a:rPr lang="en-US" dirty="0"/>
              <a:t>Content</a:t>
            </a:r>
          </a:p>
        </p:txBody>
      </p:sp>
      <p:pic>
        <p:nvPicPr>
          <p:cNvPr id="2" name="Picture 1">
            <a:extLst>
              <a:ext uri="{FF2B5EF4-FFF2-40B4-BE49-F238E27FC236}">
                <a16:creationId xmlns:a16="http://schemas.microsoft.com/office/drawing/2014/main" id="{D385E5DB-DF49-C0C0-7902-A579C9F2E46A}"/>
              </a:ext>
            </a:extLst>
          </p:cNvPr>
          <p:cNvPicPr>
            <a:picLocks noChangeAspect="1"/>
          </p:cNvPicPr>
          <p:nvPr userDrawn="1"/>
        </p:nvPicPr>
        <p:blipFill>
          <a:blip r:embed="rId3"/>
          <a:stretch>
            <a:fillRect/>
          </a:stretch>
        </p:blipFill>
        <p:spPr>
          <a:xfrm>
            <a:off x="10533530" y="-33617"/>
            <a:ext cx="1381997" cy="1688188"/>
          </a:xfrm>
          <a:prstGeom prst="rect">
            <a:avLst/>
          </a:prstGeom>
        </p:spPr>
      </p:pic>
      <p:sp>
        <p:nvSpPr>
          <p:cNvPr id="4" name="TextBox 3">
            <a:extLst>
              <a:ext uri="{FF2B5EF4-FFF2-40B4-BE49-F238E27FC236}">
                <a16:creationId xmlns:a16="http://schemas.microsoft.com/office/drawing/2014/main" id="{800C1EF1-BA09-2053-5B24-5D032FE5B748}"/>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Tree>
    <p:extLst>
      <p:ext uri="{BB962C8B-B14F-4D97-AF65-F5344CB8AC3E}">
        <p14:creationId xmlns:p14="http://schemas.microsoft.com/office/powerpoint/2010/main" val="75702055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5_Title slide with blue Windows logo on whit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3DE48E-CA20-CEA2-7809-1909F04F51A5}"/>
              </a:ext>
            </a:extLst>
          </p:cNvPr>
          <p:cNvPicPr>
            <a:picLocks noChangeAspect="1"/>
          </p:cNvPicPr>
          <p:nvPr userDrawn="1"/>
        </p:nvPicPr>
        <p:blipFill>
          <a:blip r:embed="rId2"/>
          <a:stretch>
            <a:fillRect/>
          </a:stretch>
        </p:blipFill>
        <p:spPr>
          <a:xfrm>
            <a:off x="6362095" y="2996337"/>
            <a:ext cx="5829905" cy="3885334"/>
          </a:xfrm>
          <a:prstGeom prst="rect">
            <a:avLst/>
          </a:prstGeom>
        </p:spPr>
      </p:pic>
      <p:sp>
        <p:nvSpPr>
          <p:cNvPr id="4" name="TextBox 3">
            <a:extLst>
              <a:ext uri="{FF2B5EF4-FFF2-40B4-BE49-F238E27FC236}">
                <a16:creationId xmlns:a16="http://schemas.microsoft.com/office/drawing/2014/main" id="{E58448FC-5B40-176D-4D3F-3198A67043BC}"/>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
        <p:nvSpPr>
          <p:cNvPr id="15" name="Title 1"/>
          <p:cNvSpPr>
            <a:spLocks noGrp="1"/>
          </p:cNvSpPr>
          <p:nvPr>
            <p:ph type="title" hasCustomPrompt="1"/>
          </p:nvPr>
        </p:nvSpPr>
        <p:spPr>
          <a:xfrm>
            <a:off x="4806228" y="2921169"/>
            <a:ext cx="2579546" cy="1015663"/>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7333" b="0" kern="1200" cap="none" spc="-50" baseline="0" dirty="0">
                <a:ln w="3175">
                  <a:noFill/>
                </a:ln>
                <a:solidFill>
                  <a:srgbClr val="08023F"/>
                </a:solidFill>
                <a:effectLst/>
                <a:latin typeface="+mj-lt"/>
                <a:ea typeface="+mn-ea"/>
                <a:cs typeface="Segoe UI" pitchFamily="34" charset="0"/>
              </a:defRPr>
            </a:lvl1pPr>
          </a:lstStyle>
          <a:p>
            <a:r>
              <a:rPr lang="en-US" dirty="0"/>
              <a:t>Q &amp; A</a:t>
            </a:r>
          </a:p>
        </p:txBody>
      </p:sp>
      <p:pic>
        <p:nvPicPr>
          <p:cNvPr id="2" name="Picture 1">
            <a:extLst>
              <a:ext uri="{FF2B5EF4-FFF2-40B4-BE49-F238E27FC236}">
                <a16:creationId xmlns:a16="http://schemas.microsoft.com/office/drawing/2014/main" id="{2B2BD898-8C1A-EFEC-EE0B-7DB43AE9F8CF}"/>
              </a:ext>
            </a:extLst>
          </p:cNvPr>
          <p:cNvPicPr>
            <a:picLocks noChangeAspect="1"/>
          </p:cNvPicPr>
          <p:nvPr userDrawn="1"/>
        </p:nvPicPr>
        <p:blipFill>
          <a:blip r:embed="rId3"/>
          <a:stretch>
            <a:fillRect/>
          </a:stretch>
        </p:blipFill>
        <p:spPr>
          <a:xfrm>
            <a:off x="10533530" y="-33617"/>
            <a:ext cx="1381997" cy="1688188"/>
          </a:xfrm>
          <a:prstGeom prst="rect">
            <a:avLst/>
          </a:prstGeom>
        </p:spPr>
      </p:pic>
    </p:spTree>
    <p:extLst>
      <p:ext uri="{BB962C8B-B14F-4D97-AF65-F5344CB8AC3E}">
        <p14:creationId xmlns:p14="http://schemas.microsoft.com/office/powerpoint/2010/main" val="329436543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hankYou_Slide">
    <p:bg>
      <p:bgPr>
        <a:solidFill>
          <a:srgbClr val="FFFFFF"/>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13E642DD-3064-485E-76C7-1F54A660752F}"/>
              </a:ext>
            </a:extLst>
          </p:cNvPr>
          <p:cNvSpPr txBox="1"/>
          <p:nvPr userDrawn="1"/>
        </p:nvSpPr>
        <p:spPr>
          <a:xfrm>
            <a:off x="461222" y="6488570"/>
            <a:ext cx="1659122" cy="297454"/>
          </a:xfrm>
          <a:prstGeom prst="rect">
            <a:avLst/>
          </a:prstGeom>
          <a:noFill/>
        </p:spPr>
        <p:txBody>
          <a:bodyPr wrap="square">
            <a:spAutoFit/>
          </a:bodyPr>
          <a:lstStyle/>
          <a:p>
            <a:r>
              <a:rPr lang="en-IN" sz="1333" b="0" i="0" u="none" strike="noStrike" baseline="0" dirty="0">
                <a:solidFill>
                  <a:schemeClr val="tx1"/>
                </a:solidFill>
                <a:latin typeface="Poppins" pitchFamily="2" charset="77"/>
                <a:cs typeface="Poppins" pitchFamily="2" charset="77"/>
              </a:rPr>
              <a:t>#AzConfDev</a:t>
            </a:r>
            <a:endParaRPr lang="en-IN" sz="1333" b="0" dirty="0">
              <a:solidFill>
                <a:schemeClr val="tx1"/>
              </a:solidFill>
              <a:latin typeface="Poppins" pitchFamily="2" charset="77"/>
              <a:cs typeface="Poppins" pitchFamily="2" charset="77"/>
            </a:endParaRPr>
          </a:p>
        </p:txBody>
      </p:sp>
      <p:sp>
        <p:nvSpPr>
          <p:cNvPr id="4" name="Title 1">
            <a:extLst>
              <a:ext uri="{FF2B5EF4-FFF2-40B4-BE49-F238E27FC236}">
                <a16:creationId xmlns:a16="http://schemas.microsoft.com/office/drawing/2014/main" id="{4BFD5B93-2926-40E7-8152-4B1DB45D531F}"/>
              </a:ext>
            </a:extLst>
          </p:cNvPr>
          <p:cNvSpPr>
            <a:spLocks noGrp="1"/>
          </p:cNvSpPr>
          <p:nvPr>
            <p:ph type="title" hasCustomPrompt="1"/>
          </p:nvPr>
        </p:nvSpPr>
        <p:spPr>
          <a:xfrm>
            <a:off x="666859" y="606095"/>
            <a:ext cx="3905141" cy="498588"/>
          </a:xfrm>
          <a:prstGeom prst="rect">
            <a:avLst/>
          </a:prstGeom>
          <a:noFill/>
        </p:spPr>
        <p:txBody>
          <a:bodyPr wrap="square" lIns="0" tIns="0" rIns="0" bIns="0" anchor="b" anchorCtr="0">
            <a:spAutoFit/>
          </a:bodyPr>
          <a:lstStyle>
            <a:lvl1pPr algn="l" defTabSz="932704" rtl="0" eaLnBrk="1" latinLnBrk="0" hangingPunct="1">
              <a:lnSpc>
                <a:spcPct val="90000"/>
              </a:lnSpc>
              <a:spcBef>
                <a:spcPct val="0"/>
              </a:spcBef>
              <a:buNone/>
              <a:defRPr lang="en-US" sz="3600" b="0" kern="1200" cap="none" spc="-50" baseline="0" dirty="0">
                <a:ln w="3175">
                  <a:noFill/>
                </a:ln>
                <a:solidFill>
                  <a:srgbClr val="08023F"/>
                </a:solidFill>
                <a:effectLst/>
                <a:latin typeface="+mj-lt"/>
                <a:ea typeface="Segoe UI Black" panose="020B0A02040204020203" pitchFamily="34" charset="0"/>
                <a:cs typeface="Segoe UI" pitchFamily="34" charset="0"/>
              </a:defRPr>
            </a:lvl1pPr>
          </a:lstStyle>
          <a:p>
            <a:r>
              <a:rPr lang="en-US" dirty="0"/>
              <a:t>THANK YOU !</a:t>
            </a:r>
          </a:p>
        </p:txBody>
      </p:sp>
      <p:sp>
        <p:nvSpPr>
          <p:cNvPr id="6" name="Text Placeholder 4">
            <a:extLst>
              <a:ext uri="{FF2B5EF4-FFF2-40B4-BE49-F238E27FC236}">
                <a16:creationId xmlns:a16="http://schemas.microsoft.com/office/drawing/2014/main" id="{34EDE0F8-003E-446A-9CCB-3D93AD93B0FD}"/>
              </a:ext>
            </a:extLst>
          </p:cNvPr>
          <p:cNvSpPr>
            <a:spLocks noGrp="1"/>
          </p:cNvSpPr>
          <p:nvPr>
            <p:ph type="body" sz="quarter" idx="12" hasCustomPrompt="1"/>
          </p:nvPr>
        </p:nvSpPr>
        <p:spPr>
          <a:xfrm>
            <a:off x="666859" y="3344788"/>
            <a:ext cx="4075714" cy="246221"/>
          </a:xfrm>
          <a:noFill/>
        </p:spPr>
        <p:txBody>
          <a:bodyPr wrap="square" lIns="0" tIns="0" rIns="0" bIns="0">
            <a:spAutoFit/>
          </a:bodyPr>
          <a:lstStyle>
            <a:lvl1pPr marL="0" indent="0">
              <a:spcBef>
                <a:spcPts val="0"/>
              </a:spcBef>
              <a:buNone/>
              <a:defRPr sz="1600" b="1" spc="0" baseline="0">
                <a:solidFill>
                  <a:srgbClr val="08023F"/>
                </a:solidFill>
                <a:latin typeface="Segoe UI" panose="020B0502040204020203" pitchFamily="34" charset="0"/>
                <a:cs typeface="Segoe UI" panose="020B0502040204020203" pitchFamily="34" charset="0"/>
              </a:defRPr>
            </a:lvl1pPr>
          </a:lstStyle>
          <a:p>
            <a:pPr lvl="0"/>
            <a:r>
              <a:rPr lang="en-US" dirty="0"/>
              <a:t>Speaker one name</a:t>
            </a:r>
          </a:p>
        </p:txBody>
      </p:sp>
      <p:sp>
        <p:nvSpPr>
          <p:cNvPr id="7" name="Text Placeholder 4">
            <a:extLst>
              <a:ext uri="{FF2B5EF4-FFF2-40B4-BE49-F238E27FC236}">
                <a16:creationId xmlns:a16="http://schemas.microsoft.com/office/drawing/2014/main" id="{883B0BDC-EFBE-4EE2-9446-E8320596B2C6}"/>
              </a:ext>
            </a:extLst>
          </p:cNvPr>
          <p:cNvSpPr>
            <a:spLocks noGrp="1"/>
          </p:cNvSpPr>
          <p:nvPr>
            <p:ph type="body" sz="quarter" idx="15" hasCustomPrompt="1"/>
          </p:nvPr>
        </p:nvSpPr>
        <p:spPr>
          <a:xfrm>
            <a:off x="666859" y="3668446"/>
            <a:ext cx="4075714" cy="215444"/>
          </a:xfrm>
          <a:noFill/>
        </p:spPr>
        <p:txBody>
          <a:bodyPr wrap="square" lIns="0" tIns="0" rIns="0" bIns="0">
            <a:spAutoFit/>
          </a:bodyPr>
          <a:lstStyle>
            <a:lvl1pPr marL="0" indent="0">
              <a:spcBef>
                <a:spcPts val="0"/>
              </a:spcBef>
              <a:buNone/>
              <a:defRPr sz="1400" spc="0" baseline="0">
                <a:solidFill>
                  <a:srgbClr val="08023F"/>
                </a:solidFill>
                <a:latin typeface="Segoe UI" panose="020B0502040204020203" pitchFamily="34" charset="0"/>
                <a:cs typeface="Segoe UI" panose="020B0502040204020203" pitchFamily="34" charset="0"/>
              </a:defRPr>
            </a:lvl1pPr>
          </a:lstStyle>
          <a:p>
            <a:pPr lvl="0"/>
            <a:r>
              <a:rPr lang="en-US" dirty="0"/>
              <a:t>Speaker one subtitle text</a:t>
            </a:r>
          </a:p>
        </p:txBody>
      </p:sp>
      <p:sp>
        <p:nvSpPr>
          <p:cNvPr id="9" name="Text Placeholder 4">
            <a:extLst>
              <a:ext uri="{FF2B5EF4-FFF2-40B4-BE49-F238E27FC236}">
                <a16:creationId xmlns:a16="http://schemas.microsoft.com/office/drawing/2014/main" id="{022C9921-9FD0-4BF0-BE16-2A88E9B884AB}"/>
              </a:ext>
            </a:extLst>
          </p:cNvPr>
          <p:cNvSpPr>
            <a:spLocks noGrp="1"/>
          </p:cNvSpPr>
          <p:nvPr>
            <p:ph type="body" sz="quarter" idx="16" hasCustomPrompt="1"/>
          </p:nvPr>
        </p:nvSpPr>
        <p:spPr>
          <a:xfrm>
            <a:off x="666859" y="4165358"/>
            <a:ext cx="4075714" cy="246221"/>
          </a:xfrm>
          <a:noFill/>
        </p:spPr>
        <p:txBody>
          <a:bodyPr wrap="square" lIns="0" tIns="0" rIns="0" bIns="0">
            <a:spAutoFit/>
          </a:bodyPr>
          <a:lstStyle>
            <a:lvl1pPr marL="0" indent="0">
              <a:spcBef>
                <a:spcPts val="0"/>
              </a:spcBef>
              <a:buNone/>
              <a:defRPr sz="1600" b="1" spc="0" baseline="0">
                <a:solidFill>
                  <a:srgbClr val="08023F"/>
                </a:solidFill>
                <a:latin typeface="Segoe UI" panose="020B0502040204020203" pitchFamily="34" charset="0"/>
                <a:cs typeface="Segoe UI" panose="020B0502040204020203" pitchFamily="34" charset="0"/>
              </a:defRPr>
            </a:lvl1pPr>
          </a:lstStyle>
          <a:p>
            <a:pPr lvl="0"/>
            <a:r>
              <a:rPr lang="en-US" dirty="0"/>
              <a:t>Speaker two name</a:t>
            </a:r>
          </a:p>
        </p:txBody>
      </p:sp>
      <p:sp>
        <p:nvSpPr>
          <p:cNvPr id="10" name="Text Placeholder 4">
            <a:extLst>
              <a:ext uri="{FF2B5EF4-FFF2-40B4-BE49-F238E27FC236}">
                <a16:creationId xmlns:a16="http://schemas.microsoft.com/office/drawing/2014/main" id="{123A88AD-7DAB-4B6E-963C-F0374313C22B}"/>
              </a:ext>
            </a:extLst>
          </p:cNvPr>
          <p:cNvSpPr>
            <a:spLocks noGrp="1"/>
          </p:cNvSpPr>
          <p:nvPr>
            <p:ph type="body" sz="quarter" idx="17" hasCustomPrompt="1"/>
          </p:nvPr>
        </p:nvSpPr>
        <p:spPr>
          <a:xfrm>
            <a:off x="666859" y="4473136"/>
            <a:ext cx="4075714" cy="215444"/>
          </a:xfrm>
          <a:noFill/>
        </p:spPr>
        <p:txBody>
          <a:bodyPr wrap="square" lIns="0" tIns="0" rIns="0" bIns="0">
            <a:spAutoFit/>
          </a:bodyPr>
          <a:lstStyle>
            <a:lvl1pPr marL="0" indent="0">
              <a:spcBef>
                <a:spcPts val="0"/>
              </a:spcBef>
              <a:buNone/>
              <a:defRPr sz="1400" spc="0" baseline="0">
                <a:solidFill>
                  <a:srgbClr val="08023F"/>
                </a:solidFill>
                <a:latin typeface="Segoe UI" panose="020B0502040204020203" pitchFamily="34" charset="0"/>
                <a:cs typeface="Segoe UI" panose="020B0502040204020203" pitchFamily="34" charset="0"/>
              </a:defRPr>
            </a:lvl1pPr>
          </a:lstStyle>
          <a:p>
            <a:pPr lvl="0"/>
            <a:r>
              <a:rPr lang="en-US" dirty="0"/>
              <a:t>Speaker two subtitle text</a:t>
            </a:r>
          </a:p>
        </p:txBody>
      </p:sp>
      <p:sp>
        <p:nvSpPr>
          <p:cNvPr id="17" name="Text Placeholder 16">
            <a:extLst>
              <a:ext uri="{FF2B5EF4-FFF2-40B4-BE49-F238E27FC236}">
                <a16:creationId xmlns:a16="http://schemas.microsoft.com/office/drawing/2014/main" id="{544298FB-4D19-41BA-A056-1EB0429A64C2}"/>
              </a:ext>
            </a:extLst>
          </p:cNvPr>
          <p:cNvSpPr>
            <a:spLocks noGrp="1"/>
          </p:cNvSpPr>
          <p:nvPr>
            <p:ph type="body" sz="quarter" idx="19" hasCustomPrompt="1"/>
          </p:nvPr>
        </p:nvSpPr>
        <p:spPr>
          <a:xfrm>
            <a:off x="666859" y="2162387"/>
            <a:ext cx="3942349" cy="389249"/>
          </a:xfrm>
          <a:prstGeom prst="rect">
            <a:avLst/>
          </a:prstGeom>
        </p:spPr>
        <p:txBody>
          <a:bodyPr/>
          <a:lstStyle>
            <a:lvl1pPr>
              <a:defRPr sz="2750" b="1" i="0">
                <a:solidFill>
                  <a:srgbClr val="08023F"/>
                </a:solidFill>
              </a:defRPr>
            </a:lvl1pPr>
          </a:lstStyle>
          <a:p>
            <a:r>
              <a:rPr lang="en-US" dirty="0">
                <a:solidFill>
                  <a:srgbClr val="08023F"/>
                </a:solidFill>
                <a:latin typeface="Segoe UI Semibold (Headings)"/>
                <a:cs typeface="Segoe UI" panose="020B0502040204020203" pitchFamily="34" charset="0"/>
              </a:rPr>
              <a:t>Presentation title </a:t>
            </a:r>
          </a:p>
        </p:txBody>
      </p:sp>
      <p:pic>
        <p:nvPicPr>
          <p:cNvPr id="2" name="Picture 1">
            <a:extLst>
              <a:ext uri="{FF2B5EF4-FFF2-40B4-BE49-F238E27FC236}">
                <a16:creationId xmlns:a16="http://schemas.microsoft.com/office/drawing/2014/main" id="{69C3FAF8-3116-923F-1EEF-20DB3F85F479}"/>
              </a:ext>
            </a:extLst>
          </p:cNvPr>
          <p:cNvPicPr>
            <a:picLocks noChangeAspect="1"/>
          </p:cNvPicPr>
          <p:nvPr userDrawn="1"/>
        </p:nvPicPr>
        <p:blipFill>
          <a:blip r:embed="rId2"/>
          <a:stretch>
            <a:fillRect/>
          </a:stretch>
        </p:blipFill>
        <p:spPr>
          <a:xfrm>
            <a:off x="10533530" y="-33617"/>
            <a:ext cx="1381997" cy="1688188"/>
          </a:xfrm>
          <a:prstGeom prst="rect">
            <a:avLst/>
          </a:prstGeom>
        </p:spPr>
      </p:pic>
      <p:sp>
        <p:nvSpPr>
          <p:cNvPr id="5" name="TextBox 4">
            <a:extLst>
              <a:ext uri="{FF2B5EF4-FFF2-40B4-BE49-F238E27FC236}">
                <a16:creationId xmlns:a16="http://schemas.microsoft.com/office/drawing/2014/main" id="{9C0507F0-86DB-9EB6-A672-C24403E518F8}"/>
              </a:ext>
            </a:extLst>
          </p:cNvPr>
          <p:cNvSpPr txBox="1"/>
          <p:nvPr userDrawn="1"/>
        </p:nvSpPr>
        <p:spPr>
          <a:xfrm>
            <a:off x="334222" y="6361570"/>
            <a:ext cx="1659122" cy="297454"/>
          </a:xfrm>
          <a:prstGeom prst="rect">
            <a:avLst/>
          </a:prstGeom>
          <a:noFill/>
        </p:spPr>
        <p:txBody>
          <a:bodyPr wrap="square">
            <a:spAutoFit/>
          </a:bodyPr>
          <a:lstStyle/>
          <a:p>
            <a:r>
              <a:rPr lang="en-IN" sz="1333" b="0" i="0" u="none" strike="noStrike" baseline="0" dirty="0">
                <a:solidFill>
                  <a:schemeClr val="bg1"/>
                </a:solidFill>
                <a:latin typeface="Poppins" pitchFamily="2" charset="77"/>
                <a:cs typeface="Poppins" pitchFamily="2" charset="77"/>
              </a:rPr>
              <a:t>#AzConfDev</a:t>
            </a:r>
            <a:endParaRPr lang="en-IN" sz="1333" b="0" dirty="0">
              <a:latin typeface="Poppins" pitchFamily="2" charset="77"/>
              <a:cs typeface="Poppins" pitchFamily="2" charset="77"/>
            </a:endParaRPr>
          </a:p>
        </p:txBody>
      </p:sp>
      <p:pic>
        <p:nvPicPr>
          <p:cNvPr id="8" name="Picture 7">
            <a:extLst>
              <a:ext uri="{FF2B5EF4-FFF2-40B4-BE49-F238E27FC236}">
                <a16:creationId xmlns:a16="http://schemas.microsoft.com/office/drawing/2014/main" id="{5839C542-8226-D379-3603-62DB9CE3338B}"/>
              </a:ext>
            </a:extLst>
          </p:cNvPr>
          <p:cNvPicPr>
            <a:picLocks noChangeAspect="1"/>
          </p:cNvPicPr>
          <p:nvPr userDrawn="1"/>
        </p:nvPicPr>
        <p:blipFill>
          <a:blip r:embed="rId3"/>
          <a:stretch>
            <a:fillRect/>
          </a:stretch>
        </p:blipFill>
        <p:spPr>
          <a:xfrm>
            <a:off x="4450292" y="2185459"/>
            <a:ext cx="3291417" cy="2487083"/>
          </a:xfrm>
          <a:prstGeom prst="rect">
            <a:avLst/>
          </a:prstGeom>
        </p:spPr>
      </p:pic>
      <p:pic>
        <p:nvPicPr>
          <p:cNvPr id="18" name="Picture 17">
            <a:extLst>
              <a:ext uri="{FF2B5EF4-FFF2-40B4-BE49-F238E27FC236}">
                <a16:creationId xmlns:a16="http://schemas.microsoft.com/office/drawing/2014/main" id="{AEC3409D-5A13-B030-03A4-99AD4A61BD94}"/>
              </a:ext>
            </a:extLst>
          </p:cNvPr>
          <p:cNvPicPr>
            <a:picLocks noChangeAspect="1"/>
          </p:cNvPicPr>
          <p:nvPr userDrawn="1"/>
        </p:nvPicPr>
        <p:blipFill>
          <a:blip r:embed="rId4"/>
          <a:stretch>
            <a:fillRect/>
          </a:stretch>
        </p:blipFill>
        <p:spPr>
          <a:xfrm>
            <a:off x="6362095" y="2996337"/>
            <a:ext cx="5829905" cy="3885334"/>
          </a:xfrm>
          <a:prstGeom prst="rect">
            <a:avLst/>
          </a:prstGeom>
        </p:spPr>
      </p:pic>
    </p:spTree>
    <p:extLst>
      <p:ext uri="{BB962C8B-B14F-4D97-AF65-F5344CB8AC3E}">
        <p14:creationId xmlns:p14="http://schemas.microsoft.com/office/powerpoint/2010/main" val="19633962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717289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035857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1"/>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18482637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2"/>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5191453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Full">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32932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739865634"/>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47" indent="0">
              <a:buNone/>
              <a:defRPr/>
            </a:lvl2pPr>
            <a:lvl3pPr marL="457093" indent="0">
              <a:buNone/>
              <a:defRPr/>
            </a:lvl3pPr>
            <a:lvl4pPr marL="685641" indent="0">
              <a:buNone/>
              <a:defRPr/>
            </a:lvl4pPr>
            <a:lvl5pPr marL="91418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82568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7467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3EEFF5A-5F64-A848-A9FC-B7EF75724940}"/>
              </a:ext>
            </a:extLst>
          </p:cNvPr>
          <p:cNvSpPr/>
          <p:nvPr userDrawn="1"/>
        </p:nvSpPr>
        <p:spPr bwMode="auto">
          <a:xfrm>
            <a:off x="6118898" y="0"/>
            <a:ext cx="6096000" cy="6876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39703"/>
            <a:ext cx="5134143"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88" indent="0">
              <a:lnSpc>
                <a:spcPct val="90000"/>
              </a:lnSpc>
              <a:spcBef>
                <a:spcPts val="0"/>
              </a:spcBef>
              <a:spcAft>
                <a:spcPts val="1274"/>
              </a:spcAft>
              <a:buNone/>
              <a:defRPr sz="1961">
                <a:solidFill>
                  <a:srgbClr val="000000"/>
                </a:solidFill>
              </a:defRPr>
            </a:lvl2pPr>
            <a:lvl3pPr marL="448175" indent="0">
              <a:spcBef>
                <a:spcPts val="0"/>
              </a:spcBef>
              <a:spcAft>
                <a:spcPts val="1274"/>
              </a:spcAft>
              <a:buNone/>
              <a:defRPr sz="1961">
                <a:solidFill>
                  <a:srgbClr val="000000"/>
                </a:solidFill>
              </a:defRPr>
            </a:lvl3pPr>
            <a:lvl4pPr marL="672263" indent="0">
              <a:spcBef>
                <a:spcPts val="0"/>
              </a:spcBef>
              <a:spcAft>
                <a:spcPts val="1274"/>
              </a:spcAft>
              <a:buNone/>
              <a:defRPr sz="1961"/>
            </a:lvl4pPr>
            <a:lvl5pPr marL="89635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440495"/>
            <a:ext cx="5145036" cy="739343"/>
          </a:xfrm>
          <a:prstGeom prst="rect">
            <a:avLst/>
          </a:prstGeom>
        </p:spPr>
        <p:txBody>
          <a:bodyPr vert="horz" wrap="square" lIns="0" tIns="0" rIns="0" bIns="0" rtlCol="0" anchor="t">
            <a:noAutofit/>
          </a:bodyPr>
          <a:lstStyle>
            <a:lvl1pPr>
              <a:lnSpc>
                <a:spcPct val="100000"/>
              </a:lnSpc>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936911797"/>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0" y="289513"/>
            <a:ext cx="5606043" cy="899665"/>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39" y="1858465"/>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566612"/>
            <a:ext cx="12192000" cy="129138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160"/>
          </a:p>
        </p:txBody>
      </p:sp>
    </p:spTree>
    <p:extLst>
      <p:ext uri="{BB962C8B-B14F-4D97-AF65-F5344CB8AC3E}">
        <p14:creationId xmlns:p14="http://schemas.microsoft.com/office/powerpoint/2010/main" val="35877798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363"/>
            <a:r>
              <a:rPr lang="en-US"/>
              <a:t>Edit Master text styles</a:t>
            </a:r>
          </a:p>
        </p:txBody>
      </p:sp>
    </p:spTree>
    <p:extLst>
      <p:ext uri="{BB962C8B-B14F-4D97-AF65-F5344CB8AC3E}">
        <p14:creationId xmlns:p14="http://schemas.microsoft.com/office/powerpoint/2010/main" val="4205336890"/>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8"/>
            <a:ext cx="5378548" cy="1946751"/>
          </a:xfrm>
        </p:spPr>
        <p:txBody>
          <a:bodyPr wrap="square">
            <a:spAutoFit/>
          </a:bodyPr>
          <a:lstStyle>
            <a:lvl1pPr marL="281612" indent="-281612">
              <a:spcBef>
                <a:spcPts val="1200"/>
              </a:spcBef>
              <a:buClr>
                <a:schemeClr val="tx1"/>
              </a:buClr>
              <a:buFont typeface="Arial" pitchFamily="34" charset="0"/>
              <a:buChar char="•"/>
              <a:defRPr sz="3136"/>
            </a:lvl1pPr>
            <a:lvl2pPr marL="520581" indent="-228548">
              <a:defRPr sz="2353"/>
            </a:lvl2pPr>
            <a:lvl3pPr marL="685643" indent="-165063">
              <a:tabLst/>
              <a:defRPr sz="1961"/>
            </a:lvl3pPr>
            <a:lvl4pPr marL="863402" indent="-177760">
              <a:defRPr/>
            </a:lvl4pPr>
            <a:lvl5pPr marL="1028465" indent="-16506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612" indent="-281612">
              <a:spcBef>
                <a:spcPts val="1200"/>
              </a:spcBef>
              <a:buClr>
                <a:schemeClr val="tx1"/>
              </a:buClr>
              <a:buFont typeface="Arial" pitchFamily="34" charset="0"/>
              <a:buChar char="•"/>
              <a:defRPr sz="3136"/>
            </a:lvl1pPr>
            <a:lvl2pPr marL="520581" indent="-228548">
              <a:defRPr sz="2353"/>
            </a:lvl2pPr>
            <a:lvl3pPr marL="685643" indent="-165063">
              <a:tabLst/>
              <a:defRPr sz="1961"/>
            </a:lvl3pPr>
            <a:lvl4pPr marL="863402" indent="-177760">
              <a:defRPr/>
            </a:lvl4pPr>
            <a:lvl5pPr marL="1028465" indent="-16506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43891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012203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9"/>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91" lvl="0" indent="-228591"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68895431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0165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469985"/>
            <a:ext cx="12192000" cy="539524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marL="0" lvl="0" defTabSz="914363"/>
            <a:r>
              <a:rPr lang="en-US"/>
              <a:t>Edit Master text styles</a:t>
            </a:r>
          </a:p>
        </p:txBody>
      </p:sp>
    </p:spTree>
    <p:extLst>
      <p:ext uri="{BB962C8B-B14F-4D97-AF65-F5344CB8AC3E}">
        <p14:creationId xmlns:p14="http://schemas.microsoft.com/office/powerpoint/2010/main" val="1907606304"/>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Title and only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3534381448"/>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Ask Questions : http://aka.ms/cosmos-qa</a:t>
            </a:r>
          </a:p>
        </p:txBody>
      </p:sp>
      <p:sp>
        <p:nvSpPr>
          <p:cNvPr id="6" name="Slide Number Placeholder 5"/>
          <p:cNvSpPr>
            <a:spLocks noGrp="1"/>
          </p:cNvSpPr>
          <p:nvPr>
            <p:ph type="sldNum" sz="quarter" idx="12"/>
          </p:nvPr>
        </p:nvSpPr>
        <p:spPr/>
        <p:txBody>
          <a:bodyPr/>
          <a:lstStyle/>
          <a:p>
            <a:fld id="{1C8EB9E8-CA3A-4349-8165-A1A8FED2E9F7}" type="slidenum">
              <a:rPr lang="en-US" smtClean="0"/>
              <a:t>‹#›</a:t>
            </a:fld>
            <a:endParaRPr lang="en-US"/>
          </a:p>
        </p:txBody>
      </p:sp>
    </p:spTree>
    <p:extLst>
      <p:ext uri="{BB962C8B-B14F-4D97-AF65-F5344CB8AC3E}">
        <p14:creationId xmlns:p14="http://schemas.microsoft.com/office/powerpoint/2010/main" val="1407178300"/>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5"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29" indent="-236529">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4100664"/>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1" y="1591729"/>
            <a:ext cx="5265119" cy="3606200"/>
          </a:xfrm>
        </p:spPr>
        <p:txBody>
          <a:bodyPr/>
          <a:lstStyle>
            <a:lvl1pPr marL="0" indent="0">
              <a:spcBef>
                <a:spcPts val="1200"/>
              </a:spcBef>
              <a:spcAft>
                <a:spcPts val="800"/>
              </a:spcAft>
              <a:buNone/>
              <a:defRPr sz="1800" spc="0" baseline="0">
                <a:solidFill>
                  <a:schemeClr val="tx1"/>
                </a:solidFill>
              </a:defRPr>
            </a:lvl1pPr>
            <a:lvl2pPr marL="160014" indent="-160014" algn="l" defTabSz="76197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891" indent="-228591" defTabSz="761970">
              <a:buClr>
                <a:schemeClr val="tx2"/>
              </a:buClr>
              <a:defRPr sz="1200" spc="0" baseline="0">
                <a:solidFill>
                  <a:schemeClr val="tx1"/>
                </a:solidFill>
              </a:defRPr>
            </a:lvl3pPr>
            <a:lvl4pPr marL="914363" indent="-228591" defTabSz="761970">
              <a:buClr>
                <a:schemeClr val="tx2"/>
              </a:buClr>
              <a:defRPr sz="1100" spc="0" baseline="0">
                <a:solidFill>
                  <a:schemeClr val="tx1"/>
                </a:solidFill>
              </a:defRPr>
            </a:lvl4pPr>
            <a:lvl5pPr marL="1258838" indent="-228591" defTabSz="761970">
              <a:buClr>
                <a:schemeClr val="tx2"/>
              </a:buClr>
              <a:defRPr sz="1100" spc="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2" y="1"/>
            <a:ext cx="5938157" cy="6865234"/>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1" y="289511"/>
            <a:ext cx="5265119" cy="97686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820624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6_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5" y="1584156"/>
            <a:ext cx="5686789" cy="4751330"/>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29" indent="-236529">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78512438-1ABD-46B1-8287-587481D2C99C}"/>
              </a:ext>
            </a:extLst>
          </p:cNvPr>
          <p:cNvSpPr>
            <a:spLocks noGrp="1"/>
          </p:cNvSpPr>
          <p:nvPr>
            <p:ph sz="quarter" idx="12"/>
          </p:nvPr>
        </p:nvSpPr>
        <p:spPr>
          <a:xfrm>
            <a:off x="6340475" y="5157788"/>
            <a:ext cx="1925638" cy="553998"/>
          </a:xfrm>
        </p:spPr>
        <p:txBody>
          <a:bodyPr/>
          <a:lstStyle>
            <a:lvl1pPr marL="0" indent="0">
              <a:buNone/>
              <a:defRPr/>
            </a:lvl1pPr>
          </a:lstStyle>
          <a:p>
            <a:pPr lvl="0"/>
            <a:endParaRPr lang="en-US" dirty="0"/>
          </a:p>
        </p:txBody>
      </p:sp>
      <p:sp>
        <p:nvSpPr>
          <p:cNvPr id="8" name="Content Placeholder 5">
            <a:extLst>
              <a:ext uri="{FF2B5EF4-FFF2-40B4-BE49-F238E27FC236}">
                <a16:creationId xmlns:a16="http://schemas.microsoft.com/office/drawing/2014/main" id="{F1865F2F-2AF7-4461-B0D4-68C24AC56EA3}"/>
              </a:ext>
            </a:extLst>
          </p:cNvPr>
          <p:cNvSpPr>
            <a:spLocks noGrp="1"/>
          </p:cNvSpPr>
          <p:nvPr>
            <p:ph sz="quarter" idx="13"/>
          </p:nvPr>
        </p:nvSpPr>
        <p:spPr>
          <a:xfrm>
            <a:off x="6340475" y="5804937"/>
            <a:ext cx="1925638" cy="553998"/>
          </a:xfrm>
        </p:spPr>
        <p:txBody>
          <a:bodyPr/>
          <a:lstStyle>
            <a:lvl1pPr marL="0" indent="0">
              <a:buNone/>
              <a:defRPr/>
            </a:lvl1pPr>
          </a:lstStyle>
          <a:p>
            <a:pPr lvl="0"/>
            <a:endParaRPr lang="en-US" dirty="0"/>
          </a:p>
        </p:txBody>
      </p:sp>
      <p:sp>
        <p:nvSpPr>
          <p:cNvPr id="9" name="Content Placeholder 5">
            <a:extLst>
              <a:ext uri="{FF2B5EF4-FFF2-40B4-BE49-F238E27FC236}">
                <a16:creationId xmlns:a16="http://schemas.microsoft.com/office/drawing/2014/main" id="{62DB18E6-45F4-40D8-A76F-BB9BA405A056}"/>
              </a:ext>
            </a:extLst>
          </p:cNvPr>
          <p:cNvSpPr>
            <a:spLocks noGrp="1"/>
          </p:cNvSpPr>
          <p:nvPr>
            <p:ph sz="quarter" idx="14"/>
          </p:nvPr>
        </p:nvSpPr>
        <p:spPr>
          <a:xfrm>
            <a:off x="8649925" y="5157788"/>
            <a:ext cx="1925638" cy="553998"/>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6415132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2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363"/>
            <a:r>
              <a:rPr lang="en-US"/>
              <a:t>Edit Master text styles</a:t>
            </a:r>
          </a:p>
        </p:txBody>
      </p:sp>
      <p:sp>
        <p:nvSpPr>
          <p:cNvPr id="5" name="Text Placeholder 4">
            <a:extLst>
              <a:ext uri="{FF2B5EF4-FFF2-40B4-BE49-F238E27FC236}">
                <a16:creationId xmlns:a16="http://schemas.microsoft.com/office/drawing/2014/main" id="{4EC8EC2D-775A-4C5D-A565-2CA6D1D13B02}"/>
              </a:ext>
            </a:extLst>
          </p:cNvPr>
          <p:cNvSpPr>
            <a:spLocks noGrp="1"/>
          </p:cNvSpPr>
          <p:nvPr>
            <p:ph type="body" sz="quarter" idx="11"/>
          </p:nvPr>
        </p:nvSpPr>
        <p:spPr>
          <a:xfrm>
            <a:off x="3121025" y="2614613"/>
            <a:ext cx="3617913" cy="553998"/>
          </a:xfrm>
        </p:spPr>
        <p:txBody>
          <a:bodyPr/>
          <a:lstStyle/>
          <a:p>
            <a:pPr lvl="0"/>
            <a:endParaRPr lang="en-US" dirty="0"/>
          </a:p>
        </p:txBody>
      </p:sp>
    </p:spTree>
    <p:extLst>
      <p:ext uri="{BB962C8B-B14F-4D97-AF65-F5344CB8AC3E}">
        <p14:creationId xmlns:p14="http://schemas.microsoft.com/office/powerpoint/2010/main" val="138212214"/>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6" name="Rectangle 5">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5" name="Text Placeholder 4"/>
          <p:cNvSpPr>
            <a:spLocks noGrp="1"/>
          </p:cNvSpPr>
          <p:nvPr>
            <p:ph type="body" sz="quarter" idx="10"/>
          </p:nvPr>
        </p:nvSpPr>
        <p:spPr>
          <a:xfrm>
            <a:off x="269239" y="1366664"/>
            <a:ext cx="11653522" cy="1434239"/>
          </a:xfrm>
        </p:spPr>
        <p:txBody>
          <a:bodyPr/>
          <a:lstStyle>
            <a:lvl1pPr marL="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7"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6"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0"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3"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130657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392494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16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 uri="{C183D7F6-B498-43B3-948B-1728B52AA6E4}">
                <adec:decorative xmlns:adec="http://schemas.microsoft.com/office/drawing/2017/decorative" val="1"/>
              </a:ext>
            </a:extLst>
          </p:cNvPr>
          <p:cNvSpPr/>
          <p:nvPr userDrawn="1"/>
        </p:nvSpPr>
        <p:spPr>
          <a:xfrm>
            <a:off x="0" y="1189176"/>
            <a:ext cx="12192000" cy="5676058"/>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1925685"/>
            <a:ext cx="11655839" cy="286232"/>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363"/>
            <a:r>
              <a:rPr lang="en-US"/>
              <a:t>Edit Master text styles</a:t>
            </a:r>
          </a:p>
        </p:txBody>
      </p:sp>
      <p:sp>
        <p:nvSpPr>
          <p:cNvPr id="5" name="Content Placeholder 4">
            <a:extLst>
              <a:ext uri="{FF2B5EF4-FFF2-40B4-BE49-F238E27FC236}">
                <a16:creationId xmlns:a16="http://schemas.microsoft.com/office/drawing/2014/main" id="{2F7B52E2-3DFC-4A45-8BB3-F6F24A2DD2D5}"/>
              </a:ext>
            </a:extLst>
          </p:cNvPr>
          <p:cNvSpPr>
            <a:spLocks noGrp="1"/>
          </p:cNvSpPr>
          <p:nvPr>
            <p:ph sz="quarter" idx="11"/>
          </p:nvPr>
        </p:nvSpPr>
        <p:spPr>
          <a:xfrm>
            <a:off x="7375526" y="2706688"/>
            <a:ext cx="3170555" cy="499808"/>
          </a:xfrm>
        </p:spPr>
        <p:txBody>
          <a:bodyPr/>
          <a:lstStyle>
            <a:lvl1pPr marL="0" indent="0">
              <a:buNone/>
              <a:defRPr/>
            </a:lvl1pPr>
          </a:lstStyle>
          <a:p>
            <a:pPr lvl="0"/>
            <a:endParaRPr lang="en-US" dirty="0"/>
          </a:p>
        </p:txBody>
      </p:sp>
      <p:sp>
        <p:nvSpPr>
          <p:cNvPr id="7" name="Content Placeholder 4">
            <a:extLst>
              <a:ext uri="{FF2B5EF4-FFF2-40B4-BE49-F238E27FC236}">
                <a16:creationId xmlns:a16="http://schemas.microsoft.com/office/drawing/2014/main" id="{E2BF62B1-7A9A-4587-85BD-4C8E2F379351}"/>
              </a:ext>
            </a:extLst>
          </p:cNvPr>
          <p:cNvSpPr>
            <a:spLocks noGrp="1"/>
          </p:cNvSpPr>
          <p:nvPr>
            <p:ph sz="quarter" idx="12"/>
          </p:nvPr>
        </p:nvSpPr>
        <p:spPr>
          <a:xfrm>
            <a:off x="7375526" y="3291574"/>
            <a:ext cx="3170555" cy="499808"/>
          </a:xfrm>
        </p:spPr>
        <p:txBody>
          <a:bodyPr/>
          <a:lstStyle>
            <a:lvl1pPr marL="0" indent="0">
              <a:buNone/>
              <a:defRPr/>
            </a:lvl1pPr>
          </a:lstStyle>
          <a:p>
            <a:pPr lvl="0"/>
            <a:endParaRPr lang="en-US" dirty="0"/>
          </a:p>
        </p:txBody>
      </p:sp>
      <p:sp>
        <p:nvSpPr>
          <p:cNvPr id="8" name="Content Placeholder 4">
            <a:extLst>
              <a:ext uri="{FF2B5EF4-FFF2-40B4-BE49-F238E27FC236}">
                <a16:creationId xmlns:a16="http://schemas.microsoft.com/office/drawing/2014/main" id="{810E0603-1C10-4339-9BF5-1892E61DECBA}"/>
              </a:ext>
            </a:extLst>
          </p:cNvPr>
          <p:cNvSpPr>
            <a:spLocks noGrp="1"/>
          </p:cNvSpPr>
          <p:nvPr>
            <p:ph sz="quarter" idx="13"/>
          </p:nvPr>
        </p:nvSpPr>
        <p:spPr>
          <a:xfrm>
            <a:off x="7375526" y="3896174"/>
            <a:ext cx="3170555" cy="499808"/>
          </a:xfrm>
        </p:spPr>
        <p:txBody>
          <a:bodyPr/>
          <a:lstStyle>
            <a:lvl1pPr marL="0" indent="0">
              <a:buNone/>
              <a:defRPr/>
            </a:lvl1pPr>
          </a:lstStyle>
          <a:p>
            <a:pPr lvl="0"/>
            <a:endParaRPr lang="en-US" dirty="0"/>
          </a:p>
        </p:txBody>
      </p:sp>
      <p:sp>
        <p:nvSpPr>
          <p:cNvPr id="9" name="Content Placeholder 4">
            <a:extLst>
              <a:ext uri="{FF2B5EF4-FFF2-40B4-BE49-F238E27FC236}">
                <a16:creationId xmlns:a16="http://schemas.microsoft.com/office/drawing/2014/main" id="{0F2322CF-26C5-40E6-AEAC-5D727D9559B5}"/>
              </a:ext>
            </a:extLst>
          </p:cNvPr>
          <p:cNvSpPr>
            <a:spLocks noGrp="1"/>
          </p:cNvSpPr>
          <p:nvPr>
            <p:ph sz="quarter" idx="14"/>
          </p:nvPr>
        </p:nvSpPr>
        <p:spPr>
          <a:xfrm>
            <a:off x="7375524" y="4526200"/>
            <a:ext cx="3170555" cy="499808"/>
          </a:xfrm>
        </p:spPr>
        <p:txBody>
          <a:bodyPr/>
          <a:lstStyle>
            <a:lvl1pPr marL="0" indent="0">
              <a:buNone/>
              <a:defRPr/>
            </a:lvl1pPr>
          </a:lstStyle>
          <a:p>
            <a:pPr lvl="0"/>
            <a:endParaRPr lang="en-US" dirty="0"/>
          </a:p>
        </p:txBody>
      </p:sp>
      <p:sp>
        <p:nvSpPr>
          <p:cNvPr id="10" name="Content Placeholder 4">
            <a:extLst>
              <a:ext uri="{FF2B5EF4-FFF2-40B4-BE49-F238E27FC236}">
                <a16:creationId xmlns:a16="http://schemas.microsoft.com/office/drawing/2014/main" id="{D8EE1E1F-66A6-4AAD-B231-4561078D39F7}"/>
              </a:ext>
            </a:extLst>
          </p:cNvPr>
          <p:cNvSpPr>
            <a:spLocks noGrp="1"/>
          </p:cNvSpPr>
          <p:nvPr>
            <p:ph sz="quarter" idx="15"/>
          </p:nvPr>
        </p:nvSpPr>
        <p:spPr>
          <a:xfrm>
            <a:off x="7375523" y="5289716"/>
            <a:ext cx="3170555" cy="499808"/>
          </a:xfrm>
        </p:spPr>
        <p:txBody>
          <a:bodyPr/>
          <a:lstStyle>
            <a:lvl1pPr marL="0" indent="0">
              <a:buNone/>
              <a:defRPr/>
            </a:lvl1pPr>
          </a:lstStyle>
          <a:p>
            <a:pPr lvl="0"/>
            <a:endParaRPr lang="en-US" dirty="0"/>
          </a:p>
        </p:txBody>
      </p:sp>
      <p:sp>
        <p:nvSpPr>
          <p:cNvPr id="11" name="Content Placeholder 10">
            <a:extLst>
              <a:ext uri="{FF2B5EF4-FFF2-40B4-BE49-F238E27FC236}">
                <a16:creationId xmlns:a16="http://schemas.microsoft.com/office/drawing/2014/main" id="{591C4C8E-B121-4572-BBC3-4E72E334399F}"/>
              </a:ext>
            </a:extLst>
          </p:cNvPr>
          <p:cNvSpPr>
            <a:spLocks noGrp="1"/>
          </p:cNvSpPr>
          <p:nvPr>
            <p:ph sz="quarter" idx="16"/>
          </p:nvPr>
        </p:nvSpPr>
        <p:spPr>
          <a:xfrm>
            <a:off x="390526" y="2495550"/>
            <a:ext cx="1952625" cy="452876"/>
          </a:xfrm>
        </p:spPr>
        <p:txBody>
          <a:bodyPr/>
          <a:lstStyle>
            <a:lvl1pPr marL="0" indent="0">
              <a:buNone/>
              <a:defRPr/>
            </a:lvl1pPr>
          </a:lstStyle>
          <a:p>
            <a:pPr lvl="0"/>
            <a:endParaRPr lang="en-US" dirty="0"/>
          </a:p>
        </p:txBody>
      </p:sp>
      <p:sp>
        <p:nvSpPr>
          <p:cNvPr id="12" name="Content Placeholder 10">
            <a:extLst>
              <a:ext uri="{FF2B5EF4-FFF2-40B4-BE49-F238E27FC236}">
                <a16:creationId xmlns:a16="http://schemas.microsoft.com/office/drawing/2014/main" id="{10080C0E-751C-4E65-8E33-01D33AECAF5C}"/>
              </a:ext>
            </a:extLst>
          </p:cNvPr>
          <p:cNvSpPr>
            <a:spLocks noGrp="1"/>
          </p:cNvSpPr>
          <p:nvPr>
            <p:ph sz="quarter" idx="17"/>
          </p:nvPr>
        </p:nvSpPr>
        <p:spPr>
          <a:xfrm>
            <a:off x="390526" y="3088603"/>
            <a:ext cx="1952625" cy="452876"/>
          </a:xfrm>
        </p:spPr>
        <p:txBody>
          <a:bodyPr/>
          <a:lstStyle>
            <a:lvl1pPr marL="0" indent="0">
              <a:buNone/>
              <a:defRPr/>
            </a:lvl1pPr>
          </a:lstStyle>
          <a:p>
            <a:pPr lvl="0"/>
            <a:endParaRPr lang="en-US" dirty="0"/>
          </a:p>
        </p:txBody>
      </p:sp>
      <p:sp>
        <p:nvSpPr>
          <p:cNvPr id="13" name="Content Placeholder 10">
            <a:extLst>
              <a:ext uri="{FF2B5EF4-FFF2-40B4-BE49-F238E27FC236}">
                <a16:creationId xmlns:a16="http://schemas.microsoft.com/office/drawing/2014/main" id="{C3D5980E-BF53-43FA-9D4B-5D87983FA50E}"/>
              </a:ext>
            </a:extLst>
          </p:cNvPr>
          <p:cNvSpPr>
            <a:spLocks noGrp="1"/>
          </p:cNvSpPr>
          <p:nvPr>
            <p:ph sz="quarter" idx="18"/>
          </p:nvPr>
        </p:nvSpPr>
        <p:spPr>
          <a:xfrm>
            <a:off x="390526" y="3706710"/>
            <a:ext cx="1952625" cy="452876"/>
          </a:xfrm>
        </p:spPr>
        <p:txBody>
          <a:bodyPr/>
          <a:lstStyle>
            <a:lvl1pPr marL="0" indent="0">
              <a:buNone/>
              <a:defRPr/>
            </a:lvl1pPr>
          </a:lstStyle>
          <a:p>
            <a:pPr lvl="0"/>
            <a:endParaRPr lang="en-US" dirty="0"/>
          </a:p>
        </p:txBody>
      </p:sp>
      <p:sp>
        <p:nvSpPr>
          <p:cNvPr id="14" name="Content Placeholder 10">
            <a:extLst>
              <a:ext uri="{FF2B5EF4-FFF2-40B4-BE49-F238E27FC236}">
                <a16:creationId xmlns:a16="http://schemas.microsoft.com/office/drawing/2014/main" id="{DB2285A3-B876-427D-A2B7-E6B9FA3F1088}"/>
              </a:ext>
            </a:extLst>
          </p:cNvPr>
          <p:cNvSpPr>
            <a:spLocks noGrp="1"/>
          </p:cNvSpPr>
          <p:nvPr>
            <p:ph sz="quarter" idx="19"/>
          </p:nvPr>
        </p:nvSpPr>
        <p:spPr>
          <a:xfrm>
            <a:off x="390526" y="4299763"/>
            <a:ext cx="1952625" cy="452876"/>
          </a:xfrm>
        </p:spPr>
        <p:txBody>
          <a:bodyPr/>
          <a:lstStyle>
            <a:lvl1pPr marL="0" indent="0">
              <a:buNone/>
              <a:defRPr/>
            </a:lvl1pPr>
          </a:lstStyle>
          <a:p>
            <a:pPr lvl="0"/>
            <a:endParaRPr lang="en-US" dirty="0"/>
          </a:p>
        </p:txBody>
      </p:sp>
      <p:sp>
        <p:nvSpPr>
          <p:cNvPr id="15" name="Content Placeholder 10">
            <a:extLst>
              <a:ext uri="{FF2B5EF4-FFF2-40B4-BE49-F238E27FC236}">
                <a16:creationId xmlns:a16="http://schemas.microsoft.com/office/drawing/2014/main" id="{E8954CF8-A83A-44FB-85C0-5881EB4437C5}"/>
              </a:ext>
            </a:extLst>
          </p:cNvPr>
          <p:cNvSpPr>
            <a:spLocks noGrp="1"/>
          </p:cNvSpPr>
          <p:nvPr>
            <p:ph sz="quarter" idx="20"/>
          </p:nvPr>
        </p:nvSpPr>
        <p:spPr>
          <a:xfrm>
            <a:off x="390526" y="4845190"/>
            <a:ext cx="1952625" cy="452876"/>
          </a:xfrm>
        </p:spPr>
        <p:txBody>
          <a:bodyPr/>
          <a:lstStyle>
            <a:lvl1pPr marL="0" indent="0">
              <a:buNone/>
              <a:defRPr/>
            </a:lvl1pPr>
          </a:lstStyle>
          <a:p>
            <a:pPr lvl="0"/>
            <a:endParaRPr lang="en-US" dirty="0"/>
          </a:p>
        </p:txBody>
      </p:sp>
      <p:sp>
        <p:nvSpPr>
          <p:cNvPr id="16" name="Content Placeholder 10">
            <a:extLst>
              <a:ext uri="{FF2B5EF4-FFF2-40B4-BE49-F238E27FC236}">
                <a16:creationId xmlns:a16="http://schemas.microsoft.com/office/drawing/2014/main" id="{2FA8864A-4A3C-48E6-91E2-8FA5DA570A31}"/>
              </a:ext>
            </a:extLst>
          </p:cNvPr>
          <p:cNvSpPr>
            <a:spLocks noGrp="1"/>
          </p:cNvSpPr>
          <p:nvPr>
            <p:ph sz="quarter" idx="21"/>
          </p:nvPr>
        </p:nvSpPr>
        <p:spPr>
          <a:xfrm>
            <a:off x="390526" y="5438241"/>
            <a:ext cx="1952625" cy="452876"/>
          </a:xfrm>
        </p:spPr>
        <p:txBody>
          <a:bodyPr/>
          <a:lstStyle>
            <a:lvl1pPr marL="0" indent="0">
              <a:buNone/>
              <a:defRPr/>
            </a:lvl1pPr>
          </a:lstStyle>
          <a:p>
            <a:pPr lvl="0"/>
            <a:endParaRPr lang="en-US" dirty="0"/>
          </a:p>
        </p:txBody>
      </p:sp>
      <p:sp>
        <p:nvSpPr>
          <p:cNvPr id="17" name="Content Placeholder 10">
            <a:extLst>
              <a:ext uri="{FF2B5EF4-FFF2-40B4-BE49-F238E27FC236}">
                <a16:creationId xmlns:a16="http://schemas.microsoft.com/office/drawing/2014/main" id="{1D30B569-2DA2-44F1-B6E8-1AB9A8272420}"/>
              </a:ext>
            </a:extLst>
          </p:cNvPr>
          <p:cNvSpPr>
            <a:spLocks noGrp="1"/>
          </p:cNvSpPr>
          <p:nvPr>
            <p:ph sz="quarter" idx="22"/>
          </p:nvPr>
        </p:nvSpPr>
        <p:spPr>
          <a:xfrm>
            <a:off x="2533651" y="2515963"/>
            <a:ext cx="1952625" cy="452876"/>
          </a:xfrm>
        </p:spPr>
        <p:txBody>
          <a:bodyPr/>
          <a:lstStyle>
            <a:lvl1pPr marL="0" indent="0">
              <a:buNone/>
              <a:defRPr/>
            </a:lvl1pPr>
          </a:lstStyle>
          <a:p>
            <a:pPr lvl="0"/>
            <a:endParaRPr lang="en-US" dirty="0"/>
          </a:p>
        </p:txBody>
      </p:sp>
      <p:sp>
        <p:nvSpPr>
          <p:cNvPr id="18" name="Content Placeholder 10">
            <a:extLst>
              <a:ext uri="{FF2B5EF4-FFF2-40B4-BE49-F238E27FC236}">
                <a16:creationId xmlns:a16="http://schemas.microsoft.com/office/drawing/2014/main" id="{3AA211A5-6066-468A-8A9F-AB4D9DA5BAB4}"/>
              </a:ext>
            </a:extLst>
          </p:cNvPr>
          <p:cNvSpPr>
            <a:spLocks noGrp="1"/>
          </p:cNvSpPr>
          <p:nvPr>
            <p:ph sz="quarter" idx="23"/>
          </p:nvPr>
        </p:nvSpPr>
        <p:spPr>
          <a:xfrm>
            <a:off x="2533651" y="3109015"/>
            <a:ext cx="1952625" cy="452876"/>
          </a:xfrm>
        </p:spPr>
        <p:txBody>
          <a:bodyPr/>
          <a:lstStyle>
            <a:lvl1pPr marL="0" indent="0">
              <a:buNone/>
              <a:defRPr/>
            </a:lvl1pPr>
          </a:lstStyle>
          <a:p>
            <a:pPr lvl="0"/>
            <a:endParaRPr lang="en-US" dirty="0"/>
          </a:p>
        </p:txBody>
      </p:sp>
      <p:sp>
        <p:nvSpPr>
          <p:cNvPr id="19" name="Content Placeholder 10">
            <a:extLst>
              <a:ext uri="{FF2B5EF4-FFF2-40B4-BE49-F238E27FC236}">
                <a16:creationId xmlns:a16="http://schemas.microsoft.com/office/drawing/2014/main" id="{50BE6C1F-D8C9-42CE-BC10-6244DC2779C2}"/>
              </a:ext>
            </a:extLst>
          </p:cNvPr>
          <p:cNvSpPr>
            <a:spLocks noGrp="1"/>
          </p:cNvSpPr>
          <p:nvPr>
            <p:ph sz="quarter" idx="24"/>
          </p:nvPr>
        </p:nvSpPr>
        <p:spPr>
          <a:xfrm>
            <a:off x="2533651" y="3702066"/>
            <a:ext cx="1952625" cy="452876"/>
          </a:xfrm>
        </p:spPr>
        <p:txBody>
          <a:bodyPr/>
          <a:lstStyle>
            <a:lvl1pPr marL="0" indent="0">
              <a:buNone/>
              <a:defRPr/>
            </a:lvl1pPr>
          </a:lstStyle>
          <a:p>
            <a:pPr lvl="0"/>
            <a:endParaRPr lang="en-US" dirty="0"/>
          </a:p>
        </p:txBody>
      </p:sp>
      <p:sp>
        <p:nvSpPr>
          <p:cNvPr id="20" name="Content Placeholder 10">
            <a:extLst>
              <a:ext uri="{FF2B5EF4-FFF2-40B4-BE49-F238E27FC236}">
                <a16:creationId xmlns:a16="http://schemas.microsoft.com/office/drawing/2014/main" id="{8844C246-DBDA-4C36-8729-37FD7E5B0315}"/>
              </a:ext>
            </a:extLst>
          </p:cNvPr>
          <p:cNvSpPr>
            <a:spLocks noGrp="1"/>
          </p:cNvSpPr>
          <p:nvPr>
            <p:ph sz="quarter" idx="25"/>
          </p:nvPr>
        </p:nvSpPr>
        <p:spPr>
          <a:xfrm>
            <a:off x="2533651" y="4295119"/>
            <a:ext cx="1952625" cy="452876"/>
          </a:xfrm>
        </p:spPr>
        <p:txBody>
          <a:bodyPr/>
          <a:lstStyle>
            <a:lvl1pPr marL="0" indent="0">
              <a:buNone/>
              <a:defRPr/>
            </a:lvl1pPr>
          </a:lstStyle>
          <a:p>
            <a:pPr lvl="0"/>
            <a:endParaRPr lang="en-US" dirty="0"/>
          </a:p>
        </p:txBody>
      </p:sp>
      <p:sp>
        <p:nvSpPr>
          <p:cNvPr id="21" name="Content Placeholder 10">
            <a:extLst>
              <a:ext uri="{FF2B5EF4-FFF2-40B4-BE49-F238E27FC236}">
                <a16:creationId xmlns:a16="http://schemas.microsoft.com/office/drawing/2014/main" id="{32EAD8B3-55CE-4468-B4AB-46594324F95F}"/>
              </a:ext>
            </a:extLst>
          </p:cNvPr>
          <p:cNvSpPr>
            <a:spLocks noGrp="1"/>
          </p:cNvSpPr>
          <p:nvPr>
            <p:ph sz="quarter" idx="26"/>
          </p:nvPr>
        </p:nvSpPr>
        <p:spPr>
          <a:xfrm>
            <a:off x="2533651" y="4888170"/>
            <a:ext cx="1952625" cy="452876"/>
          </a:xfrm>
        </p:spPr>
        <p:txBody>
          <a:bodyPr/>
          <a:lstStyle>
            <a:lvl1pPr marL="0" indent="0">
              <a:buNone/>
              <a:defRPr/>
            </a:lvl1pPr>
          </a:lstStyle>
          <a:p>
            <a:pPr lvl="0"/>
            <a:endParaRPr lang="en-US" dirty="0"/>
          </a:p>
        </p:txBody>
      </p:sp>
      <p:sp>
        <p:nvSpPr>
          <p:cNvPr id="22" name="Content Placeholder 10">
            <a:extLst>
              <a:ext uri="{FF2B5EF4-FFF2-40B4-BE49-F238E27FC236}">
                <a16:creationId xmlns:a16="http://schemas.microsoft.com/office/drawing/2014/main" id="{48D36B57-735B-49E2-9161-198C9954AC2C}"/>
              </a:ext>
            </a:extLst>
          </p:cNvPr>
          <p:cNvSpPr>
            <a:spLocks noGrp="1"/>
          </p:cNvSpPr>
          <p:nvPr>
            <p:ph sz="quarter" idx="27"/>
          </p:nvPr>
        </p:nvSpPr>
        <p:spPr>
          <a:xfrm>
            <a:off x="2533651" y="5481223"/>
            <a:ext cx="1952625" cy="452876"/>
          </a:xfrm>
        </p:spPr>
        <p:txBody>
          <a:bodyPr/>
          <a:lstStyle>
            <a:lvl1pPr marL="0" indent="0">
              <a:buNone/>
              <a:defRPr/>
            </a:lvl1pPr>
          </a:lstStyle>
          <a:p>
            <a:pPr lvl="0"/>
            <a:endParaRPr lang="en-US" dirty="0"/>
          </a:p>
        </p:txBody>
      </p:sp>
      <p:sp>
        <p:nvSpPr>
          <p:cNvPr id="23" name="Content Placeholder 10">
            <a:extLst>
              <a:ext uri="{FF2B5EF4-FFF2-40B4-BE49-F238E27FC236}">
                <a16:creationId xmlns:a16="http://schemas.microsoft.com/office/drawing/2014/main" id="{7A5351BA-F57A-4708-9501-46071B512AD5}"/>
              </a:ext>
            </a:extLst>
          </p:cNvPr>
          <p:cNvSpPr>
            <a:spLocks noGrp="1"/>
          </p:cNvSpPr>
          <p:nvPr>
            <p:ph sz="quarter" idx="28"/>
          </p:nvPr>
        </p:nvSpPr>
        <p:spPr>
          <a:xfrm>
            <a:off x="4591051" y="2515963"/>
            <a:ext cx="1952625" cy="452876"/>
          </a:xfrm>
        </p:spPr>
        <p:txBody>
          <a:bodyPr/>
          <a:lstStyle>
            <a:lvl1pPr marL="0" indent="0">
              <a:buNone/>
              <a:defRPr/>
            </a:lvl1pPr>
          </a:lstStyle>
          <a:p>
            <a:pPr lvl="0"/>
            <a:endParaRPr lang="en-US" dirty="0"/>
          </a:p>
        </p:txBody>
      </p:sp>
      <p:sp>
        <p:nvSpPr>
          <p:cNvPr id="24" name="Content Placeholder 10">
            <a:extLst>
              <a:ext uri="{FF2B5EF4-FFF2-40B4-BE49-F238E27FC236}">
                <a16:creationId xmlns:a16="http://schemas.microsoft.com/office/drawing/2014/main" id="{E5799BA3-0C57-40B8-A6AE-AD674D70A96B}"/>
              </a:ext>
            </a:extLst>
          </p:cNvPr>
          <p:cNvSpPr>
            <a:spLocks noGrp="1"/>
          </p:cNvSpPr>
          <p:nvPr>
            <p:ph sz="quarter" idx="29"/>
          </p:nvPr>
        </p:nvSpPr>
        <p:spPr>
          <a:xfrm>
            <a:off x="4591051" y="3109015"/>
            <a:ext cx="1952625" cy="452876"/>
          </a:xfrm>
        </p:spPr>
        <p:txBody>
          <a:bodyPr/>
          <a:lstStyle>
            <a:lvl1pPr marL="0" indent="0">
              <a:buNone/>
              <a:defRPr/>
            </a:lvl1pPr>
          </a:lstStyle>
          <a:p>
            <a:pPr lvl="0"/>
            <a:endParaRPr lang="en-US" dirty="0"/>
          </a:p>
        </p:txBody>
      </p:sp>
      <p:sp>
        <p:nvSpPr>
          <p:cNvPr id="25" name="Content Placeholder 10">
            <a:extLst>
              <a:ext uri="{FF2B5EF4-FFF2-40B4-BE49-F238E27FC236}">
                <a16:creationId xmlns:a16="http://schemas.microsoft.com/office/drawing/2014/main" id="{BCFBDBF2-8FE8-4DB0-8B25-35F2E6347C21}"/>
              </a:ext>
            </a:extLst>
          </p:cNvPr>
          <p:cNvSpPr>
            <a:spLocks noGrp="1"/>
          </p:cNvSpPr>
          <p:nvPr>
            <p:ph sz="quarter" idx="30"/>
          </p:nvPr>
        </p:nvSpPr>
        <p:spPr>
          <a:xfrm>
            <a:off x="4591051" y="3702066"/>
            <a:ext cx="1952625" cy="452876"/>
          </a:xfrm>
        </p:spPr>
        <p:txBody>
          <a:bodyPr/>
          <a:lstStyle>
            <a:lvl1pPr marL="0" indent="0">
              <a:buNone/>
              <a:defRPr/>
            </a:lvl1pPr>
          </a:lstStyle>
          <a:p>
            <a:pPr lvl="0"/>
            <a:endParaRPr lang="en-US" dirty="0"/>
          </a:p>
        </p:txBody>
      </p:sp>
      <p:sp>
        <p:nvSpPr>
          <p:cNvPr id="26" name="Content Placeholder 10">
            <a:extLst>
              <a:ext uri="{FF2B5EF4-FFF2-40B4-BE49-F238E27FC236}">
                <a16:creationId xmlns:a16="http://schemas.microsoft.com/office/drawing/2014/main" id="{880657AC-6F91-48AF-AA4C-6FC32C76D662}"/>
              </a:ext>
            </a:extLst>
          </p:cNvPr>
          <p:cNvSpPr>
            <a:spLocks noGrp="1"/>
          </p:cNvSpPr>
          <p:nvPr>
            <p:ph sz="quarter" idx="31"/>
          </p:nvPr>
        </p:nvSpPr>
        <p:spPr>
          <a:xfrm>
            <a:off x="4591051" y="4295119"/>
            <a:ext cx="1952625" cy="452876"/>
          </a:xfrm>
        </p:spPr>
        <p:txBody>
          <a:bodyPr/>
          <a:lstStyle>
            <a:lvl1pPr marL="0" indent="0">
              <a:buNone/>
              <a:defRPr/>
            </a:lvl1pPr>
          </a:lstStyle>
          <a:p>
            <a:pPr lvl="0"/>
            <a:endParaRPr lang="en-US" dirty="0"/>
          </a:p>
        </p:txBody>
      </p:sp>
      <p:sp>
        <p:nvSpPr>
          <p:cNvPr id="27" name="Content Placeholder 10">
            <a:extLst>
              <a:ext uri="{FF2B5EF4-FFF2-40B4-BE49-F238E27FC236}">
                <a16:creationId xmlns:a16="http://schemas.microsoft.com/office/drawing/2014/main" id="{25FC4402-56E7-443D-988B-531E2ADF4A02}"/>
              </a:ext>
            </a:extLst>
          </p:cNvPr>
          <p:cNvSpPr>
            <a:spLocks noGrp="1"/>
          </p:cNvSpPr>
          <p:nvPr>
            <p:ph sz="quarter" idx="32"/>
          </p:nvPr>
        </p:nvSpPr>
        <p:spPr>
          <a:xfrm>
            <a:off x="4591051" y="4894403"/>
            <a:ext cx="1952625" cy="452876"/>
          </a:xfrm>
        </p:spPr>
        <p:txBody>
          <a:bodyPr/>
          <a:lstStyle>
            <a:lvl1pPr marL="0" indent="0">
              <a:buNone/>
              <a:defRPr/>
            </a:lvl1pPr>
          </a:lstStyle>
          <a:p>
            <a:pPr lvl="0"/>
            <a:endParaRPr lang="en-US" dirty="0"/>
          </a:p>
        </p:txBody>
      </p:sp>
      <p:sp>
        <p:nvSpPr>
          <p:cNvPr id="28" name="Content Placeholder 10">
            <a:extLst>
              <a:ext uri="{FF2B5EF4-FFF2-40B4-BE49-F238E27FC236}">
                <a16:creationId xmlns:a16="http://schemas.microsoft.com/office/drawing/2014/main" id="{3E7E4EE7-AC8C-4070-A485-B3954E036CEB}"/>
              </a:ext>
            </a:extLst>
          </p:cNvPr>
          <p:cNvSpPr>
            <a:spLocks noGrp="1"/>
          </p:cNvSpPr>
          <p:nvPr>
            <p:ph sz="quarter" idx="33"/>
          </p:nvPr>
        </p:nvSpPr>
        <p:spPr>
          <a:xfrm>
            <a:off x="4591051" y="5487455"/>
            <a:ext cx="1952625" cy="452876"/>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728192409"/>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rmAutofit/>
          </a:bodyP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6667500" cy="5683249"/>
          </a:xfrm>
        </p:spPr>
        <p:txBody>
          <a:bodyPr anchor="ctr">
            <a:normAutofit/>
          </a:bodyP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811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1"/>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29953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408647390"/>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93744-A288-B472-00E1-B7C60652D7E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3EE95-0E04-AA71-E142-91F2F51FD44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6798C2-AD09-EF36-C45B-B81AC75933DE}"/>
              </a:ext>
            </a:extLst>
          </p:cNvPr>
          <p:cNvSpPr>
            <a:spLocks noGrp="1"/>
          </p:cNvSpPr>
          <p:nvPr>
            <p:ph type="dt" sz="half" idx="10"/>
          </p:nvPr>
        </p:nvSpPr>
        <p:spPr/>
        <p:txBody>
          <a:bodyPr/>
          <a:lstStyle/>
          <a:p>
            <a:fld id="{B8279023-42F4-4D74-84A0-67D6EB3915E5}" type="datetimeFigureOut">
              <a:rPr lang="en-US" smtClean="0"/>
              <a:t>10/28/2022</a:t>
            </a:fld>
            <a:endParaRPr lang="en-US"/>
          </a:p>
        </p:txBody>
      </p:sp>
      <p:sp>
        <p:nvSpPr>
          <p:cNvPr id="5" name="Footer Placeholder 4">
            <a:extLst>
              <a:ext uri="{FF2B5EF4-FFF2-40B4-BE49-F238E27FC236}">
                <a16:creationId xmlns:a16="http://schemas.microsoft.com/office/drawing/2014/main" id="{423D476C-D728-D412-8833-C080C10C55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70006C-BA55-F939-09D5-DF4838FC80C5}"/>
              </a:ext>
            </a:extLst>
          </p:cNvPr>
          <p:cNvSpPr>
            <a:spLocks noGrp="1"/>
          </p:cNvSpPr>
          <p:nvPr>
            <p:ph type="sldNum" sz="quarter" idx="12"/>
          </p:nvPr>
        </p:nvSpPr>
        <p:spPr/>
        <p:txBody>
          <a:bodyPr/>
          <a:lstStyle/>
          <a:p>
            <a:fld id="{19C8FD35-FC9E-4C36-8D4D-8C42E3CD5FE3}" type="slidenum">
              <a:rPr lang="en-US" smtClean="0"/>
              <a:t>‹#›</a:t>
            </a:fld>
            <a:endParaRPr lang="en-US"/>
          </a:p>
        </p:txBody>
      </p:sp>
    </p:spTree>
    <p:extLst>
      <p:ext uri="{BB962C8B-B14F-4D97-AF65-F5344CB8AC3E}">
        <p14:creationId xmlns:p14="http://schemas.microsoft.com/office/powerpoint/2010/main" val="3132546868"/>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95044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36CCEB-13AF-435C-AC15-23D9626A6D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3" y="3381063"/>
            <a:ext cx="1835681" cy="393285"/>
          </a:xfrm>
          <a:prstGeom prst="rect">
            <a:avLst/>
          </a:prstGeom>
        </p:spPr>
      </p:pic>
      <p:sp>
        <p:nvSpPr>
          <p:cNvPr id="7" name="Text Box 3">
            <a:extLst>
              <a:ext uri="{FF2B5EF4-FFF2-40B4-BE49-F238E27FC236}">
                <a16:creationId xmlns:a16="http://schemas.microsoft.com/office/drawing/2014/main" id="{20577CE2-4BF2-4C2C-8214-A987EC634405}"/>
              </a:ext>
            </a:extLst>
          </p:cNvPr>
          <p:cNvSpPr txBox="1">
            <a:spLocks noChangeArrowheads="1"/>
          </p:cNvSpPr>
          <p:nvPr userDrawn="1"/>
        </p:nvSpPr>
        <p:spPr bwMode="blackWhite">
          <a:xfrm>
            <a:off x="448214" y="6304727"/>
            <a:ext cx="2149627" cy="105542"/>
          </a:xfrm>
          <a:prstGeom prst="rect">
            <a:avLst/>
          </a:prstGeom>
          <a:noFill/>
          <a:ln w="12700">
            <a:noFill/>
            <a:miter lim="800000"/>
            <a:headEnd type="none" w="sm" len="sm"/>
            <a:tailEnd type="none" w="sm" len="sm"/>
          </a:ln>
          <a:effectLst/>
        </p:spPr>
        <p:txBody>
          <a:bodyPr vert="horz" wrap="none" lIns="0" tIns="0" rIns="0" bIns="0" numCol="1" anchor="t" anchorCtr="0" compatLnSpc="1">
            <a:prstTxWarp prst="textNoShape">
              <a:avLst/>
            </a:prstTxWarp>
            <a:spAutoFit/>
          </a:bodyPr>
          <a:lstStyle/>
          <a:p>
            <a:pPr defTabSz="913712"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821871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22833957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20834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88586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594424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69754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53686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5214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6175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7954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04363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089002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87379734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19705324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51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10253918" cy="1793090"/>
          </a:xfrm>
          <a:noFill/>
        </p:spPr>
        <p:txBody>
          <a:bodyPr lIns="146304" tIns="91440" rIns="146304" bIns="91440" anchor="t" anchorCtr="0"/>
          <a:lstStyle>
            <a:lvl1pPr>
              <a:defRPr sz="4800"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299" y="3878574"/>
            <a:ext cx="10253918" cy="1792326"/>
          </a:xfrm>
          <a:noFill/>
        </p:spPr>
        <p:txBody>
          <a:bodyPr lIns="164592" tIns="109728" rIns="164592" bIns="109728">
            <a:noAutofit/>
          </a:bodyPr>
          <a:lstStyle>
            <a:lvl1pPr marL="0" indent="0">
              <a:spcBef>
                <a:spcPts val="0"/>
              </a:spcBef>
              <a:buNone/>
              <a:defRPr sz="2800" spc="0" baseline="0">
                <a:solidFill>
                  <a:schemeClr val="tx1"/>
                </a:solidFill>
                <a:latin typeface="+mj-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40057" y="470067"/>
            <a:ext cx="1423303" cy="30482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81597" y="3846940"/>
            <a:ext cx="3133239" cy="3145783"/>
          </a:xfrm>
          <a:prstGeom prst="rect">
            <a:avLst/>
          </a:prstGeom>
        </p:spPr>
      </p:pic>
    </p:spTree>
    <p:extLst>
      <p:ext uri="{BB962C8B-B14F-4D97-AF65-F5344CB8AC3E}">
        <p14:creationId xmlns:p14="http://schemas.microsoft.com/office/powerpoint/2010/main" val="28702889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Full">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01024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1974224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320606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90572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28099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99522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5169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73409721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24636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0695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05931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474874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16267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741873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92006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118751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465901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298278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723289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449235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820457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965697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1114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70505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18421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55480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1605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8753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3088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4117488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7675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569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68">
          <p15:clr>
            <a:srgbClr val="FBAE40"/>
          </p15:clr>
        </p15:guide>
        <p15:guide id="32" orient="horz" pos="355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38845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43552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8879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704714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w U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D075B-BB9A-4E36-83D2-F2EFCB2BF1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0550D4-4A55-4CAA-A88C-CA754FC8E4B5}"/>
              </a:ext>
            </a:extLst>
          </p:cNvPr>
          <p:cNvSpPr>
            <a:spLocks noGrp="1"/>
          </p:cNvSpPr>
          <p:nvPr>
            <p:ph sz="half" idx="1"/>
          </p:nvPr>
        </p:nvSpPr>
        <p:spPr>
          <a:xfrm>
            <a:off x="367684" y="1177555"/>
            <a:ext cx="561586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D8282A7-7834-4FA9-8550-BE4773BEFBE0}"/>
              </a:ext>
            </a:extLst>
          </p:cNvPr>
          <p:cNvSpPr>
            <a:spLocks noGrp="1"/>
          </p:cNvSpPr>
          <p:nvPr>
            <p:ph sz="half" idx="2"/>
          </p:nvPr>
        </p:nvSpPr>
        <p:spPr>
          <a:xfrm>
            <a:off x="6205491" y="1177555"/>
            <a:ext cx="565433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7E156DFB-4836-458F-A932-5FDADDFF5F55}"/>
              </a:ext>
            </a:extLst>
          </p:cNvPr>
          <p:cNvSpPr>
            <a:spLocks noGrp="1"/>
          </p:cNvSpPr>
          <p:nvPr>
            <p:ph type="sldNum" sz="quarter" idx="12"/>
          </p:nvPr>
        </p:nvSpPr>
        <p:spPr/>
        <p:txBody>
          <a:bodyPr/>
          <a:lstStyle/>
          <a:p>
            <a:fld id="{C6D755F8-DDEE-4E0C-850A-F733DED62BBA}" type="slidenum">
              <a:rPr lang="en-US" smtClean="0"/>
              <a:t>‹#›</a:t>
            </a:fld>
            <a:endParaRPr lang="en-US"/>
          </a:p>
        </p:txBody>
      </p:sp>
      <p:sp>
        <p:nvSpPr>
          <p:cNvPr id="11" name="Rectangle 10">
            <a:extLst>
              <a:ext uri="{FF2B5EF4-FFF2-40B4-BE49-F238E27FC236}">
                <a16:creationId xmlns:a16="http://schemas.microsoft.com/office/drawing/2014/main" id="{4E21C6FF-3E85-4090-A3CE-B3C9887A2768}"/>
              </a:ext>
            </a:extLst>
          </p:cNvPr>
          <p:cNvSpPr/>
          <p:nvPr userDrawn="1"/>
        </p:nvSpPr>
        <p:spPr>
          <a:xfrm>
            <a:off x="0" y="6705600"/>
            <a:ext cx="8465270" cy="152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Semilight" panose="020B0402040204020203" pitchFamily="34" charset="0"/>
              <a:cs typeface="Segoe UI Semilight" panose="020B0402040204020203" pitchFamily="34" charset="0"/>
            </a:endParaRPr>
          </a:p>
        </p:txBody>
      </p:sp>
      <p:sp>
        <p:nvSpPr>
          <p:cNvPr id="12" name="Rectangle 11">
            <a:extLst>
              <a:ext uri="{FF2B5EF4-FFF2-40B4-BE49-F238E27FC236}">
                <a16:creationId xmlns:a16="http://schemas.microsoft.com/office/drawing/2014/main" id="{32DD53CD-C21B-478F-A6A0-19B3E10AB466}"/>
              </a:ext>
            </a:extLst>
          </p:cNvPr>
          <p:cNvSpPr/>
          <p:nvPr userDrawn="1"/>
        </p:nvSpPr>
        <p:spPr>
          <a:xfrm>
            <a:off x="8465270" y="6705600"/>
            <a:ext cx="3726730" cy="1524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Semilight" panose="020B0402040204020203" pitchFamily="34" charset="0"/>
              <a:cs typeface="Segoe UI Semilight" panose="020B0402040204020203" pitchFamily="34" charset="0"/>
            </a:endParaRPr>
          </a:p>
        </p:txBody>
      </p:sp>
      <p:sp>
        <p:nvSpPr>
          <p:cNvPr id="14" name="Footer Placeholder 5">
            <a:extLst>
              <a:ext uri="{FF2B5EF4-FFF2-40B4-BE49-F238E27FC236}">
                <a16:creationId xmlns:a16="http://schemas.microsoft.com/office/drawing/2014/main" id="{CDFBA35A-3A3C-4D03-8CF2-4C715083687C}"/>
              </a:ext>
            </a:extLst>
          </p:cNvPr>
          <p:cNvSpPr>
            <a:spLocks noGrp="1"/>
          </p:cNvSpPr>
          <p:nvPr>
            <p:ph type="ftr" sz="quarter" idx="3"/>
          </p:nvPr>
        </p:nvSpPr>
        <p:spPr>
          <a:xfrm>
            <a:off x="355107" y="6740934"/>
            <a:ext cx="8110163" cy="89217"/>
          </a:xfrm>
          <a:prstGeom prst="rect">
            <a:avLst/>
          </a:prstGeom>
        </p:spPr>
        <p:txBody>
          <a:bodyPr anchor="ctr"/>
          <a:lstStyle>
            <a:lvl1pPr>
              <a:defRPr sz="600">
                <a:solidFill>
                  <a:srgbClr val="8D8D8D"/>
                </a:solidFill>
                <a:latin typeface="Segoe UI Semilight" panose="020B0402040204020203" pitchFamily="34" charset="0"/>
                <a:cs typeface="Segoe UI Semilight" panose="020B0402040204020203" pitchFamily="34" charset="0"/>
              </a:defRPr>
            </a:lvl1pPr>
          </a:lstStyle>
          <a:p>
            <a:r>
              <a:rPr lang="en-US"/>
              <a:t>© 2021 UnifyCloud, LLC. All Rights Reserved. All product and company names are trademarks™ or registered® trademarks of their respective holders. </a:t>
            </a:r>
          </a:p>
        </p:txBody>
      </p:sp>
      <p:grpSp>
        <p:nvGrpSpPr>
          <p:cNvPr id="15" name="Group 14">
            <a:extLst>
              <a:ext uri="{FF2B5EF4-FFF2-40B4-BE49-F238E27FC236}">
                <a16:creationId xmlns:a16="http://schemas.microsoft.com/office/drawing/2014/main" id="{705CBD7B-0831-44A8-BB2C-FE0963F1EC67}"/>
              </a:ext>
            </a:extLst>
          </p:cNvPr>
          <p:cNvGrpSpPr/>
          <p:nvPr userDrawn="1"/>
        </p:nvGrpSpPr>
        <p:grpSpPr>
          <a:xfrm>
            <a:off x="7492152" y="6214903"/>
            <a:ext cx="4637935" cy="400110"/>
            <a:chOff x="7492152" y="6214903"/>
            <a:chExt cx="4637935" cy="400110"/>
          </a:xfrm>
        </p:grpSpPr>
        <p:grpSp>
          <p:nvGrpSpPr>
            <p:cNvPr id="16" name="Group 15">
              <a:extLst>
                <a:ext uri="{FF2B5EF4-FFF2-40B4-BE49-F238E27FC236}">
                  <a16:creationId xmlns:a16="http://schemas.microsoft.com/office/drawing/2014/main" id="{9538E1FF-6F45-4A3E-BF09-5EC05343DDAA}"/>
                </a:ext>
              </a:extLst>
            </p:cNvPr>
            <p:cNvGrpSpPr/>
            <p:nvPr userDrawn="1"/>
          </p:nvGrpSpPr>
          <p:grpSpPr>
            <a:xfrm>
              <a:off x="7492152" y="6270725"/>
              <a:ext cx="2152422" cy="274320"/>
              <a:chOff x="9811935" y="5918300"/>
              <a:chExt cx="2152422" cy="274320"/>
            </a:xfrm>
          </p:grpSpPr>
          <p:pic>
            <p:nvPicPr>
              <p:cNvPr id="18" name="Picture 17">
                <a:extLst>
                  <a:ext uri="{FF2B5EF4-FFF2-40B4-BE49-F238E27FC236}">
                    <a16:creationId xmlns:a16="http://schemas.microsoft.com/office/drawing/2014/main" id="{0D89280C-D04E-4735-9A7C-F6F5C79F51B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11181" y="5918300"/>
                <a:ext cx="953176" cy="274320"/>
              </a:xfrm>
              <a:prstGeom prst="rect">
                <a:avLst/>
              </a:prstGeom>
            </p:spPr>
          </p:pic>
          <p:pic>
            <p:nvPicPr>
              <p:cNvPr id="19" name="Picture 18" descr="A picture containing drawing&#10;&#10;Description automatically generated">
                <a:extLst>
                  <a:ext uri="{FF2B5EF4-FFF2-40B4-BE49-F238E27FC236}">
                    <a16:creationId xmlns:a16="http://schemas.microsoft.com/office/drawing/2014/main" id="{9243A53F-A89D-4DE9-BF83-E2E2E509202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0510" t="25949" r="10633" b="28634"/>
              <a:stretch/>
            </p:blipFill>
            <p:spPr>
              <a:xfrm>
                <a:off x="9811935" y="5978043"/>
                <a:ext cx="994312" cy="197842"/>
              </a:xfrm>
              <a:prstGeom prst="rect">
                <a:avLst/>
              </a:prstGeom>
            </p:spPr>
          </p:pic>
        </p:grpSp>
        <p:sp>
          <p:nvSpPr>
            <p:cNvPr id="17" name="Rectangle 16">
              <a:extLst>
                <a:ext uri="{FF2B5EF4-FFF2-40B4-BE49-F238E27FC236}">
                  <a16:creationId xmlns:a16="http://schemas.microsoft.com/office/drawing/2014/main" id="{96DBBBFD-1E47-4C90-8DE9-B5F6EDD7E822}"/>
                </a:ext>
              </a:extLst>
            </p:cNvPr>
            <p:cNvSpPr/>
            <p:nvPr userDrawn="1"/>
          </p:nvSpPr>
          <p:spPr>
            <a:xfrm>
              <a:off x="9720774" y="6214903"/>
              <a:ext cx="2409313" cy="400110"/>
            </a:xfrm>
            <a:prstGeom prst="rect">
              <a:avLst/>
            </a:prstGeom>
          </p:spPr>
          <p:txBody>
            <a:bodyPr wrap="square">
              <a:spAutoFit/>
            </a:bodyPr>
            <a:lstStyle/>
            <a:p>
              <a:r>
                <a:rPr lang="en-US" sz="1100">
                  <a:latin typeface="Segoe UI Semibold" panose="020B0702040204020203" pitchFamily="34" charset="0"/>
                  <a:cs typeface="Segoe UI Semibold" panose="020B0702040204020203" pitchFamily="34" charset="0"/>
                </a:rPr>
                <a:t>2020 Microsoft Partner of the Year</a:t>
              </a:r>
            </a:p>
            <a:p>
              <a:r>
                <a:rPr lang="en-US" sz="900">
                  <a:latin typeface="Segoe UI Semibold" panose="020B0702040204020203" pitchFamily="34" charset="0"/>
                  <a:cs typeface="Segoe UI Semibold" panose="020B0702040204020203" pitchFamily="34" charset="0"/>
                </a:rPr>
                <a:t>Solution Assessment Award</a:t>
              </a:r>
            </a:p>
          </p:txBody>
        </p:sp>
      </p:grpSp>
    </p:spTree>
    <p:extLst>
      <p:ext uri="{BB962C8B-B14F-4D97-AF65-F5344CB8AC3E}">
        <p14:creationId xmlns:p14="http://schemas.microsoft.com/office/powerpoint/2010/main" val="404540897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3BDBC526-6DCD-4FF6-8395-D8C22E46E527}"/>
              </a:ext>
            </a:extLst>
          </p:cNvPr>
          <p:cNvGrpSpPr/>
          <p:nvPr/>
        </p:nvGrpSpPr>
        <p:grpSpPr>
          <a:xfrm>
            <a:off x="613998" y="5334748"/>
            <a:ext cx="678135" cy="990000"/>
            <a:chOff x="10490969" y="1448827"/>
            <a:chExt cx="678135" cy="990000"/>
          </a:xfrm>
        </p:grpSpPr>
        <p:sp>
          <p:nvSpPr>
            <p:cNvPr id="13" name="Freeform: Shape 12">
              <a:extLst>
                <a:ext uri="{FF2B5EF4-FFF2-40B4-BE49-F238E27FC236}">
                  <a16:creationId xmlns:a16="http://schemas.microsoft.com/office/drawing/2014/main" id="{02ECB475-568C-47AC-B16D-2E202DEB2DE0}"/>
                </a:ext>
              </a:extLst>
            </p:cNvPr>
            <p:cNvSpPr>
              <a:spLocks noChangeAspect="1"/>
            </p:cNvSpPr>
            <p:nvPr/>
          </p:nvSpPr>
          <p:spPr>
            <a:xfrm rot="2700000" flipH="1" flipV="1">
              <a:off x="10268976" y="1743588"/>
              <a:ext cx="926985" cy="463493"/>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127000" dist="50800" dir="13500000">
                <a:schemeClr val="accent1">
                  <a:lumMod val="40000"/>
                  <a:lumOff val="6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Oval 13">
              <a:extLst>
                <a:ext uri="{FF2B5EF4-FFF2-40B4-BE49-F238E27FC236}">
                  <a16:creationId xmlns:a16="http://schemas.microsoft.com/office/drawing/2014/main" id="{080D8764-525A-441E-B58F-068E82F09714}"/>
                </a:ext>
              </a:extLst>
            </p:cNvPr>
            <p:cNvSpPr/>
            <p:nvPr/>
          </p:nvSpPr>
          <p:spPr>
            <a:xfrm rot="8100000" flipH="1" flipV="1">
              <a:off x="11115555" y="1939340"/>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Oval 14">
              <a:extLst>
                <a:ext uri="{FF2B5EF4-FFF2-40B4-BE49-F238E27FC236}">
                  <a16:creationId xmlns:a16="http://schemas.microsoft.com/office/drawing/2014/main" id="{11196109-6F2B-4738-B2FC-2CCC753AABD4}"/>
                </a:ext>
              </a:extLst>
            </p:cNvPr>
            <p:cNvSpPr/>
            <p:nvPr/>
          </p:nvSpPr>
          <p:spPr>
            <a:xfrm rot="8100000" flipH="1" flipV="1">
              <a:off x="10625042" y="1448827"/>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Freeform: Shape 15">
              <a:extLst>
                <a:ext uri="{FF2B5EF4-FFF2-40B4-BE49-F238E27FC236}">
                  <a16:creationId xmlns:a16="http://schemas.microsoft.com/office/drawing/2014/main" id="{F7E468C2-69B8-470B-85E3-801A3CB1D7E2}"/>
                </a:ext>
              </a:extLst>
            </p:cNvPr>
            <p:cNvSpPr>
              <a:spLocks noChangeAspect="1"/>
            </p:cNvSpPr>
            <p:nvPr/>
          </p:nvSpPr>
          <p:spPr>
            <a:xfrm rot="2700000" flipH="1" flipV="1">
              <a:off x="10292519" y="1686748"/>
              <a:ext cx="926985" cy="530086"/>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20000"/>
              </a:schemeClr>
            </a:solidFill>
            <a:ln>
              <a:noFill/>
            </a:ln>
            <a:effectLst>
              <a:softEdge rad="101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a:extLst>
              <a:ext uri="{FF2B5EF4-FFF2-40B4-BE49-F238E27FC236}">
                <a16:creationId xmlns:a16="http://schemas.microsoft.com/office/drawing/2014/main" id="{B1A4B040-51E3-4DA0-B21D-EEE173E7536F}"/>
              </a:ext>
            </a:extLst>
          </p:cNvPr>
          <p:cNvSpPr>
            <a:spLocks noGrp="1"/>
          </p:cNvSpPr>
          <p:nvPr>
            <p:ph type="title"/>
          </p:nvPr>
        </p:nvSpPr>
        <p:spPr>
          <a:xfrm>
            <a:off x="550862" y="549275"/>
            <a:ext cx="11091600" cy="1332000"/>
          </a:xfrm>
        </p:spPr>
        <p:txBody>
          <a:bodyPr vert="horz" wrap="square" lIns="0" tIns="0" rIns="0" bIns="0" rtlCol="0" anchor="t" anchorCtr="0">
            <a:normAutofit/>
          </a:bodyPr>
          <a:lstStyle>
            <a:lvl1pPr>
              <a:defRPr lang="en-US" dirty="0"/>
            </a:lvl1pPr>
          </a:lstStyle>
          <a:p>
            <a:pPr lvl="0">
              <a:lnSpc>
                <a:spcPct val="100000"/>
              </a:lnSpc>
            </a:pPr>
            <a:r>
              <a:rPr lang="en-US"/>
              <a:t>Click to edit Master title style</a:t>
            </a:r>
          </a:p>
        </p:txBody>
      </p:sp>
      <p:sp>
        <p:nvSpPr>
          <p:cNvPr id="3" name="Content Placeholder 2">
            <a:extLst>
              <a:ext uri="{FF2B5EF4-FFF2-40B4-BE49-F238E27FC236}">
                <a16:creationId xmlns:a16="http://schemas.microsoft.com/office/drawing/2014/main" id="{F8A2CD90-429B-4A55-B6C8-DD6CE6994118}"/>
              </a:ext>
            </a:extLst>
          </p:cNvPr>
          <p:cNvSpPr>
            <a:spLocks noGrp="1"/>
          </p:cNvSpPr>
          <p:nvPr>
            <p:ph idx="1"/>
          </p:nvPr>
        </p:nvSpPr>
        <p:spPr>
          <a:xfrm>
            <a:off x="550863" y="2113199"/>
            <a:ext cx="11090274" cy="397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4EE704-5DCA-484E-85E0-0E3A7B1C5046}"/>
              </a:ext>
            </a:extLst>
          </p:cNvPr>
          <p:cNvSpPr>
            <a:spLocks noGrp="1"/>
          </p:cNvSpPr>
          <p:nvPr>
            <p:ph type="dt" sz="half" idx="10"/>
          </p:nvPr>
        </p:nvSpPr>
        <p:spPr/>
        <p:txBody>
          <a:bodyPr/>
          <a:lstStyle/>
          <a:p>
            <a:fld id="{6FE8C025-CD7A-4966-867E-81CF82B15267}" type="datetime2">
              <a:rPr lang="en-US" smtClean="0"/>
              <a:t>Friday, October 28, 2022</a:t>
            </a:fld>
            <a:endParaRPr lang="en-US"/>
          </a:p>
        </p:txBody>
      </p:sp>
      <p:sp>
        <p:nvSpPr>
          <p:cNvPr id="5" name="Footer Placeholder 4">
            <a:extLst>
              <a:ext uri="{FF2B5EF4-FFF2-40B4-BE49-F238E27FC236}">
                <a16:creationId xmlns:a16="http://schemas.microsoft.com/office/drawing/2014/main" id="{4CA69B66-1C18-44A2-93F7-97DED26F24AB}"/>
              </a:ext>
            </a:extLst>
          </p:cNvPr>
          <p:cNvSpPr>
            <a:spLocks noGrp="1"/>
          </p:cNvSpPr>
          <p:nvPr>
            <p:ph type="ftr" sz="quarter" idx="11"/>
          </p:nvPr>
        </p:nvSpPr>
        <p:spPr/>
        <p:txBody>
          <a:bodyPr/>
          <a:lstStyle/>
          <a:p>
            <a:r>
              <a:rPr lang="en-US"/>
              <a:t>Sample Footer</a:t>
            </a:r>
          </a:p>
        </p:txBody>
      </p:sp>
      <p:sp>
        <p:nvSpPr>
          <p:cNvPr id="6" name="Slide Number Placeholder 5">
            <a:extLst>
              <a:ext uri="{FF2B5EF4-FFF2-40B4-BE49-F238E27FC236}">
                <a16:creationId xmlns:a16="http://schemas.microsoft.com/office/drawing/2014/main" id="{7E44B5A0-66FA-433A-8DC5-C097C63B4DFC}"/>
              </a:ext>
            </a:extLst>
          </p:cNvPr>
          <p:cNvSpPr>
            <a:spLocks noGrp="1"/>
          </p:cNvSpPr>
          <p:nvPr>
            <p:ph type="sldNum" sz="quarter" idx="12"/>
          </p:nvPr>
        </p:nvSpPr>
        <p:spPr/>
        <p:txBody>
          <a:bodyPr/>
          <a:lstStyle/>
          <a:p>
            <a:fld id="{DBA1B0FB-D917-4C8C-928F-313BD683BF39}" type="slidenum">
              <a:rPr lang="en-US" smtClean="0"/>
              <a:t>‹#›</a:t>
            </a:fld>
            <a:endParaRPr lang="en-US"/>
          </a:p>
        </p:txBody>
      </p:sp>
    </p:spTree>
    <p:extLst>
      <p:ext uri="{BB962C8B-B14F-4D97-AF65-F5344CB8AC3E}">
        <p14:creationId xmlns:p14="http://schemas.microsoft.com/office/powerpoint/2010/main" val="341121731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F0087-5E9F-4416-B6E1-DA886C13AC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859787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2" y="2759101"/>
            <a:ext cx="6545155" cy="3586713"/>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2759101"/>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4553488"/>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343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3" Type="http://schemas.openxmlformats.org/officeDocument/2006/relationships/slideLayout" Target="../slideLayouts/slideLayout223.xml"/><Relationship Id="rId21" Type="http://schemas.openxmlformats.org/officeDocument/2006/relationships/slideLayout" Target="../slideLayouts/slideLayout241.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3" Type="http://schemas.openxmlformats.org/officeDocument/2006/relationships/slideLayout" Target="../slideLayouts/slideLayout244.xml"/><Relationship Id="rId21" Type="http://schemas.openxmlformats.org/officeDocument/2006/relationships/theme" Target="../theme/theme11.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image" Target="../media/image2.png"/><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9.xml"/><Relationship Id="rId3" Type="http://schemas.openxmlformats.org/officeDocument/2006/relationships/slideLayout" Target="../slideLayouts/slideLayout264.xml"/><Relationship Id="rId7" Type="http://schemas.openxmlformats.org/officeDocument/2006/relationships/slideLayout" Target="../slideLayouts/slideLayout268.xml"/><Relationship Id="rId12" Type="http://schemas.openxmlformats.org/officeDocument/2006/relationships/theme" Target="../theme/theme12.xml"/><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5" Type="http://schemas.openxmlformats.org/officeDocument/2006/relationships/slideLayout" Target="../slideLayouts/slideLayout266.xml"/><Relationship Id="rId10" Type="http://schemas.openxmlformats.org/officeDocument/2006/relationships/slideLayout" Target="../slideLayouts/slideLayout271.xml"/><Relationship Id="rId4" Type="http://schemas.openxmlformats.org/officeDocument/2006/relationships/slideLayout" Target="../slideLayouts/slideLayout265.xml"/><Relationship Id="rId9" Type="http://schemas.openxmlformats.org/officeDocument/2006/relationships/slideLayout" Target="../slideLayouts/slideLayout270.xml"/></Relationships>
</file>

<file path=ppt/slideMasters/_rels/slideMaster13.xml.rels><?xml version="1.0" encoding="UTF-8" standalone="yes"?>
<Relationships xmlns="http://schemas.openxmlformats.org/package/2006/relationships"><Relationship Id="rId26" Type="http://schemas.openxmlformats.org/officeDocument/2006/relationships/slideLayout" Target="../slideLayouts/slideLayout298.xml"/><Relationship Id="rId21" Type="http://schemas.openxmlformats.org/officeDocument/2006/relationships/slideLayout" Target="../slideLayouts/slideLayout293.xml"/><Relationship Id="rId42" Type="http://schemas.openxmlformats.org/officeDocument/2006/relationships/slideLayout" Target="../slideLayouts/slideLayout314.xml"/><Relationship Id="rId47" Type="http://schemas.openxmlformats.org/officeDocument/2006/relationships/slideLayout" Target="../slideLayouts/slideLayout319.xml"/><Relationship Id="rId63" Type="http://schemas.openxmlformats.org/officeDocument/2006/relationships/slideLayout" Target="../slideLayouts/slideLayout335.xml"/><Relationship Id="rId68" Type="http://schemas.openxmlformats.org/officeDocument/2006/relationships/slideLayout" Target="../slideLayouts/slideLayout340.xml"/><Relationship Id="rId84" Type="http://schemas.openxmlformats.org/officeDocument/2006/relationships/slideLayout" Target="../slideLayouts/slideLayout356.xml"/><Relationship Id="rId89" Type="http://schemas.openxmlformats.org/officeDocument/2006/relationships/slideLayout" Target="../slideLayouts/slideLayout361.xml"/><Relationship Id="rId16" Type="http://schemas.openxmlformats.org/officeDocument/2006/relationships/slideLayout" Target="../slideLayouts/slideLayout288.xml"/><Relationship Id="rId11" Type="http://schemas.openxmlformats.org/officeDocument/2006/relationships/slideLayout" Target="../slideLayouts/slideLayout283.xml"/><Relationship Id="rId32" Type="http://schemas.openxmlformats.org/officeDocument/2006/relationships/slideLayout" Target="../slideLayouts/slideLayout304.xml"/><Relationship Id="rId37" Type="http://schemas.openxmlformats.org/officeDocument/2006/relationships/slideLayout" Target="../slideLayouts/slideLayout309.xml"/><Relationship Id="rId53" Type="http://schemas.openxmlformats.org/officeDocument/2006/relationships/slideLayout" Target="../slideLayouts/slideLayout325.xml"/><Relationship Id="rId58" Type="http://schemas.openxmlformats.org/officeDocument/2006/relationships/slideLayout" Target="../slideLayouts/slideLayout330.xml"/><Relationship Id="rId74" Type="http://schemas.openxmlformats.org/officeDocument/2006/relationships/slideLayout" Target="../slideLayouts/slideLayout346.xml"/><Relationship Id="rId79" Type="http://schemas.openxmlformats.org/officeDocument/2006/relationships/slideLayout" Target="../slideLayouts/slideLayout351.xml"/><Relationship Id="rId5" Type="http://schemas.openxmlformats.org/officeDocument/2006/relationships/slideLayout" Target="../slideLayouts/slideLayout277.xml"/><Relationship Id="rId90" Type="http://schemas.openxmlformats.org/officeDocument/2006/relationships/slideLayout" Target="../slideLayouts/slideLayout362.xml"/><Relationship Id="rId95" Type="http://schemas.openxmlformats.org/officeDocument/2006/relationships/slideLayout" Target="../slideLayouts/slideLayout367.xml"/><Relationship Id="rId22" Type="http://schemas.openxmlformats.org/officeDocument/2006/relationships/slideLayout" Target="../slideLayouts/slideLayout294.xml"/><Relationship Id="rId27" Type="http://schemas.openxmlformats.org/officeDocument/2006/relationships/slideLayout" Target="../slideLayouts/slideLayout299.xml"/><Relationship Id="rId43" Type="http://schemas.openxmlformats.org/officeDocument/2006/relationships/slideLayout" Target="../slideLayouts/slideLayout315.xml"/><Relationship Id="rId48" Type="http://schemas.openxmlformats.org/officeDocument/2006/relationships/slideLayout" Target="../slideLayouts/slideLayout320.xml"/><Relationship Id="rId64" Type="http://schemas.openxmlformats.org/officeDocument/2006/relationships/slideLayout" Target="../slideLayouts/slideLayout336.xml"/><Relationship Id="rId69" Type="http://schemas.openxmlformats.org/officeDocument/2006/relationships/slideLayout" Target="../slideLayouts/slideLayout341.xml"/><Relationship Id="rId8" Type="http://schemas.openxmlformats.org/officeDocument/2006/relationships/slideLayout" Target="../slideLayouts/slideLayout280.xml"/><Relationship Id="rId51" Type="http://schemas.openxmlformats.org/officeDocument/2006/relationships/slideLayout" Target="../slideLayouts/slideLayout323.xml"/><Relationship Id="rId72" Type="http://schemas.openxmlformats.org/officeDocument/2006/relationships/slideLayout" Target="../slideLayouts/slideLayout344.xml"/><Relationship Id="rId80" Type="http://schemas.openxmlformats.org/officeDocument/2006/relationships/slideLayout" Target="../slideLayouts/slideLayout352.xml"/><Relationship Id="rId85" Type="http://schemas.openxmlformats.org/officeDocument/2006/relationships/slideLayout" Target="../slideLayouts/slideLayout357.xml"/><Relationship Id="rId93" Type="http://schemas.openxmlformats.org/officeDocument/2006/relationships/slideLayout" Target="../slideLayouts/slideLayout365.xml"/><Relationship Id="rId3" Type="http://schemas.openxmlformats.org/officeDocument/2006/relationships/slideLayout" Target="../slideLayouts/slideLayout275.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5" Type="http://schemas.openxmlformats.org/officeDocument/2006/relationships/slideLayout" Target="../slideLayouts/slideLayout297.xml"/><Relationship Id="rId33" Type="http://schemas.openxmlformats.org/officeDocument/2006/relationships/slideLayout" Target="../slideLayouts/slideLayout305.xml"/><Relationship Id="rId38" Type="http://schemas.openxmlformats.org/officeDocument/2006/relationships/slideLayout" Target="../slideLayouts/slideLayout310.xml"/><Relationship Id="rId46" Type="http://schemas.openxmlformats.org/officeDocument/2006/relationships/slideLayout" Target="../slideLayouts/slideLayout318.xml"/><Relationship Id="rId59" Type="http://schemas.openxmlformats.org/officeDocument/2006/relationships/slideLayout" Target="../slideLayouts/slideLayout331.xml"/><Relationship Id="rId67" Type="http://schemas.openxmlformats.org/officeDocument/2006/relationships/slideLayout" Target="../slideLayouts/slideLayout339.xml"/><Relationship Id="rId20" Type="http://schemas.openxmlformats.org/officeDocument/2006/relationships/slideLayout" Target="../slideLayouts/slideLayout292.xml"/><Relationship Id="rId41" Type="http://schemas.openxmlformats.org/officeDocument/2006/relationships/slideLayout" Target="../slideLayouts/slideLayout313.xml"/><Relationship Id="rId54" Type="http://schemas.openxmlformats.org/officeDocument/2006/relationships/slideLayout" Target="../slideLayouts/slideLayout326.xml"/><Relationship Id="rId62" Type="http://schemas.openxmlformats.org/officeDocument/2006/relationships/slideLayout" Target="../slideLayouts/slideLayout334.xml"/><Relationship Id="rId70" Type="http://schemas.openxmlformats.org/officeDocument/2006/relationships/slideLayout" Target="../slideLayouts/slideLayout342.xml"/><Relationship Id="rId75" Type="http://schemas.openxmlformats.org/officeDocument/2006/relationships/slideLayout" Target="../slideLayouts/slideLayout347.xml"/><Relationship Id="rId83" Type="http://schemas.openxmlformats.org/officeDocument/2006/relationships/slideLayout" Target="../slideLayouts/slideLayout355.xml"/><Relationship Id="rId88" Type="http://schemas.openxmlformats.org/officeDocument/2006/relationships/slideLayout" Target="../slideLayouts/slideLayout360.xml"/><Relationship Id="rId91" Type="http://schemas.openxmlformats.org/officeDocument/2006/relationships/slideLayout" Target="../slideLayouts/slideLayout363.xml"/><Relationship Id="rId96" Type="http://schemas.openxmlformats.org/officeDocument/2006/relationships/theme" Target="../theme/theme13.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5" Type="http://schemas.openxmlformats.org/officeDocument/2006/relationships/slideLayout" Target="../slideLayouts/slideLayout287.xml"/><Relationship Id="rId23" Type="http://schemas.openxmlformats.org/officeDocument/2006/relationships/slideLayout" Target="../slideLayouts/slideLayout295.xml"/><Relationship Id="rId28" Type="http://schemas.openxmlformats.org/officeDocument/2006/relationships/slideLayout" Target="../slideLayouts/slideLayout300.xml"/><Relationship Id="rId36" Type="http://schemas.openxmlformats.org/officeDocument/2006/relationships/slideLayout" Target="../slideLayouts/slideLayout308.xml"/><Relationship Id="rId49" Type="http://schemas.openxmlformats.org/officeDocument/2006/relationships/slideLayout" Target="../slideLayouts/slideLayout321.xml"/><Relationship Id="rId57" Type="http://schemas.openxmlformats.org/officeDocument/2006/relationships/slideLayout" Target="../slideLayouts/slideLayout329.xml"/><Relationship Id="rId10" Type="http://schemas.openxmlformats.org/officeDocument/2006/relationships/slideLayout" Target="../slideLayouts/slideLayout282.xml"/><Relationship Id="rId31" Type="http://schemas.openxmlformats.org/officeDocument/2006/relationships/slideLayout" Target="../slideLayouts/slideLayout303.xml"/><Relationship Id="rId44" Type="http://schemas.openxmlformats.org/officeDocument/2006/relationships/slideLayout" Target="../slideLayouts/slideLayout316.xml"/><Relationship Id="rId52" Type="http://schemas.openxmlformats.org/officeDocument/2006/relationships/slideLayout" Target="../slideLayouts/slideLayout324.xml"/><Relationship Id="rId60" Type="http://schemas.openxmlformats.org/officeDocument/2006/relationships/slideLayout" Target="../slideLayouts/slideLayout332.xml"/><Relationship Id="rId65" Type="http://schemas.openxmlformats.org/officeDocument/2006/relationships/slideLayout" Target="../slideLayouts/slideLayout337.xml"/><Relationship Id="rId73" Type="http://schemas.openxmlformats.org/officeDocument/2006/relationships/slideLayout" Target="../slideLayouts/slideLayout345.xml"/><Relationship Id="rId78" Type="http://schemas.openxmlformats.org/officeDocument/2006/relationships/slideLayout" Target="../slideLayouts/slideLayout350.xml"/><Relationship Id="rId81" Type="http://schemas.openxmlformats.org/officeDocument/2006/relationships/slideLayout" Target="../slideLayouts/slideLayout353.xml"/><Relationship Id="rId86" Type="http://schemas.openxmlformats.org/officeDocument/2006/relationships/slideLayout" Target="../slideLayouts/slideLayout358.xml"/><Relationship Id="rId94" Type="http://schemas.openxmlformats.org/officeDocument/2006/relationships/slideLayout" Target="../slideLayouts/slideLayout366.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9" Type="http://schemas.openxmlformats.org/officeDocument/2006/relationships/slideLayout" Target="../slideLayouts/slideLayout311.xml"/><Relationship Id="rId34" Type="http://schemas.openxmlformats.org/officeDocument/2006/relationships/slideLayout" Target="../slideLayouts/slideLayout306.xml"/><Relationship Id="rId50" Type="http://schemas.openxmlformats.org/officeDocument/2006/relationships/slideLayout" Target="../slideLayouts/slideLayout322.xml"/><Relationship Id="rId55" Type="http://schemas.openxmlformats.org/officeDocument/2006/relationships/slideLayout" Target="../slideLayouts/slideLayout327.xml"/><Relationship Id="rId76" Type="http://schemas.openxmlformats.org/officeDocument/2006/relationships/slideLayout" Target="../slideLayouts/slideLayout348.xml"/><Relationship Id="rId7" Type="http://schemas.openxmlformats.org/officeDocument/2006/relationships/slideLayout" Target="../slideLayouts/slideLayout279.xml"/><Relationship Id="rId71" Type="http://schemas.openxmlformats.org/officeDocument/2006/relationships/slideLayout" Target="../slideLayouts/slideLayout343.xml"/><Relationship Id="rId92" Type="http://schemas.openxmlformats.org/officeDocument/2006/relationships/slideLayout" Target="../slideLayouts/slideLayout364.xml"/><Relationship Id="rId2" Type="http://schemas.openxmlformats.org/officeDocument/2006/relationships/slideLayout" Target="../slideLayouts/slideLayout274.xml"/><Relationship Id="rId29" Type="http://schemas.openxmlformats.org/officeDocument/2006/relationships/slideLayout" Target="../slideLayouts/slideLayout301.xml"/><Relationship Id="rId24" Type="http://schemas.openxmlformats.org/officeDocument/2006/relationships/slideLayout" Target="../slideLayouts/slideLayout296.xml"/><Relationship Id="rId40" Type="http://schemas.openxmlformats.org/officeDocument/2006/relationships/slideLayout" Target="../slideLayouts/slideLayout312.xml"/><Relationship Id="rId45" Type="http://schemas.openxmlformats.org/officeDocument/2006/relationships/slideLayout" Target="../slideLayouts/slideLayout317.xml"/><Relationship Id="rId66" Type="http://schemas.openxmlformats.org/officeDocument/2006/relationships/slideLayout" Target="../slideLayouts/slideLayout338.xml"/><Relationship Id="rId87" Type="http://schemas.openxmlformats.org/officeDocument/2006/relationships/slideLayout" Target="../slideLayouts/slideLayout359.xml"/><Relationship Id="rId61" Type="http://schemas.openxmlformats.org/officeDocument/2006/relationships/slideLayout" Target="../slideLayouts/slideLayout333.xml"/><Relationship Id="rId82" Type="http://schemas.openxmlformats.org/officeDocument/2006/relationships/slideLayout" Target="../slideLayouts/slideLayout354.xml"/><Relationship Id="rId19" Type="http://schemas.openxmlformats.org/officeDocument/2006/relationships/slideLayout" Target="../slideLayouts/slideLayout291.xml"/><Relationship Id="rId14" Type="http://schemas.openxmlformats.org/officeDocument/2006/relationships/slideLayout" Target="../slideLayouts/slideLayout286.xml"/><Relationship Id="rId30" Type="http://schemas.openxmlformats.org/officeDocument/2006/relationships/slideLayout" Target="../slideLayouts/slideLayout302.xml"/><Relationship Id="rId35" Type="http://schemas.openxmlformats.org/officeDocument/2006/relationships/slideLayout" Target="../slideLayouts/slideLayout307.xml"/><Relationship Id="rId56" Type="http://schemas.openxmlformats.org/officeDocument/2006/relationships/slideLayout" Target="../slideLayouts/slideLayout328.xml"/><Relationship Id="rId77" Type="http://schemas.openxmlformats.org/officeDocument/2006/relationships/slideLayout" Target="../slideLayouts/slideLayout34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26" Type="http://schemas.openxmlformats.org/officeDocument/2006/relationships/slideLayout" Target="../slideLayouts/slideLayout393.xml"/><Relationship Id="rId3" Type="http://schemas.openxmlformats.org/officeDocument/2006/relationships/slideLayout" Target="../slideLayouts/slideLayout370.xml"/><Relationship Id="rId21" Type="http://schemas.openxmlformats.org/officeDocument/2006/relationships/slideLayout" Target="../slideLayouts/slideLayout388.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5" Type="http://schemas.openxmlformats.org/officeDocument/2006/relationships/slideLayout" Target="../slideLayouts/slideLayout392.xml"/><Relationship Id="rId33" Type="http://schemas.openxmlformats.org/officeDocument/2006/relationships/image" Target="../media/image13.emf"/><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29" Type="http://schemas.openxmlformats.org/officeDocument/2006/relationships/slideLayout" Target="../slideLayouts/slideLayout396.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24" Type="http://schemas.openxmlformats.org/officeDocument/2006/relationships/slideLayout" Target="../slideLayouts/slideLayout391.xml"/><Relationship Id="rId32" Type="http://schemas.openxmlformats.org/officeDocument/2006/relationships/theme" Target="../theme/theme14.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28" Type="http://schemas.openxmlformats.org/officeDocument/2006/relationships/slideLayout" Target="../slideLayouts/slideLayout395.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31" Type="http://schemas.openxmlformats.org/officeDocument/2006/relationships/slideLayout" Target="../slideLayouts/slideLayout398.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slideLayout" Target="../slideLayouts/slideLayout389.xml"/><Relationship Id="rId27" Type="http://schemas.openxmlformats.org/officeDocument/2006/relationships/slideLayout" Target="../slideLayouts/slideLayout394.xml"/><Relationship Id="rId30" Type="http://schemas.openxmlformats.org/officeDocument/2006/relationships/slideLayout" Target="../slideLayouts/slideLayout397.xml"/><Relationship Id="rId8" Type="http://schemas.openxmlformats.org/officeDocument/2006/relationships/slideLayout" Target="../slideLayouts/slideLayout375.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411.xml"/><Relationship Id="rId18" Type="http://schemas.openxmlformats.org/officeDocument/2006/relationships/slideLayout" Target="../slideLayouts/slideLayout416.xml"/><Relationship Id="rId26" Type="http://schemas.openxmlformats.org/officeDocument/2006/relationships/slideLayout" Target="../slideLayouts/slideLayout424.xml"/><Relationship Id="rId39" Type="http://schemas.openxmlformats.org/officeDocument/2006/relationships/slideLayout" Target="../slideLayouts/slideLayout437.xml"/><Relationship Id="rId21" Type="http://schemas.openxmlformats.org/officeDocument/2006/relationships/slideLayout" Target="../slideLayouts/slideLayout419.xml"/><Relationship Id="rId34" Type="http://schemas.openxmlformats.org/officeDocument/2006/relationships/slideLayout" Target="../slideLayouts/slideLayout432.xml"/><Relationship Id="rId42" Type="http://schemas.openxmlformats.org/officeDocument/2006/relationships/slideLayout" Target="../slideLayouts/slideLayout440.xml"/><Relationship Id="rId47" Type="http://schemas.openxmlformats.org/officeDocument/2006/relationships/slideLayout" Target="../slideLayouts/slideLayout445.xml"/><Relationship Id="rId50" Type="http://schemas.openxmlformats.org/officeDocument/2006/relationships/slideLayout" Target="../slideLayouts/slideLayout448.xml"/><Relationship Id="rId55" Type="http://schemas.openxmlformats.org/officeDocument/2006/relationships/slideLayout" Target="../slideLayouts/slideLayout453.xml"/><Relationship Id="rId7" Type="http://schemas.openxmlformats.org/officeDocument/2006/relationships/slideLayout" Target="../slideLayouts/slideLayout405.xml"/><Relationship Id="rId2" Type="http://schemas.openxmlformats.org/officeDocument/2006/relationships/slideLayout" Target="../slideLayouts/slideLayout400.xml"/><Relationship Id="rId16" Type="http://schemas.openxmlformats.org/officeDocument/2006/relationships/slideLayout" Target="../slideLayouts/slideLayout414.xml"/><Relationship Id="rId29" Type="http://schemas.openxmlformats.org/officeDocument/2006/relationships/slideLayout" Target="../slideLayouts/slideLayout427.xml"/><Relationship Id="rId11" Type="http://schemas.openxmlformats.org/officeDocument/2006/relationships/slideLayout" Target="../slideLayouts/slideLayout409.xml"/><Relationship Id="rId24" Type="http://schemas.openxmlformats.org/officeDocument/2006/relationships/slideLayout" Target="../slideLayouts/slideLayout422.xml"/><Relationship Id="rId32" Type="http://schemas.openxmlformats.org/officeDocument/2006/relationships/slideLayout" Target="../slideLayouts/slideLayout430.xml"/><Relationship Id="rId37" Type="http://schemas.openxmlformats.org/officeDocument/2006/relationships/slideLayout" Target="../slideLayouts/slideLayout435.xml"/><Relationship Id="rId40" Type="http://schemas.openxmlformats.org/officeDocument/2006/relationships/slideLayout" Target="../slideLayouts/slideLayout438.xml"/><Relationship Id="rId45" Type="http://schemas.openxmlformats.org/officeDocument/2006/relationships/slideLayout" Target="../slideLayouts/slideLayout443.xml"/><Relationship Id="rId53" Type="http://schemas.openxmlformats.org/officeDocument/2006/relationships/slideLayout" Target="../slideLayouts/slideLayout451.xml"/><Relationship Id="rId5" Type="http://schemas.openxmlformats.org/officeDocument/2006/relationships/slideLayout" Target="../slideLayouts/slideLayout403.xml"/><Relationship Id="rId19" Type="http://schemas.openxmlformats.org/officeDocument/2006/relationships/slideLayout" Target="../slideLayouts/slideLayout417.xml"/><Relationship Id="rId4" Type="http://schemas.openxmlformats.org/officeDocument/2006/relationships/slideLayout" Target="../slideLayouts/slideLayout402.xml"/><Relationship Id="rId9" Type="http://schemas.openxmlformats.org/officeDocument/2006/relationships/slideLayout" Target="../slideLayouts/slideLayout407.xml"/><Relationship Id="rId14" Type="http://schemas.openxmlformats.org/officeDocument/2006/relationships/slideLayout" Target="../slideLayouts/slideLayout412.xml"/><Relationship Id="rId22" Type="http://schemas.openxmlformats.org/officeDocument/2006/relationships/slideLayout" Target="../slideLayouts/slideLayout420.xml"/><Relationship Id="rId27" Type="http://schemas.openxmlformats.org/officeDocument/2006/relationships/slideLayout" Target="../slideLayouts/slideLayout425.xml"/><Relationship Id="rId30" Type="http://schemas.openxmlformats.org/officeDocument/2006/relationships/slideLayout" Target="../slideLayouts/slideLayout428.xml"/><Relationship Id="rId35" Type="http://schemas.openxmlformats.org/officeDocument/2006/relationships/slideLayout" Target="../slideLayouts/slideLayout433.xml"/><Relationship Id="rId43" Type="http://schemas.openxmlformats.org/officeDocument/2006/relationships/slideLayout" Target="../slideLayouts/slideLayout441.xml"/><Relationship Id="rId48" Type="http://schemas.openxmlformats.org/officeDocument/2006/relationships/slideLayout" Target="../slideLayouts/slideLayout446.xml"/><Relationship Id="rId56" Type="http://schemas.openxmlformats.org/officeDocument/2006/relationships/theme" Target="../theme/theme15.xml"/><Relationship Id="rId8" Type="http://schemas.openxmlformats.org/officeDocument/2006/relationships/slideLayout" Target="../slideLayouts/slideLayout406.xml"/><Relationship Id="rId51" Type="http://schemas.openxmlformats.org/officeDocument/2006/relationships/slideLayout" Target="../slideLayouts/slideLayout449.xml"/><Relationship Id="rId3" Type="http://schemas.openxmlformats.org/officeDocument/2006/relationships/slideLayout" Target="../slideLayouts/slideLayout401.xml"/><Relationship Id="rId12" Type="http://schemas.openxmlformats.org/officeDocument/2006/relationships/slideLayout" Target="../slideLayouts/slideLayout410.xml"/><Relationship Id="rId17" Type="http://schemas.openxmlformats.org/officeDocument/2006/relationships/slideLayout" Target="../slideLayouts/slideLayout415.xml"/><Relationship Id="rId25" Type="http://schemas.openxmlformats.org/officeDocument/2006/relationships/slideLayout" Target="../slideLayouts/slideLayout423.xml"/><Relationship Id="rId33" Type="http://schemas.openxmlformats.org/officeDocument/2006/relationships/slideLayout" Target="../slideLayouts/slideLayout431.xml"/><Relationship Id="rId38" Type="http://schemas.openxmlformats.org/officeDocument/2006/relationships/slideLayout" Target="../slideLayouts/slideLayout436.xml"/><Relationship Id="rId46" Type="http://schemas.openxmlformats.org/officeDocument/2006/relationships/slideLayout" Target="../slideLayouts/slideLayout444.xml"/><Relationship Id="rId20" Type="http://schemas.openxmlformats.org/officeDocument/2006/relationships/slideLayout" Target="../slideLayouts/slideLayout418.xml"/><Relationship Id="rId41" Type="http://schemas.openxmlformats.org/officeDocument/2006/relationships/slideLayout" Target="../slideLayouts/slideLayout439.xml"/><Relationship Id="rId54" Type="http://schemas.openxmlformats.org/officeDocument/2006/relationships/slideLayout" Target="../slideLayouts/slideLayout452.xml"/><Relationship Id="rId1" Type="http://schemas.openxmlformats.org/officeDocument/2006/relationships/slideLayout" Target="../slideLayouts/slideLayout399.xml"/><Relationship Id="rId6" Type="http://schemas.openxmlformats.org/officeDocument/2006/relationships/slideLayout" Target="../slideLayouts/slideLayout404.xml"/><Relationship Id="rId15" Type="http://schemas.openxmlformats.org/officeDocument/2006/relationships/slideLayout" Target="../slideLayouts/slideLayout413.xml"/><Relationship Id="rId23" Type="http://schemas.openxmlformats.org/officeDocument/2006/relationships/slideLayout" Target="../slideLayouts/slideLayout421.xml"/><Relationship Id="rId28" Type="http://schemas.openxmlformats.org/officeDocument/2006/relationships/slideLayout" Target="../slideLayouts/slideLayout426.xml"/><Relationship Id="rId36" Type="http://schemas.openxmlformats.org/officeDocument/2006/relationships/slideLayout" Target="../slideLayouts/slideLayout434.xml"/><Relationship Id="rId49" Type="http://schemas.openxmlformats.org/officeDocument/2006/relationships/slideLayout" Target="../slideLayouts/slideLayout447.xml"/><Relationship Id="rId57" Type="http://schemas.openxmlformats.org/officeDocument/2006/relationships/image" Target="../media/image13.emf"/><Relationship Id="rId10" Type="http://schemas.openxmlformats.org/officeDocument/2006/relationships/slideLayout" Target="../slideLayouts/slideLayout408.xml"/><Relationship Id="rId31" Type="http://schemas.openxmlformats.org/officeDocument/2006/relationships/slideLayout" Target="../slideLayouts/slideLayout429.xml"/><Relationship Id="rId44" Type="http://schemas.openxmlformats.org/officeDocument/2006/relationships/slideLayout" Target="../slideLayouts/slideLayout442.xml"/><Relationship Id="rId52" Type="http://schemas.openxmlformats.org/officeDocument/2006/relationships/slideLayout" Target="../slideLayouts/slideLayout450.x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456.xml"/><Relationship Id="rId7" Type="http://schemas.openxmlformats.org/officeDocument/2006/relationships/slideLayout" Target="../slideLayouts/slideLayout460.xml"/><Relationship Id="rId2" Type="http://schemas.openxmlformats.org/officeDocument/2006/relationships/slideLayout" Target="../slideLayouts/slideLayout455.x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5" Type="http://schemas.openxmlformats.org/officeDocument/2006/relationships/slideLayout" Target="../slideLayouts/slideLayout458.xml"/><Relationship Id="rId4" Type="http://schemas.openxmlformats.org/officeDocument/2006/relationships/slideLayout" Target="../slideLayouts/slideLayout457.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473.xml"/><Relationship Id="rId18" Type="http://schemas.openxmlformats.org/officeDocument/2006/relationships/slideLayout" Target="../slideLayouts/slideLayout478.xml"/><Relationship Id="rId26" Type="http://schemas.openxmlformats.org/officeDocument/2006/relationships/slideLayout" Target="../slideLayouts/slideLayout486.xml"/><Relationship Id="rId21" Type="http://schemas.openxmlformats.org/officeDocument/2006/relationships/slideLayout" Target="../slideLayouts/slideLayout481.xml"/><Relationship Id="rId34" Type="http://schemas.openxmlformats.org/officeDocument/2006/relationships/slideLayout" Target="../slideLayouts/slideLayout494.xml"/><Relationship Id="rId7" Type="http://schemas.openxmlformats.org/officeDocument/2006/relationships/slideLayout" Target="../slideLayouts/slideLayout467.xml"/><Relationship Id="rId12" Type="http://schemas.openxmlformats.org/officeDocument/2006/relationships/slideLayout" Target="../slideLayouts/slideLayout472.xml"/><Relationship Id="rId17" Type="http://schemas.openxmlformats.org/officeDocument/2006/relationships/slideLayout" Target="../slideLayouts/slideLayout477.xml"/><Relationship Id="rId25" Type="http://schemas.openxmlformats.org/officeDocument/2006/relationships/slideLayout" Target="../slideLayouts/slideLayout485.xml"/><Relationship Id="rId33" Type="http://schemas.openxmlformats.org/officeDocument/2006/relationships/slideLayout" Target="../slideLayouts/slideLayout493.xml"/><Relationship Id="rId2" Type="http://schemas.openxmlformats.org/officeDocument/2006/relationships/slideLayout" Target="../slideLayouts/slideLayout462.xml"/><Relationship Id="rId16" Type="http://schemas.openxmlformats.org/officeDocument/2006/relationships/slideLayout" Target="../slideLayouts/slideLayout476.xml"/><Relationship Id="rId20" Type="http://schemas.openxmlformats.org/officeDocument/2006/relationships/slideLayout" Target="../slideLayouts/slideLayout480.xml"/><Relationship Id="rId29" Type="http://schemas.openxmlformats.org/officeDocument/2006/relationships/slideLayout" Target="../slideLayouts/slideLayout489.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slideLayout" Target="../slideLayouts/slideLayout471.xml"/><Relationship Id="rId24" Type="http://schemas.openxmlformats.org/officeDocument/2006/relationships/slideLayout" Target="../slideLayouts/slideLayout484.xml"/><Relationship Id="rId32" Type="http://schemas.openxmlformats.org/officeDocument/2006/relationships/slideLayout" Target="../slideLayouts/slideLayout492.xml"/><Relationship Id="rId37" Type="http://schemas.openxmlformats.org/officeDocument/2006/relationships/theme" Target="../theme/theme17.xml"/><Relationship Id="rId5" Type="http://schemas.openxmlformats.org/officeDocument/2006/relationships/slideLayout" Target="../slideLayouts/slideLayout465.xml"/><Relationship Id="rId15" Type="http://schemas.openxmlformats.org/officeDocument/2006/relationships/slideLayout" Target="../slideLayouts/slideLayout475.xml"/><Relationship Id="rId23" Type="http://schemas.openxmlformats.org/officeDocument/2006/relationships/slideLayout" Target="../slideLayouts/slideLayout483.xml"/><Relationship Id="rId28" Type="http://schemas.openxmlformats.org/officeDocument/2006/relationships/slideLayout" Target="../slideLayouts/slideLayout488.xml"/><Relationship Id="rId36" Type="http://schemas.openxmlformats.org/officeDocument/2006/relationships/slideLayout" Target="../slideLayouts/slideLayout496.xml"/><Relationship Id="rId10" Type="http://schemas.openxmlformats.org/officeDocument/2006/relationships/slideLayout" Target="../slideLayouts/slideLayout470.xml"/><Relationship Id="rId19" Type="http://schemas.openxmlformats.org/officeDocument/2006/relationships/slideLayout" Target="../slideLayouts/slideLayout479.xml"/><Relationship Id="rId31" Type="http://schemas.openxmlformats.org/officeDocument/2006/relationships/slideLayout" Target="../slideLayouts/slideLayout491.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slideLayout" Target="../slideLayouts/slideLayout474.xml"/><Relationship Id="rId22" Type="http://schemas.openxmlformats.org/officeDocument/2006/relationships/slideLayout" Target="../slideLayouts/slideLayout482.xml"/><Relationship Id="rId27" Type="http://schemas.openxmlformats.org/officeDocument/2006/relationships/slideLayout" Target="../slideLayouts/slideLayout487.xml"/><Relationship Id="rId30" Type="http://schemas.openxmlformats.org/officeDocument/2006/relationships/slideLayout" Target="../slideLayouts/slideLayout490.xml"/><Relationship Id="rId35" Type="http://schemas.openxmlformats.org/officeDocument/2006/relationships/slideLayout" Target="../slideLayouts/slideLayout495.xml"/><Relationship Id="rId8" Type="http://schemas.openxmlformats.org/officeDocument/2006/relationships/slideLayout" Target="../slideLayouts/slideLayout468.xml"/><Relationship Id="rId3" Type="http://schemas.openxmlformats.org/officeDocument/2006/relationships/slideLayout" Target="../slideLayouts/slideLayout46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10"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image" Target="../media/image13.emf"/><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theme" Target="../theme/theme3.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8" Type="http://schemas.openxmlformats.org/officeDocument/2006/relationships/slideLayout" Target="../slideLayouts/slideLayout36.xml"/><Relationship Id="rId3"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image" Target="../media/image13.emf"/><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theme" Target="../theme/theme4.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theme" Target="../theme/theme5.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8" Type="http://schemas.openxmlformats.org/officeDocument/2006/relationships/slideLayout" Target="../slideLayouts/slideLayout10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image" Target="../media/image33.png"/><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image" Target="../media/image1.emf"/><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theme" Target="../theme/theme6.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21" Type="http://schemas.openxmlformats.org/officeDocument/2006/relationships/slideLayout" Target="../slideLayouts/slideLayout175.xml"/><Relationship Id="rId34" Type="http://schemas.openxmlformats.org/officeDocument/2006/relationships/slideLayout" Target="../slideLayouts/slideLayout188.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33" Type="http://schemas.openxmlformats.org/officeDocument/2006/relationships/slideLayout" Target="../slideLayouts/slideLayout187.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32" Type="http://schemas.openxmlformats.org/officeDocument/2006/relationships/slideLayout" Target="../slideLayouts/slideLayout186.xml"/><Relationship Id="rId37" Type="http://schemas.openxmlformats.org/officeDocument/2006/relationships/image" Target="../media/image13.emf"/><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36" Type="http://schemas.openxmlformats.org/officeDocument/2006/relationships/theme" Target="../theme/theme7.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slideLayout" Target="../slideLayouts/slideLayout185.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 Id="rId35" Type="http://schemas.openxmlformats.org/officeDocument/2006/relationships/slideLayout" Target="../slideLayouts/slideLayout189.xml"/><Relationship Id="rId8" Type="http://schemas.openxmlformats.org/officeDocument/2006/relationships/slideLayout" Target="../slideLayouts/slideLayout162.xml"/><Relationship Id="rId3" Type="http://schemas.openxmlformats.org/officeDocument/2006/relationships/slideLayout" Target="../slideLayouts/slideLayout1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theme" Target="../theme/theme8.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0" Type="http://schemas.openxmlformats.org/officeDocument/2006/relationships/slideLayout" Target="../slideLayouts/slideLayout199.xml"/><Relationship Id="rId4" Type="http://schemas.openxmlformats.org/officeDocument/2006/relationships/slideLayout" Target="../slideLayouts/slideLayout193.xml"/><Relationship Id="rId9" Type="http://schemas.openxmlformats.org/officeDocument/2006/relationships/slideLayout" Target="../slideLayouts/slideLayout19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3" Type="http://schemas.openxmlformats.org/officeDocument/2006/relationships/slideLayout" Target="../slideLayouts/slideLayout204.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theme" Target="../theme/theme9.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688818"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039880" y="3221594"/>
            <a:ext cx="6858000" cy="414812"/>
          </a:xfrm>
          <a:prstGeom prst="rect">
            <a:avLst/>
          </a:prstGeom>
        </p:spPr>
      </p:pic>
    </p:spTree>
    <p:extLst>
      <p:ext uri="{BB962C8B-B14F-4D97-AF65-F5344CB8AC3E}">
        <p14:creationId xmlns:p14="http://schemas.microsoft.com/office/powerpoint/2010/main" val="2545682526"/>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30" r:id="rId14"/>
    <p:sldLayoutId id="2147483991" r:id="rId15"/>
    <p:sldLayoutId id="2147483992" r:id="rId16"/>
    <p:sldLayoutId id="2147483993" r:id="rId17"/>
    <p:sldLayoutId id="2147484779" r:id="rId18"/>
    <p:sldLayoutId id="2147484780" r:id="rId19"/>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sk Questions : http://aka.ms/cosmos-qa</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8EB9E8-CA3A-4349-8165-A1A8FED2E9F7}" type="slidenum">
              <a:rPr lang="en-US" smtClean="0"/>
              <a:t>‹#›</a:t>
            </a:fld>
            <a:endParaRPr lang="en-US"/>
          </a:p>
        </p:txBody>
      </p:sp>
    </p:spTree>
    <p:extLst>
      <p:ext uri="{BB962C8B-B14F-4D97-AF65-F5344CB8AC3E}">
        <p14:creationId xmlns:p14="http://schemas.microsoft.com/office/powerpoint/2010/main" val="1155236839"/>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4"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 id="2147484500" r:id="rId20"/>
    <p:sldLayoutId id="2147484501" r:id="rId2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8"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80" y="3221594"/>
            <a:ext cx="6858000" cy="414812"/>
          </a:xfrm>
          <a:prstGeom prst="rect">
            <a:avLst/>
          </a:prstGeom>
        </p:spPr>
      </p:pic>
    </p:spTree>
    <p:extLst>
      <p:ext uri="{BB962C8B-B14F-4D97-AF65-F5344CB8AC3E}">
        <p14:creationId xmlns:p14="http://schemas.microsoft.com/office/powerpoint/2010/main" val="2481627507"/>
      </p:ext>
    </p:extLst>
  </p:cSld>
  <p:clrMap bg1="lt1" tx1="dk1" bg2="lt2" tx2="dk2" accent1="accent1" accent2="accent2" accent3="accent3" accent4="accent4" accent5="accent5" accent6="accent6" hlink="hlink" folHlink="folHlink"/>
  <p:sldLayoutIdLst>
    <p:sldLayoutId id="2147484503" r:id="rId1"/>
    <p:sldLayoutId id="2147484504" r:id="rId2"/>
    <p:sldLayoutId id="2147484505" r:id="rId3"/>
    <p:sldLayoutId id="2147484506" r:id="rId4"/>
    <p:sldLayoutId id="2147484507" r:id="rId5"/>
    <p:sldLayoutId id="2147484508" r:id="rId6"/>
    <p:sldLayoutId id="2147484509" r:id="rId7"/>
    <p:sldLayoutId id="2147484510" r:id="rId8"/>
    <p:sldLayoutId id="2147484511" r:id="rId9"/>
    <p:sldLayoutId id="2147484512" r:id="rId10"/>
    <p:sldLayoutId id="2147484513" r:id="rId11"/>
    <p:sldLayoutId id="2147484514" r:id="rId12"/>
    <p:sldLayoutId id="2147484515" r:id="rId13"/>
    <p:sldLayoutId id="2147484516" r:id="rId14"/>
    <p:sldLayoutId id="2147484517" r:id="rId15"/>
    <p:sldLayoutId id="2147484518" r:id="rId16"/>
    <p:sldLayoutId id="2147484519" r:id="rId17"/>
    <p:sldLayoutId id="2147484520" r:id="rId18"/>
    <p:sldLayoutId id="2147484521" r:id="rId19"/>
    <p:sldLayoutId id="2147484522" r:id="rId20"/>
  </p:sldLayoutIdLst>
  <p:transition>
    <p:fade/>
  </p:transition>
  <p:hf sldNum="0" hdr="0" dt="0"/>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4513CD-31E8-4438-B4C5-BE44CCB9DFB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48B1C05-325C-4DE3-85F2-969E09C2C0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A84686-0B1B-491D-8B29-FF200D5892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78460D49-D343-4633-9284-038D60D801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sk Questions : http://aka.ms/cosmos-qa</a:t>
            </a:r>
          </a:p>
        </p:txBody>
      </p:sp>
      <p:sp>
        <p:nvSpPr>
          <p:cNvPr id="6" name="Slide Number Placeholder 5">
            <a:extLst>
              <a:ext uri="{FF2B5EF4-FFF2-40B4-BE49-F238E27FC236}">
                <a16:creationId xmlns:a16="http://schemas.microsoft.com/office/drawing/2014/main" id="{F4C882C1-D5A9-48B6-B7B3-CD259B24A9B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FC3499-EBE7-4CB5-BC0F-9AD89AF3BE99}" type="slidenum">
              <a:rPr lang="en-US" smtClean="0"/>
              <a:t>‹#›</a:t>
            </a:fld>
            <a:endParaRPr lang="en-US"/>
          </a:p>
        </p:txBody>
      </p:sp>
    </p:spTree>
    <p:extLst>
      <p:ext uri="{BB962C8B-B14F-4D97-AF65-F5344CB8AC3E}">
        <p14:creationId xmlns:p14="http://schemas.microsoft.com/office/powerpoint/2010/main" val="1132376335"/>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 id="2147484528" r:id="rId5"/>
    <p:sldLayoutId id="2147484529" r:id="rId6"/>
    <p:sldLayoutId id="2147484530" r:id="rId7"/>
    <p:sldLayoutId id="2147484531" r:id="rId8"/>
    <p:sldLayoutId id="2147484532" r:id="rId9"/>
    <p:sldLayoutId id="2147484533" r:id="rId10"/>
    <p:sldLayoutId id="2147484534"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402959"/>
      </p:ext>
    </p:extLst>
  </p:cSld>
  <p:clrMap bg1="lt1" tx1="dk1" bg2="lt2" tx2="dk2" accent1="accent1" accent2="accent2" accent3="accent3" accent4="accent4" accent5="accent5" accent6="accent6" hlink="hlink" folHlink="folHlink"/>
  <p:sldLayoutIdLst>
    <p:sldLayoutId id="2147484536" r:id="rId1"/>
    <p:sldLayoutId id="2147484537" r:id="rId2"/>
    <p:sldLayoutId id="2147484538" r:id="rId3"/>
    <p:sldLayoutId id="2147484539" r:id="rId4"/>
    <p:sldLayoutId id="2147484540" r:id="rId5"/>
    <p:sldLayoutId id="2147484541" r:id="rId6"/>
    <p:sldLayoutId id="2147484542" r:id="rId7"/>
    <p:sldLayoutId id="2147484543" r:id="rId8"/>
    <p:sldLayoutId id="2147484544" r:id="rId9"/>
    <p:sldLayoutId id="2147484545" r:id="rId10"/>
    <p:sldLayoutId id="2147484546" r:id="rId11"/>
    <p:sldLayoutId id="2147484547" r:id="rId12"/>
    <p:sldLayoutId id="2147484548" r:id="rId13"/>
    <p:sldLayoutId id="2147484549" r:id="rId14"/>
    <p:sldLayoutId id="2147484550" r:id="rId15"/>
    <p:sldLayoutId id="2147484551" r:id="rId16"/>
    <p:sldLayoutId id="2147484552" r:id="rId17"/>
    <p:sldLayoutId id="2147484553" r:id="rId18"/>
    <p:sldLayoutId id="2147484554" r:id="rId19"/>
    <p:sldLayoutId id="2147484555" r:id="rId20"/>
    <p:sldLayoutId id="2147484556" r:id="rId21"/>
    <p:sldLayoutId id="2147484557" r:id="rId22"/>
    <p:sldLayoutId id="2147484558" r:id="rId23"/>
    <p:sldLayoutId id="2147484559" r:id="rId24"/>
    <p:sldLayoutId id="2147484560" r:id="rId25"/>
    <p:sldLayoutId id="2147484561" r:id="rId26"/>
    <p:sldLayoutId id="2147484562" r:id="rId27"/>
    <p:sldLayoutId id="2147484563" r:id="rId28"/>
    <p:sldLayoutId id="2147484564" r:id="rId29"/>
    <p:sldLayoutId id="2147484565" r:id="rId30"/>
    <p:sldLayoutId id="2147484566" r:id="rId31"/>
    <p:sldLayoutId id="2147484567" r:id="rId32"/>
    <p:sldLayoutId id="2147484568" r:id="rId33"/>
    <p:sldLayoutId id="2147484569" r:id="rId34"/>
    <p:sldLayoutId id="2147484570" r:id="rId35"/>
    <p:sldLayoutId id="2147484571" r:id="rId36"/>
    <p:sldLayoutId id="2147484572" r:id="rId37"/>
    <p:sldLayoutId id="2147484573" r:id="rId38"/>
    <p:sldLayoutId id="2147484574" r:id="rId39"/>
    <p:sldLayoutId id="2147484575" r:id="rId40"/>
    <p:sldLayoutId id="2147484576" r:id="rId41"/>
    <p:sldLayoutId id="2147484577" r:id="rId42"/>
    <p:sldLayoutId id="2147484578" r:id="rId43"/>
    <p:sldLayoutId id="2147484579" r:id="rId44"/>
    <p:sldLayoutId id="2147484580" r:id="rId45"/>
    <p:sldLayoutId id="2147484581" r:id="rId46"/>
    <p:sldLayoutId id="2147484582" r:id="rId47"/>
    <p:sldLayoutId id="2147484583" r:id="rId48"/>
    <p:sldLayoutId id="2147484584" r:id="rId49"/>
    <p:sldLayoutId id="2147484585" r:id="rId50"/>
    <p:sldLayoutId id="2147484586" r:id="rId51"/>
    <p:sldLayoutId id="2147484587" r:id="rId52"/>
    <p:sldLayoutId id="2147484588" r:id="rId53"/>
    <p:sldLayoutId id="2147484589" r:id="rId54"/>
    <p:sldLayoutId id="2147484590" r:id="rId55"/>
    <p:sldLayoutId id="2147484591" r:id="rId56"/>
    <p:sldLayoutId id="2147484592" r:id="rId57"/>
    <p:sldLayoutId id="2147484593" r:id="rId58"/>
    <p:sldLayoutId id="2147484594" r:id="rId59"/>
    <p:sldLayoutId id="2147484595" r:id="rId60"/>
    <p:sldLayoutId id="2147484596" r:id="rId61"/>
    <p:sldLayoutId id="2147484597" r:id="rId62"/>
    <p:sldLayoutId id="2147484598" r:id="rId63"/>
    <p:sldLayoutId id="2147484599" r:id="rId64"/>
    <p:sldLayoutId id="2147484600" r:id="rId65"/>
    <p:sldLayoutId id="2147484601" r:id="rId66"/>
    <p:sldLayoutId id="2147484602" r:id="rId67"/>
    <p:sldLayoutId id="2147484603" r:id="rId68"/>
    <p:sldLayoutId id="2147484604" r:id="rId69"/>
    <p:sldLayoutId id="2147484605" r:id="rId70"/>
    <p:sldLayoutId id="2147484606" r:id="rId71"/>
    <p:sldLayoutId id="2147484607" r:id="rId72"/>
    <p:sldLayoutId id="2147484608" r:id="rId73"/>
    <p:sldLayoutId id="2147484609" r:id="rId74"/>
    <p:sldLayoutId id="2147484610" r:id="rId75"/>
    <p:sldLayoutId id="2147484611" r:id="rId76"/>
    <p:sldLayoutId id="2147484612" r:id="rId77"/>
    <p:sldLayoutId id="2147484613" r:id="rId78"/>
    <p:sldLayoutId id="2147484614" r:id="rId79"/>
    <p:sldLayoutId id="2147484615" r:id="rId80"/>
    <p:sldLayoutId id="2147484616" r:id="rId81"/>
    <p:sldLayoutId id="2147484617" r:id="rId82"/>
    <p:sldLayoutId id="2147484618" r:id="rId83"/>
    <p:sldLayoutId id="2147484619" r:id="rId84"/>
    <p:sldLayoutId id="2147484620" r:id="rId85"/>
    <p:sldLayoutId id="2147484621" r:id="rId86"/>
    <p:sldLayoutId id="2147484622" r:id="rId87"/>
    <p:sldLayoutId id="2147484623" r:id="rId88"/>
    <p:sldLayoutId id="2147484624" r:id="rId89"/>
    <p:sldLayoutId id="2147484625" r:id="rId90"/>
    <p:sldLayoutId id="2147484626" r:id="rId91"/>
    <p:sldLayoutId id="2147484627" r:id="rId92"/>
    <p:sldLayoutId id="2147484628" r:id="rId93"/>
    <p:sldLayoutId id="2147484629" r:id="rId94"/>
    <p:sldLayoutId id="2147484630" r:id="rId95"/>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291435814"/>
      </p:ext>
    </p:extLst>
  </p:cSld>
  <p:clrMap bg1="lt1" tx1="dk1" bg2="lt2" tx2="dk2" accent1="accent1" accent2="accent2" accent3="accent3" accent4="accent4" accent5="accent5" accent6="accent6" hlink="hlink" folHlink="folHlink"/>
  <p:sldLayoutIdLst>
    <p:sldLayoutId id="2147484633" r:id="rId1"/>
    <p:sldLayoutId id="2147484634" r:id="rId2"/>
    <p:sldLayoutId id="2147484635" r:id="rId3"/>
    <p:sldLayoutId id="2147484636" r:id="rId4"/>
    <p:sldLayoutId id="2147484637" r:id="rId5"/>
    <p:sldLayoutId id="2147484638" r:id="rId6"/>
    <p:sldLayoutId id="2147484639" r:id="rId7"/>
    <p:sldLayoutId id="2147484640" r:id="rId8"/>
    <p:sldLayoutId id="2147484641" r:id="rId9"/>
    <p:sldLayoutId id="2147484642" r:id="rId10"/>
    <p:sldLayoutId id="2147484643" r:id="rId11"/>
    <p:sldLayoutId id="2147484644" r:id="rId12"/>
    <p:sldLayoutId id="2147484645" r:id="rId13"/>
    <p:sldLayoutId id="2147484646" r:id="rId14"/>
    <p:sldLayoutId id="2147484647" r:id="rId15"/>
    <p:sldLayoutId id="2147484648" r:id="rId16"/>
    <p:sldLayoutId id="2147484649" r:id="rId17"/>
    <p:sldLayoutId id="2147484650" r:id="rId18"/>
    <p:sldLayoutId id="2147484651" r:id="rId19"/>
    <p:sldLayoutId id="2147484652" r:id="rId20"/>
    <p:sldLayoutId id="2147484653" r:id="rId21"/>
    <p:sldLayoutId id="2147484654" r:id="rId22"/>
    <p:sldLayoutId id="2147484655" r:id="rId23"/>
    <p:sldLayoutId id="2147484656" r:id="rId24"/>
    <p:sldLayoutId id="2147484657" r:id="rId25"/>
    <p:sldLayoutId id="2147484658" r:id="rId26"/>
    <p:sldLayoutId id="2147484659" r:id="rId27"/>
    <p:sldLayoutId id="2147484660" r:id="rId28"/>
    <p:sldLayoutId id="2147484661" r:id="rId29"/>
    <p:sldLayoutId id="2147484662" r:id="rId30"/>
    <p:sldLayoutId id="2147484663"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276530771"/>
      </p:ext>
    </p:extLst>
  </p:cSld>
  <p:clrMap bg1="lt1" tx1="dk1" bg2="lt2" tx2="dk2" accent1="accent1" accent2="accent2" accent3="accent3" accent4="accent4" accent5="accent5" accent6="accent6" hlink="hlink" folHlink="folHlink"/>
  <p:sldLayoutIdLst>
    <p:sldLayoutId id="2147484677" r:id="rId1"/>
    <p:sldLayoutId id="2147484678" r:id="rId2"/>
    <p:sldLayoutId id="2147484679" r:id="rId3"/>
    <p:sldLayoutId id="2147484680" r:id="rId4"/>
    <p:sldLayoutId id="2147484681" r:id="rId5"/>
    <p:sldLayoutId id="2147484682" r:id="rId6"/>
    <p:sldLayoutId id="2147484683" r:id="rId7"/>
    <p:sldLayoutId id="2147484684" r:id="rId8"/>
    <p:sldLayoutId id="2147484685" r:id="rId9"/>
    <p:sldLayoutId id="2147484686" r:id="rId10"/>
    <p:sldLayoutId id="2147484687" r:id="rId11"/>
    <p:sldLayoutId id="2147484688" r:id="rId12"/>
    <p:sldLayoutId id="2147484689" r:id="rId13"/>
    <p:sldLayoutId id="2147484690" r:id="rId14"/>
    <p:sldLayoutId id="2147484691" r:id="rId15"/>
    <p:sldLayoutId id="2147484692" r:id="rId16"/>
    <p:sldLayoutId id="2147484693" r:id="rId17"/>
    <p:sldLayoutId id="2147484694" r:id="rId18"/>
    <p:sldLayoutId id="2147484695" r:id="rId19"/>
    <p:sldLayoutId id="2147484696" r:id="rId20"/>
    <p:sldLayoutId id="2147484697" r:id="rId21"/>
    <p:sldLayoutId id="2147484698" r:id="rId22"/>
    <p:sldLayoutId id="2147484699" r:id="rId23"/>
    <p:sldLayoutId id="2147484700" r:id="rId24"/>
    <p:sldLayoutId id="2147484701" r:id="rId25"/>
    <p:sldLayoutId id="2147484702" r:id="rId26"/>
    <p:sldLayoutId id="2147484703" r:id="rId27"/>
    <p:sldLayoutId id="2147484704" r:id="rId28"/>
    <p:sldLayoutId id="2147484705" r:id="rId29"/>
    <p:sldLayoutId id="2147484706" r:id="rId30"/>
    <p:sldLayoutId id="2147484707" r:id="rId31"/>
    <p:sldLayoutId id="2147484708" r:id="rId32"/>
    <p:sldLayoutId id="2147484709" r:id="rId33"/>
    <p:sldLayoutId id="2147484710" r:id="rId34"/>
    <p:sldLayoutId id="2147484711" r:id="rId35"/>
    <p:sldLayoutId id="2147484712" r:id="rId36"/>
    <p:sldLayoutId id="2147484713" r:id="rId37"/>
    <p:sldLayoutId id="2147484714" r:id="rId38"/>
    <p:sldLayoutId id="2147484715" r:id="rId39"/>
    <p:sldLayoutId id="2147484716" r:id="rId40"/>
    <p:sldLayoutId id="2147484717" r:id="rId41"/>
    <p:sldLayoutId id="2147484718" r:id="rId42"/>
    <p:sldLayoutId id="2147484719" r:id="rId43"/>
    <p:sldLayoutId id="2147484720" r:id="rId44"/>
    <p:sldLayoutId id="2147484721" r:id="rId45"/>
    <p:sldLayoutId id="2147484722" r:id="rId46"/>
    <p:sldLayoutId id="2147484723" r:id="rId47"/>
    <p:sldLayoutId id="2147484724" r:id="rId48"/>
    <p:sldLayoutId id="2147484725" r:id="rId49"/>
    <p:sldLayoutId id="2147484726" r:id="rId50"/>
    <p:sldLayoutId id="2147484727" r:id="rId51"/>
    <p:sldLayoutId id="2147484728" r:id="rId52"/>
    <p:sldLayoutId id="2147484729" r:id="rId53"/>
    <p:sldLayoutId id="2147484730" r:id="rId54"/>
    <p:sldLayoutId id="2147484731" r:id="rId5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012F91"/>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Black, white and grays">
            <a:extLst>
              <a:ext uri="{FF2B5EF4-FFF2-40B4-BE49-F238E27FC236}">
                <a16:creationId xmlns:a16="http://schemas.microsoft.com/office/drawing/2014/main" id="{7A01D5E4-0370-4DB3-ABE5-512F4205104F}"/>
              </a:ext>
              <a:ext uri="{C183D7F6-B498-43B3-948B-1728B52AA6E4}">
                <adec:decorative xmlns:adec="http://schemas.microsoft.com/office/drawing/2017/decorative" val="1"/>
              </a:ext>
            </a:extLst>
          </p:cNvPr>
          <p:cNvGrpSpPr/>
          <p:nvPr userDrawn="1"/>
        </p:nvGrpSpPr>
        <p:grpSpPr>
          <a:xfrm>
            <a:off x="6061662" y="6962016"/>
            <a:ext cx="6127290" cy="707383"/>
            <a:chOff x="3079386" y="2596661"/>
            <a:chExt cx="7352748" cy="848860"/>
          </a:xfrm>
        </p:grpSpPr>
        <p:grpSp>
          <p:nvGrpSpPr>
            <p:cNvPr id="2" name="Groupe 1">
              <a:extLst>
                <a:ext uri="{FF2B5EF4-FFF2-40B4-BE49-F238E27FC236}">
                  <a16:creationId xmlns:a16="http://schemas.microsoft.com/office/drawing/2014/main" id="{A3380582-0850-44FB-9921-CE1A63A57A5E}"/>
                </a:ext>
              </a:extLst>
            </p:cNvPr>
            <p:cNvGrpSpPr/>
            <p:nvPr userDrawn="1"/>
          </p:nvGrpSpPr>
          <p:grpSpPr>
            <a:xfrm rot="16200000">
              <a:off x="6550623" y="-435989"/>
              <a:ext cx="410273" cy="7352748"/>
              <a:chOff x="9487019" y="876852"/>
              <a:chExt cx="410273" cy="7352748"/>
            </a:xfrm>
          </p:grpSpPr>
          <p:sp>
            <p:nvSpPr>
              <p:cNvPr id="146" name="object 16">
                <a:extLst>
                  <a:ext uri="{FF2B5EF4-FFF2-40B4-BE49-F238E27FC236}">
                    <a16:creationId xmlns:a16="http://schemas.microsoft.com/office/drawing/2014/main" id="{859C6F1E-967F-394E-B787-8539C10BC369}"/>
                  </a:ext>
                </a:extLst>
              </p:cNvPr>
              <p:cNvSpPr txBox="1"/>
              <p:nvPr/>
            </p:nvSpPr>
            <p:spPr>
              <a:xfrm rot="5400000">
                <a:off x="9078769" y="7411078"/>
                <a:ext cx="1226773" cy="410272"/>
              </a:xfrm>
              <a:prstGeom prst="rect">
                <a:avLst/>
              </a:prstGeom>
              <a:solidFill>
                <a:srgbClr val="F2F2F2"/>
              </a:solidFill>
              <a:ln w="6350">
                <a:solidFill>
                  <a:srgbClr val="E6E6E6"/>
                </a:solidFill>
              </a:ln>
            </p:spPr>
            <p:txBody>
              <a:bodyPr vert="horz" wrap="none" lIns="45720" tIns="27432" rIns="45720" bIns="27432" rtlCol="0" anchor="t" anchorCtr="0">
                <a:norm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mn-ea"/>
                    <a:cs typeface="Segoe UI" charset="0"/>
                  </a:rPr>
                  <a:t>Extra Light Gray</a:t>
                </a:r>
                <a:endParaRPr kumimoji="0" lang="cs-CZ" sz="700" b="1" i="0" u="none" strike="noStrike" kern="1200" cap="none" spc="0" normalizeH="0" baseline="0" noProof="0" dirty="0">
                  <a:ln>
                    <a:noFill/>
                  </a:ln>
                  <a:solidFill>
                    <a:srgbClr val="000000"/>
                  </a:solidFill>
                  <a:effectLst/>
                  <a:uLnTx/>
                  <a:uFillTx/>
                  <a:latin typeface="Segoe UI" charset="0"/>
                  <a:ea typeface="+mn-ea"/>
                  <a:cs typeface="Segoe UI" charset="0"/>
                </a:endParaRPr>
              </a:p>
              <a:p>
                <a:pPr marL="0"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R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 G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 B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4" name="object 15">
                <a:extLst>
                  <a:ext uri="{FF2B5EF4-FFF2-40B4-BE49-F238E27FC236}">
                    <a16:creationId xmlns:a16="http://schemas.microsoft.com/office/drawing/2014/main" id="{1D395897-A51E-C54D-9D1D-38873B0F3F1A}"/>
                  </a:ext>
                </a:extLst>
              </p:cNvPr>
              <p:cNvSpPr txBox="1"/>
              <p:nvPr/>
            </p:nvSpPr>
            <p:spPr>
              <a:xfrm rot="5400000">
                <a:off x="9078769" y="6188384"/>
                <a:ext cx="1226773" cy="410272"/>
              </a:xfrm>
              <a:prstGeom prst="rect">
                <a:avLst/>
              </a:prstGeom>
              <a:solidFill>
                <a:srgbClr val="E6E6E6"/>
              </a:solidFill>
              <a:ln w="3175">
                <a:noFill/>
              </a:ln>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Light</a:t>
                </a:r>
                <a:r>
                  <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rPr>
                  <a:t> </a:t>
                </a: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Gray</a:t>
                </a: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30 G230 B230</a:t>
                </a:r>
                <a:b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5" name="object 14">
                <a:extLst>
                  <a:ext uri="{FF2B5EF4-FFF2-40B4-BE49-F238E27FC236}">
                    <a16:creationId xmlns:a16="http://schemas.microsoft.com/office/drawing/2014/main" id="{10EA571D-902C-8547-BEFA-966221F0F224}"/>
                  </a:ext>
                </a:extLst>
              </p:cNvPr>
              <p:cNvSpPr txBox="1"/>
              <p:nvPr/>
            </p:nvSpPr>
            <p:spPr>
              <a:xfrm rot="5400000">
                <a:off x="9078769" y="4961612"/>
                <a:ext cx="1226773" cy="410272"/>
              </a:xfrm>
              <a:prstGeom prst="rect">
                <a:avLst/>
              </a:prstGeom>
              <a:solidFill>
                <a:srgbClr val="D2D2D2"/>
              </a:solidFill>
              <a:ln w="6350">
                <a:noFill/>
              </a:ln>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Gray</a:t>
                </a:r>
                <a:endPar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10 G210 B210</a:t>
                </a:r>
                <a:b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3" name="object 19">
                <a:extLst>
                  <a:ext uri="{FF2B5EF4-FFF2-40B4-BE49-F238E27FC236}">
                    <a16:creationId xmlns:a16="http://schemas.microsoft.com/office/drawing/2014/main" id="{E4A4C58D-6B40-8F40-A8F2-6546F6C99A49}"/>
                  </a:ext>
                </a:extLst>
              </p:cNvPr>
              <p:cNvSpPr txBox="1"/>
              <p:nvPr/>
            </p:nvSpPr>
            <p:spPr>
              <a:xfrm rot="5400000">
                <a:off x="9078768" y="3738918"/>
                <a:ext cx="1226773" cy="410272"/>
              </a:xfrm>
              <a:prstGeom prst="rect">
                <a:avLst/>
              </a:prstGeom>
              <a:solidFill>
                <a:srgbClr val="737373"/>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Mid 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 </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15 G115 B115</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2" name="object 22">
                <a:extLst>
                  <a:ext uri="{FF2B5EF4-FFF2-40B4-BE49-F238E27FC236}">
                    <a16:creationId xmlns:a16="http://schemas.microsoft.com/office/drawing/2014/main" id="{5141FD8F-F7DE-2A45-9E44-1ECEFD28CF8E}"/>
                  </a:ext>
                </a:extLst>
              </p:cNvPr>
              <p:cNvSpPr txBox="1"/>
              <p:nvPr/>
            </p:nvSpPr>
            <p:spPr>
              <a:xfrm rot="5400000">
                <a:off x="9078768" y="2511876"/>
                <a:ext cx="1226773" cy="410272"/>
              </a:xfrm>
              <a:prstGeom prst="rect">
                <a:avLst/>
              </a:prstGeom>
              <a:solidFill>
                <a:srgbClr val="505050"/>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a:t>
                </a: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G</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B</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7" name="object 22">
                <a:extLst>
                  <a:ext uri="{FF2B5EF4-FFF2-40B4-BE49-F238E27FC236}">
                    <a16:creationId xmlns:a16="http://schemas.microsoft.com/office/drawing/2014/main" id="{66BF1245-79F6-BB46-8211-1F6CFF8FC909}"/>
                  </a:ext>
                </a:extLst>
              </p:cNvPr>
              <p:cNvSpPr txBox="1"/>
              <p:nvPr/>
            </p:nvSpPr>
            <p:spPr>
              <a:xfrm rot="5400000">
                <a:off x="9078768" y="1285103"/>
                <a:ext cx="1226773" cy="410272"/>
              </a:xfrm>
              <a:prstGeom prst="rect">
                <a:avLst/>
              </a:prstGeom>
              <a:solidFill>
                <a:srgbClr val="2F2F2F"/>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Extra </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t>
                </a:r>
                <a:r>
                  <a:rPr kumimoji="0" lang="en-US"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ar</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k</a:t>
                </a: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 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47 G47 B47</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sp>
          <p:nvSpPr>
            <p:cNvPr id="141" name="object 16">
              <a:extLst>
                <a:ext uri="{FF2B5EF4-FFF2-40B4-BE49-F238E27FC236}">
                  <a16:creationId xmlns:a16="http://schemas.microsoft.com/office/drawing/2014/main" id="{3D52AE5F-974A-2943-811F-380C61D7923A}"/>
                </a:ext>
              </a:extLst>
            </p:cNvPr>
            <p:cNvSpPr txBox="1"/>
            <p:nvPr/>
          </p:nvSpPr>
          <p:spPr>
            <a:xfrm>
              <a:off x="6755896" y="2596661"/>
              <a:ext cx="3676238" cy="438133"/>
            </a:xfrm>
            <a:prstGeom prst="rect">
              <a:avLst/>
            </a:prstGeom>
            <a:solidFill>
              <a:srgbClr val="FFFFFF"/>
            </a:solidFill>
            <a:ln w="6350">
              <a:solidFill>
                <a:schemeClr val="bg1">
                  <a:lumMod val="85000"/>
                </a:schemeClr>
              </a:solidFill>
            </a:ln>
          </p:spPr>
          <p:txBody>
            <a:bodyPr vert="horz" wrap="none" lIns="0" tIns="27432" rIns="45720" bIns="27432" rtlCol="0" anchor="t" anchorCtr="0">
              <a:normAutofit/>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rPr>
                <a:t>White</a:t>
              </a: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5 G255 B255</a:t>
              </a: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0" name="object 25">
              <a:extLst>
                <a:ext uri="{FF2B5EF4-FFF2-40B4-BE49-F238E27FC236}">
                  <a16:creationId xmlns:a16="http://schemas.microsoft.com/office/drawing/2014/main" id="{63D91D28-976A-054E-9200-E5B8F287AA2E}"/>
                </a:ext>
              </a:extLst>
            </p:cNvPr>
            <p:cNvSpPr txBox="1"/>
            <p:nvPr/>
          </p:nvSpPr>
          <p:spPr>
            <a:xfrm>
              <a:off x="3079387" y="2597115"/>
              <a:ext cx="3693962" cy="438133"/>
            </a:xfrm>
            <a:prstGeom prst="rect">
              <a:avLst/>
            </a:prstGeom>
            <a:solidFill>
              <a:srgbClr val="000000"/>
            </a:solidFill>
          </p:spPr>
          <p:txBody>
            <a:bodyPr vert="horz" wrap="none" lIns="0" tIns="27432" rIns="45720" bIns="27432" rtlCol="0">
              <a:noAutofit/>
            </a:bodyPr>
            <a:lstStyle/>
            <a:p>
              <a:pPr marL="88892" marR="0" lvl="0" indent="0" algn="l" defTabSz="761940" rtl="0" eaLnBrk="1" fontAlgn="auto" latinLnBrk="0" hangingPunct="1">
                <a:lnSpc>
                  <a:spcPct val="11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Rich Black</a:t>
              </a:r>
              <a:endPar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1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0 B0</a:t>
              </a:r>
            </a:p>
            <a:p>
              <a:pPr marL="88892" marR="0" lvl="0" indent="0" algn="l" defTabSz="761940" rtl="0" eaLnBrk="1" fontAlgn="auto" latinLnBrk="0" hangingPunct="1">
                <a:lnSpc>
                  <a:spcPct val="11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10000"/>
                </a:lnSpc>
                <a:spcBef>
                  <a:spcPts val="0"/>
                </a:spcBef>
                <a:spcAft>
                  <a:spcPts val="0"/>
                </a:spcAft>
                <a:buClrTx/>
                <a:buSzTx/>
                <a:buFontTx/>
                <a:buNone/>
                <a:tabLst/>
                <a:defRPr/>
              </a:pPr>
              <a:br>
                <a:rPr kumimoji="0" lang="en-US" sz="700" b="0" i="0" u="none" strike="noStrike" kern="1200" cap="none" spc="0" normalizeH="0" baseline="0" noProof="0" dirty="0">
                  <a:ln>
                    <a:noFill/>
                  </a:ln>
                  <a:solidFill>
                    <a:srgbClr val="FFFFFF"/>
                  </a:solidFill>
                  <a:effectLst/>
                  <a:highlight>
                    <a:srgbClr val="FF0000"/>
                  </a:highlight>
                  <a:uLnTx/>
                  <a:uFillTx/>
                  <a:latin typeface="Segoe UI" panose="020B0502040204020203" pitchFamily="34" charset="0"/>
                  <a:ea typeface="+mn-ea"/>
                  <a:cs typeface="Segoe UI" panose="020B0502040204020203" pitchFamily="34" charset="0"/>
                </a:rPr>
              </a:br>
              <a:endParaRPr kumimoji="0" lang="mr-IN" sz="700" b="0" i="0" u="none" strike="noStrike" kern="1200" cap="none" spc="0" normalizeH="0" baseline="0" noProof="0" dirty="0">
                <a:ln>
                  <a:noFill/>
                </a:ln>
                <a:solidFill>
                  <a:prstClr val="black"/>
                </a:solidFill>
                <a:effectLst/>
                <a:highlight>
                  <a:srgbClr val="FF0000"/>
                </a:highlight>
                <a:uLnTx/>
                <a:uFillTx/>
                <a:latin typeface="Segoe UI" panose="020B0502040204020203" pitchFamily="34" charset="0"/>
                <a:ea typeface="+mn-ea"/>
                <a:cs typeface="Segoe UI" panose="020B0502040204020203" pitchFamily="34" charset="0"/>
              </a:endParaRPr>
            </a:p>
          </p:txBody>
        </p:sp>
      </p:grpSp>
      <p:grpSp>
        <p:nvGrpSpPr>
          <p:cNvPr id="37" name="Purple theme">
            <a:extLst>
              <a:ext uri="{FF2B5EF4-FFF2-40B4-BE49-F238E27FC236}">
                <a16:creationId xmlns:a16="http://schemas.microsoft.com/office/drawing/2014/main" id="{792F544B-12A2-448A-8B83-A569B40D6C54}"/>
              </a:ext>
              <a:ext uri="{C183D7F6-B498-43B3-948B-1728B52AA6E4}">
                <adec:decorative xmlns:adec="http://schemas.microsoft.com/office/drawing/2017/decorative" val="1"/>
              </a:ext>
            </a:extLst>
          </p:cNvPr>
          <p:cNvGrpSpPr/>
          <p:nvPr userDrawn="1"/>
        </p:nvGrpSpPr>
        <p:grpSpPr>
          <a:xfrm rot="16200000">
            <a:off x="13371677" y="5795709"/>
            <a:ext cx="1102263" cy="1022319"/>
            <a:chOff x="4187065" y="7008141"/>
            <a:chExt cx="1322716" cy="1226783"/>
          </a:xfrm>
        </p:grpSpPr>
        <p:sp>
          <p:nvSpPr>
            <p:cNvPr id="123" name="object 94">
              <a:extLst>
                <a:ext uri="{FF2B5EF4-FFF2-40B4-BE49-F238E27FC236}">
                  <a16:creationId xmlns:a16="http://schemas.microsoft.com/office/drawing/2014/main" id="{000B45AA-DA07-422E-99A4-285E770871CC}"/>
                </a:ext>
              </a:extLst>
            </p:cNvPr>
            <p:cNvSpPr/>
            <p:nvPr/>
          </p:nvSpPr>
          <p:spPr>
            <a:xfrm rot="5400000">
              <a:off x="4348446" y="7358647"/>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8661C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Purpl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34 G97 B197</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4" name="object 96">
              <a:extLst>
                <a:ext uri="{FF2B5EF4-FFF2-40B4-BE49-F238E27FC236}">
                  <a16:creationId xmlns:a16="http://schemas.microsoft.com/office/drawing/2014/main" id="{1112FA86-FF81-4A22-9303-AFEA6BCD8CEC}"/>
                </a:ext>
              </a:extLst>
            </p:cNvPr>
            <p:cNvSpPr/>
            <p:nvPr/>
          </p:nvSpPr>
          <p:spPr>
            <a:xfrm rot="5400000">
              <a:off x="3836559" y="7358647"/>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B2E58"/>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Purpl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59 G46 B88</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1" name="object 95">
              <a:extLst>
                <a:ext uri="{FF2B5EF4-FFF2-40B4-BE49-F238E27FC236}">
                  <a16:creationId xmlns:a16="http://schemas.microsoft.com/office/drawing/2014/main" id="{5D8291F4-51BF-4AAC-B50E-32C238C02E86}"/>
                </a:ext>
              </a:extLst>
            </p:cNvPr>
            <p:cNvSpPr/>
            <p:nvPr/>
          </p:nvSpPr>
          <p:spPr>
            <a:xfrm rot="5400000">
              <a:off x="4746146" y="7471280"/>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D59DFF"/>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Purpl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13 G157 B255</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91" name="object 55">
              <a:extLst>
                <a:ext uri="{FF2B5EF4-FFF2-40B4-BE49-F238E27FC236}">
                  <a16:creationId xmlns:a16="http://schemas.microsoft.com/office/drawing/2014/main" id="{DCF78ED8-B3FB-406A-848B-A2B57CD8CE09}"/>
                </a:ext>
              </a:extLst>
            </p:cNvPr>
            <p:cNvSpPr/>
            <p:nvPr/>
          </p:nvSpPr>
          <p:spPr>
            <a:xfrm rot="5400000">
              <a:off x="4821404" y="783608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7" name="object 55">
              <a:extLst>
                <a:ext uri="{FF2B5EF4-FFF2-40B4-BE49-F238E27FC236}">
                  <a16:creationId xmlns:a16="http://schemas.microsoft.com/office/drawing/2014/main" id="{B6FBF43C-37D4-423F-B8D0-81E03B59E746}"/>
                </a:ext>
              </a:extLst>
            </p:cNvPr>
            <p:cNvSpPr/>
            <p:nvPr/>
          </p:nvSpPr>
          <p:spPr>
            <a:xfrm rot="5400000">
              <a:off x="4321639" y="783609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59D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36" name="Teal theme">
            <a:extLst>
              <a:ext uri="{FF2B5EF4-FFF2-40B4-BE49-F238E27FC236}">
                <a16:creationId xmlns:a16="http://schemas.microsoft.com/office/drawing/2014/main" id="{DA4F9A03-A77F-4EE7-A459-3495C090DB86}"/>
              </a:ext>
              <a:ext uri="{C183D7F6-B498-43B3-948B-1728B52AA6E4}">
                <adec:decorative xmlns:adec="http://schemas.microsoft.com/office/drawing/2017/decorative" val="1"/>
              </a:ext>
            </a:extLst>
          </p:cNvPr>
          <p:cNvGrpSpPr/>
          <p:nvPr userDrawn="1"/>
        </p:nvGrpSpPr>
        <p:grpSpPr>
          <a:xfrm rot="16200000">
            <a:off x="13375326" y="4644745"/>
            <a:ext cx="1102261" cy="1022312"/>
            <a:chOff x="4187065" y="4558674"/>
            <a:chExt cx="1322713" cy="1226774"/>
          </a:xfrm>
        </p:grpSpPr>
        <p:sp>
          <p:nvSpPr>
            <p:cNvPr id="170" name="object 74">
              <a:extLst>
                <a:ext uri="{FF2B5EF4-FFF2-40B4-BE49-F238E27FC236}">
                  <a16:creationId xmlns:a16="http://schemas.microsoft.com/office/drawing/2014/main" id="{6BE1C147-E1D2-4B60-80E5-DF5B001B06FE}"/>
                </a:ext>
              </a:extLst>
            </p:cNvPr>
            <p:cNvSpPr/>
            <p:nvPr/>
          </p:nvSpPr>
          <p:spPr>
            <a:xfrm rot="5400000">
              <a:off x="4348446" y="4909180"/>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857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Teal</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133 B117</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71" name="object 76">
              <a:extLst>
                <a:ext uri="{FF2B5EF4-FFF2-40B4-BE49-F238E27FC236}">
                  <a16:creationId xmlns:a16="http://schemas.microsoft.com/office/drawing/2014/main" id="{6065E591-8064-4D8E-9A93-3E313066E0D3}"/>
                </a:ext>
              </a:extLst>
            </p:cNvPr>
            <p:cNvSpPr/>
            <p:nvPr/>
          </p:nvSpPr>
          <p:spPr>
            <a:xfrm rot="5400000">
              <a:off x="3836559" y="4909180"/>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74B47"/>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Teal</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39 G75 B71</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5" name="object 75">
              <a:extLst>
                <a:ext uri="{FF2B5EF4-FFF2-40B4-BE49-F238E27FC236}">
                  <a16:creationId xmlns:a16="http://schemas.microsoft.com/office/drawing/2014/main" id="{8C132861-B1E6-415C-9826-E365F4F9ACAB}"/>
                </a:ext>
              </a:extLst>
            </p:cNvPr>
            <p:cNvSpPr/>
            <p:nvPr/>
          </p:nvSpPr>
          <p:spPr>
            <a:xfrm rot="5400000">
              <a:off x="4746143" y="5021814"/>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0E5D0"/>
            </a:solidFill>
          </p:spPr>
          <p:txBody>
            <a:bodyPr wrap="none" lIns="45720" tIns="27432" rIns="45720" bIns="27432"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Teal</a:t>
              </a:r>
            </a:p>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48 G229 B208</a:t>
              </a:r>
            </a:p>
            <a:p>
              <a:pPr marL="0"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9" name="object 55">
              <a:extLst>
                <a:ext uri="{FF2B5EF4-FFF2-40B4-BE49-F238E27FC236}">
                  <a16:creationId xmlns:a16="http://schemas.microsoft.com/office/drawing/2014/main" id="{556935F2-6C89-45C2-90B7-A7D129D925C7}"/>
                </a:ext>
              </a:extLst>
            </p:cNvPr>
            <p:cNvSpPr/>
            <p:nvPr/>
          </p:nvSpPr>
          <p:spPr>
            <a:xfrm rot="5400000">
              <a:off x="4821404" y="538224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5" name="object 55">
              <a:extLst>
                <a:ext uri="{FF2B5EF4-FFF2-40B4-BE49-F238E27FC236}">
                  <a16:creationId xmlns:a16="http://schemas.microsoft.com/office/drawing/2014/main" id="{257DF31A-9079-42C6-9BF3-66CDAC5B8142}"/>
                </a:ext>
              </a:extLst>
            </p:cNvPr>
            <p:cNvSpPr/>
            <p:nvPr/>
          </p:nvSpPr>
          <p:spPr>
            <a:xfrm rot="5400000">
              <a:off x="4321637" y="5382251"/>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0E5D0"/>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34" name="Green theme">
            <a:extLst>
              <a:ext uri="{FF2B5EF4-FFF2-40B4-BE49-F238E27FC236}">
                <a16:creationId xmlns:a16="http://schemas.microsoft.com/office/drawing/2014/main" id="{50B35C9F-DD4A-4B7B-8A3F-24EFDC890210}"/>
              </a:ext>
              <a:ext uri="{C183D7F6-B498-43B3-948B-1728B52AA6E4}">
                <adec:decorative xmlns:adec="http://schemas.microsoft.com/office/drawing/2017/decorative" val="1"/>
              </a:ext>
            </a:extLst>
          </p:cNvPr>
          <p:cNvGrpSpPr/>
          <p:nvPr userDrawn="1"/>
        </p:nvGrpSpPr>
        <p:grpSpPr>
          <a:xfrm rot="16200000">
            <a:off x="13375081" y="3495979"/>
            <a:ext cx="1102262" cy="1022311"/>
            <a:chOff x="4187065" y="3335980"/>
            <a:chExt cx="1322714" cy="1226773"/>
          </a:xfrm>
        </p:grpSpPr>
        <p:sp>
          <p:nvSpPr>
            <p:cNvPr id="166" name="object 34">
              <a:extLst>
                <a:ext uri="{FF2B5EF4-FFF2-40B4-BE49-F238E27FC236}">
                  <a16:creationId xmlns:a16="http://schemas.microsoft.com/office/drawing/2014/main" id="{E1F2CC59-09F6-4569-97AD-2890EDF0CE76}"/>
                </a:ext>
              </a:extLst>
            </p:cNvPr>
            <p:cNvSpPr/>
            <p:nvPr/>
          </p:nvSpPr>
          <p:spPr>
            <a:xfrm rot="5400000">
              <a:off x="4348446" y="3686486"/>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107C1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Green</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6 G124 B16</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67" name="object 36">
              <a:extLst>
                <a:ext uri="{FF2B5EF4-FFF2-40B4-BE49-F238E27FC236}">
                  <a16:creationId xmlns:a16="http://schemas.microsoft.com/office/drawing/2014/main" id="{BC74C497-119D-4E50-A405-0A079F1EBB11}"/>
                </a:ext>
              </a:extLst>
            </p:cNvPr>
            <p:cNvSpPr/>
            <p:nvPr/>
          </p:nvSpPr>
          <p:spPr>
            <a:xfrm rot="5400000">
              <a:off x="3836559" y="3686486"/>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54B16"/>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Green</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5 G75 B22</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3" name="object 35">
              <a:extLst>
                <a:ext uri="{FF2B5EF4-FFF2-40B4-BE49-F238E27FC236}">
                  <a16:creationId xmlns:a16="http://schemas.microsoft.com/office/drawing/2014/main" id="{4F51C496-AD90-48D6-8CCB-B003995A475C}"/>
                </a:ext>
              </a:extLst>
            </p:cNvPr>
            <p:cNvSpPr/>
            <p:nvPr/>
          </p:nvSpPr>
          <p:spPr>
            <a:xfrm rot="5400000">
              <a:off x="4746144" y="3799119"/>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9BF00B"/>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Green</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155 G240 B11</a:t>
              </a: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8" name="object 55">
              <a:extLst>
                <a:ext uri="{FF2B5EF4-FFF2-40B4-BE49-F238E27FC236}">
                  <a16:creationId xmlns:a16="http://schemas.microsoft.com/office/drawing/2014/main" id="{41ADEA77-C6E7-42CC-80F8-DAC1F656E2B2}"/>
                </a:ext>
              </a:extLst>
            </p:cNvPr>
            <p:cNvSpPr/>
            <p:nvPr/>
          </p:nvSpPr>
          <p:spPr>
            <a:xfrm rot="5400000">
              <a:off x="4821404" y="416365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sp>
          <p:nvSpPr>
            <p:cNvPr id="194" name="object 55">
              <a:extLst>
                <a:ext uri="{FF2B5EF4-FFF2-40B4-BE49-F238E27FC236}">
                  <a16:creationId xmlns:a16="http://schemas.microsoft.com/office/drawing/2014/main" id="{52118087-22F7-41F4-B905-C481316709E1}"/>
                </a:ext>
              </a:extLst>
            </p:cNvPr>
            <p:cNvSpPr/>
            <p:nvPr/>
          </p:nvSpPr>
          <p:spPr>
            <a:xfrm rot="5400000">
              <a:off x="4321641" y="41636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BF00B"/>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8" name="Yellow theme">
            <a:extLst>
              <a:ext uri="{FF2B5EF4-FFF2-40B4-BE49-F238E27FC236}">
                <a16:creationId xmlns:a16="http://schemas.microsoft.com/office/drawing/2014/main" id="{758D6797-3F1D-4801-84D5-2FE876D7E49B}"/>
              </a:ext>
              <a:ext uri="{C183D7F6-B498-43B3-948B-1728B52AA6E4}">
                <adec:decorative xmlns:adec="http://schemas.microsoft.com/office/drawing/2017/decorative" val="1"/>
              </a:ext>
            </a:extLst>
          </p:cNvPr>
          <p:cNvGrpSpPr/>
          <p:nvPr userDrawn="1"/>
        </p:nvGrpSpPr>
        <p:grpSpPr>
          <a:xfrm rot="16200000">
            <a:off x="13378834" y="2348141"/>
            <a:ext cx="1102263" cy="1022536"/>
            <a:chOff x="4187065" y="2108938"/>
            <a:chExt cx="1322715" cy="1227043"/>
          </a:xfrm>
        </p:grpSpPr>
        <p:sp>
          <p:nvSpPr>
            <p:cNvPr id="127" name="object 54">
              <a:extLst>
                <a:ext uri="{FF2B5EF4-FFF2-40B4-BE49-F238E27FC236}">
                  <a16:creationId xmlns:a16="http://schemas.microsoft.com/office/drawing/2014/main" id="{D73E21B6-2F7B-465A-9665-AC4725562E7C}"/>
                </a:ext>
              </a:extLst>
            </p:cNvPr>
            <p:cNvSpPr/>
            <p:nvPr/>
          </p:nvSpPr>
          <p:spPr>
            <a:xfrm rot="5400000">
              <a:off x="4348446" y="2459445"/>
              <a:ext cx="1226773" cy="525761"/>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FFB90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Segoe UI" charset="0"/>
                  <a:ea typeface="Segoe UI" charset="0"/>
                  <a:cs typeface="Segoe UI" charset="0"/>
                </a:rPr>
                <a:t>Yellow</a:t>
              </a: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255 G185 B0</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28" name="object 56">
              <a:extLst>
                <a:ext uri="{FF2B5EF4-FFF2-40B4-BE49-F238E27FC236}">
                  <a16:creationId xmlns:a16="http://schemas.microsoft.com/office/drawing/2014/main" id="{09B2D568-3BD7-4830-920B-99DA31292A27}"/>
                </a:ext>
              </a:extLst>
            </p:cNvPr>
            <p:cNvSpPr/>
            <p:nvPr/>
          </p:nvSpPr>
          <p:spPr>
            <a:xfrm rot="5400000">
              <a:off x="3836559" y="2459445"/>
              <a:ext cx="1226773" cy="525761"/>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A4B16"/>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white"/>
                  </a:solidFill>
                  <a:effectLst/>
                  <a:uLnTx/>
                  <a:uFillTx/>
                  <a:latin typeface="Segoe UI" charset="0"/>
                  <a:ea typeface="Segoe UI" charset="0"/>
                  <a:cs typeface="Segoe UI" charset="0"/>
                </a:rPr>
                <a:t>Dark Yellow</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106 G75 B22</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2" name="object 55">
              <a:extLst>
                <a:ext uri="{FF2B5EF4-FFF2-40B4-BE49-F238E27FC236}">
                  <a16:creationId xmlns:a16="http://schemas.microsoft.com/office/drawing/2014/main" id="{378DDDAD-2275-476C-B419-E5F9A8B8D05F}"/>
                </a:ext>
              </a:extLst>
            </p:cNvPr>
            <p:cNvSpPr/>
            <p:nvPr/>
          </p:nvSpPr>
          <p:spPr>
            <a:xfrm rot="5400000">
              <a:off x="4746145" y="2572077"/>
              <a:ext cx="1226773" cy="300496"/>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EF000"/>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Yellow</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4 G240 B0</a:t>
              </a:r>
            </a:p>
          </p:txBody>
        </p:sp>
        <p:sp>
          <p:nvSpPr>
            <p:cNvPr id="187" name="object 55">
              <a:extLst>
                <a:ext uri="{FF2B5EF4-FFF2-40B4-BE49-F238E27FC236}">
                  <a16:creationId xmlns:a16="http://schemas.microsoft.com/office/drawing/2014/main" id="{3B164EF3-4519-418E-BE77-81283EB0A5EF}"/>
                </a:ext>
              </a:extLst>
            </p:cNvPr>
            <p:cNvSpPr/>
            <p:nvPr/>
          </p:nvSpPr>
          <p:spPr>
            <a:xfrm rot="5400000">
              <a:off x="4819443" y="2937155"/>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3" name="object 55">
              <a:extLst>
                <a:ext uri="{FF2B5EF4-FFF2-40B4-BE49-F238E27FC236}">
                  <a16:creationId xmlns:a16="http://schemas.microsoft.com/office/drawing/2014/main" id="{2A614499-27D7-4F2A-9584-BB6F662A466B}"/>
                </a:ext>
              </a:extLst>
            </p:cNvPr>
            <p:cNvSpPr/>
            <p:nvPr/>
          </p:nvSpPr>
          <p:spPr>
            <a:xfrm rot="5400000">
              <a:off x="4319681" y="2937155"/>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EF000"/>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grpSp>
      <p:grpSp>
        <p:nvGrpSpPr>
          <p:cNvPr id="6" name="Orange theme">
            <a:extLst>
              <a:ext uri="{FF2B5EF4-FFF2-40B4-BE49-F238E27FC236}">
                <a16:creationId xmlns:a16="http://schemas.microsoft.com/office/drawing/2014/main" id="{454FCBEE-41DD-4195-8892-8B4F253AAE40}"/>
              </a:ext>
              <a:ext uri="{C183D7F6-B498-43B3-948B-1728B52AA6E4}">
                <adec:decorative xmlns:adec="http://schemas.microsoft.com/office/drawing/2017/decorative" val="1"/>
              </a:ext>
            </a:extLst>
          </p:cNvPr>
          <p:cNvGrpSpPr/>
          <p:nvPr userDrawn="1"/>
        </p:nvGrpSpPr>
        <p:grpSpPr>
          <a:xfrm rot="16200000">
            <a:off x="13377135" y="1194316"/>
            <a:ext cx="1102264" cy="1025934"/>
            <a:chOff x="4187065" y="882165"/>
            <a:chExt cx="1322717" cy="1231121"/>
          </a:xfrm>
        </p:grpSpPr>
        <p:sp>
          <p:nvSpPr>
            <p:cNvPr id="121" name="object 54">
              <a:extLst>
                <a:ext uri="{FF2B5EF4-FFF2-40B4-BE49-F238E27FC236}">
                  <a16:creationId xmlns:a16="http://schemas.microsoft.com/office/drawing/2014/main" id="{0B5055CD-63A0-4C46-808A-35153C98011A}"/>
                </a:ext>
              </a:extLst>
            </p:cNvPr>
            <p:cNvSpPr/>
            <p:nvPr/>
          </p:nvSpPr>
          <p:spPr>
            <a:xfrm rot="5400000">
              <a:off x="4348446" y="1232672"/>
              <a:ext cx="1226773" cy="525761"/>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D83B01"/>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Orang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216 G59 B1</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2" name="object 56">
              <a:extLst>
                <a:ext uri="{FF2B5EF4-FFF2-40B4-BE49-F238E27FC236}">
                  <a16:creationId xmlns:a16="http://schemas.microsoft.com/office/drawing/2014/main" id="{7F4A1B70-54EF-4FE3-9943-B44B1F433142}"/>
                </a:ext>
              </a:extLst>
            </p:cNvPr>
            <p:cNvSpPr/>
            <p:nvPr/>
          </p:nvSpPr>
          <p:spPr>
            <a:xfrm rot="5400000">
              <a:off x="3836559" y="1232672"/>
              <a:ext cx="1226773" cy="525761"/>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B2929"/>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Orang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07 G41 B41</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0" name="object 55">
              <a:extLst>
                <a:ext uri="{FF2B5EF4-FFF2-40B4-BE49-F238E27FC236}">
                  <a16:creationId xmlns:a16="http://schemas.microsoft.com/office/drawing/2014/main" id="{3408E7E9-7FEF-4049-9730-B421DFFEE6C0}"/>
                </a:ext>
              </a:extLst>
            </p:cNvPr>
            <p:cNvSpPr/>
            <p:nvPr/>
          </p:nvSpPr>
          <p:spPr>
            <a:xfrm rot="5400000">
              <a:off x="4746147" y="1345304"/>
              <a:ext cx="1226773" cy="300496"/>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F9349"/>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Orang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5 G147 B73</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1F"/>
                </a:solidFill>
                <a:effectLst/>
                <a:uLnTx/>
                <a:uFillTx/>
                <a:latin typeface="Segoe UI" panose="020B0502040204020203" pitchFamily="34" charset="0"/>
                <a:ea typeface="+mn-ea"/>
                <a:cs typeface="Segoe UI" panose="020B0502040204020203" pitchFamily="34" charset="0"/>
              </a:endParaRPr>
            </a:p>
          </p:txBody>
        </p:sp>
        <p:sp>
          <p:nvSpPr>
            <p:cNvPr id="186" name="object 55">
              <a:extLst>
                <a:ext uri="{FF2B5EF4-FFF2-40B4-BE49-F238E27FC236}">
                  <a16:creationId xmlns:a16="http://schemas.microsoft.com/office/drawing/2014/main" id="{679B9043-8051-408C-A01A-9C0959F081CC}"/>
                </a:ext>
              </a:extLst>
            </p:cNvPr>
            <p:cNvSpPr/>
            <p:nvPr/>
          </p:nvSpPr>
          <p:spPr>
            <a:xfrm rot="5400000">
              <a:off x="4821404" y="17144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2" name="object 55">
              <a:extLst>
                <a:ext uri="{FF2B5EF4-FFF2-40B4-BE49-F238E27FC236}">
                  <a16:creationId xmlns:a16="http://schemas.microsoft.com/office/drawing/2014/main" id="{E7421694-F06B-445B-BCB9-6BC9F691168A}"/>
                </a:ext>
              </a:extLst>
            </p:cNvPr>
            <p:cNvSpPr/>
            <p:nvPr/>
          </p:nvSpPr>
          <p:spPr>
            <a:xfrm rot="5400000">
              <a:off x="4321643" y="17144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9349"/>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grpSp>
      <p:sp>
        <p:nvSpPr>
          <p:cNvPr id="86" name="Other colors title">
            <a:extLst>
              <a:ext uri="{FF2B5EF4-FFF2-40B4-BE49-F238E27FC236}">
                <a16:creationId xmlns:a16="http://schemas.microsoft.com/office/drawing/2014/main" id="{DD114070-12CB-4F99-A811-02094A4AA79F}"/>
              </a:ext>
              <a:ext uri="{C183D7F6-B498-43B3-948B-1728B52AA6E4}">
                <adec:decorative xmlns:adec="http://schemas.microsoft.com/office/drawing/2017/decorative" val="1"/>
              </a:ext>
            </a:extLst>
          </p:cNvPr>
          <p:cNvSpPr txBox="1"/>
          <p:nvPr userDrawn="1"/>
        </p:nvSpPr>
        <p:spPr>
          <a:xfrm>
            <a:off x="13411532" y="937712"/>
            <a:ext cx="597921" cy="128177"/>
          </a:xfrm>
          <a:prstGeom prst="rect">
            <a:avLst/>
          </a:prstGeom>
          <a:noFill/>
        </p:spPr>
        <p:txBody>
          <a:bodyPr wrap="none" lIns="0" tIns="0" rIns="0" bIns="0" rtlCol="0">
            <a:spAutoFit/>
          </a:bodyPr>
          <a:lstStyle/>
          <a:p>
            <a:pPr algn="l"/>
            <a:r>
              <a:rPr lang="en-US" sz="833" dirty="0">
                <a:solidFill>
                  <a:srgbClr val="505050"/>
                </a:solidFill>
                <a:latin typeface="+mj-lt"/>
              </a:rPr>
              <a:t>Other colors</a:t>
            </a:r>
          </a:p>
        </p:txBody>
      </p:sp>
      <p:grpSp>
        <p:nvGrpSpPr>
          <p:cNvPr id="4" name="Blue theme">
            <a:extLst>
              <a:ext uri="{FF2B5EF4-FFF2-40B4-BE49-F238E27FC236}">
                <a16:creationId xmlns:a16="http://schemas.microsoft.com/office/drawing/2014/main" id="{884758BB-E952-46B2-BA4B-D521D186394F}"/>
              </a:ext>
              <a:ext uri="{C183D7F6-B498-43B3-948B-1728B52AA6E4}">
                <adec:decorative xmlns:adec="http://schemas.microsoft.com/office/drawing/2017/decorative" val="1"/>
              </a:ext>
            </a:extLst>
          </p:cNvPr>
          <p:cNvGrpSpPr/>
          <p:nvPr userDrawn="1"/>
        </p:nvGrpSpPr>
        <p:grpSpPr>
          <a:xfrm rot="16200000">
            <a:off x="12371405" y="1073965"/>
            <a:ext cx="864707" cy="1026177"/>
            <a:chOff x="9966767" y="5780133"/>
            <a:chExt cx="1037648" cy="1231412"/>
          </a:xfrm>
        </p:grpSpPr>
        <p:sp>
          <p:nvSpPr>
            <p:cNvPr id="136" name="object 74">
              <a:extLst>
                <a:ext uri="{FF2B5EF4-FFF2-40B4-BE49-F238E27FC236}">
                  <a16:creationId xmlns:a16="http://schemas.microsoft.com/office/drawing/2014/main" id="{BB1D77C9-A72E-484C-854B-3DB2D32179A2}"/>
                </a:ext>
              </a:extLst>
            </p:cNvPr>
            <p:cNvSpPr/>
            <p:nvPr/>
          </p:nvSpPr>
          <p:spPr>
            <a:xfrm rot="5400000">
              <a:off x="10128148" y="6130639"/>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78D4"/>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Blu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120 B212</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37" name="object 76">
              <a:extLst>
                <a:ext uri="{FF2B5EF4-FFF2-40B4-BE49-F238E27FC236}">
                  <a16:creationId xmlns:a16="http://schemas.microsoft.com/office/drawing/2014/main" id="{9DD29805-3323-2A40-A080-D50CFC0F4B0A}"/>
                </a:ext>
              </a:extLst>
            </p:cNvPr>
            <p:cNvSpPr/>
            <p:nvPr/>
          </p:nvSpPr>
          <p:spPr>
            <a:xfrm rot="5400000">
              <a:off x="9616261" y="6130639"/>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43A5E"/>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36 G58 B94</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58" name="object 55">
              <a:extLst>
                <a:ext uri="{FF2B5EF4-FFF2-40B4-BE49-F238E27FC236}">
                  <a16:creationId xmlns:a16="http://schemas.microsoft.com/office/drawing/2014/main" id="{1C7434C3-2945-7642-A4D7-504034AF5F7E}"/>
                </a:ext>
              </a:extLst>
            </p:cNvPr>
            <p:cNvSpPr/>
            <p:nvPr/>
          </p:nvSpPr>
          <p:spPr>
            <a:xfrm rot="5400000">
              <a:off x="10601106" y="661271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64" name="object 55">
              <a:extLst>
                <a:ext uri="{FF2B5EF4-FFF2-40B4-BE49-F238E27FC236}">
                  <a16:creationId xmlns:a16="http://schemas.microsoft.com/office/drawing/2014/main" id="{73069635-C835-DE45-BA52-F9A3717FD4BC}"/>
                </a:ext>
              </a:extLst>
            </p:cNvPr>
            <p:cNvSpPr/>
            <p:nvPr/>
          </p:nvSpPr>
          <p:spPr>
            <a:xfrm rot="5400000">
              <a:off x="10101343" y="661271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sp>
        <p:nvSpPr>
          <p:cNvPr id="38" name="Primary colors title">
            <a:extLst>
              <a:ext uri="{FF2B5EF4-FFF2-40B4-BE49-F238E27FC236}">
                <a16:creationId xmlns:a16="http://schemas.microsoft.com/office/drawing/2014/main" id="{F7BB1FE4-8B6E-43B4-BB51-6B23ABCBBC3D}"/>
              </a:ext>
              <a:ext uri="{C183D7F6-B498-43B3-948B-1728B52AA6E4}">
                <adec:decorative xmlns:adec="http://schemas.microsoft.com/office/drawing/2017/decorative" val="1"/>
              </a:ext>
            </a:extLst>
          </p:cNvPr>
          <p:cNvSpPr txBox="1"/>
          <p:nvPr userDrawn="1"/>
        </p:nvSpPr>
        <p:spPr>
          <a:xfrm>
            <a:off x="12290671" y="939620"/>
            <a:ext cx="660437" cy="128177"/>
          </a:xfrm>
          <a:prstGeom prst="rect">
            <a:avLst/>
          </a:prstGeom>
          <a:noFill/>
        </p:spPr>
        <p:txBody>
          <a:bodyPr wrap="none" lIns="0" tIns="0" rIns="0" bIns="0" rtlCol="0">
            <a:spAutoFit/>
          </a:bodyPr>
          <a:lstStyle/>
          <a:p>
            <a:pPr algn="l"/>
            <a:r>
              <a:rPr lang="en-US" sz="833" dirty="0">
                <a:solidFill>
                  <a:srgbClr val="505050"/>
                </a:solidFill>
                <a:latin typeface="+mj-lt"/>
              </a:rPr>
              <a:t>Primary blues</a:t>
            </a:r>
          </a:p>
        </p:txBody>
      </p:sp>
      <p:sp>
        <p:nvSpPr>
          <p:cNvPr id="89" name="object 75">
            <a:extLst>
              <a:ext uri="{FF2B5EF4-FFF2-40B4-BE49-F238E27FC236}">
                <a16:creationId xmlns:a16="http://schemas.microsoft.com/office/drawing/2014/main" id="{E7372636-0853-48AD-BBD9-989CCD8E3A55}"/>
              </a:ext>
            </a:extLst>
          </p:cNvPr>
          <p:cNvSpPr/>
          <p:nvPr userDrawn="1"/>
        </p:nvSpPr>
        <p:spPr>
          <a:xfrm>
            <a:off x="12287388" y="2409254"/>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50E6FF"/>
          </a:solidFill>
        </p:spPr>
        <p:txBody>
          <a:bodyPr wrap="none" lIns="38100" tIns="22860" rIns="38100" bIns="22860"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80 G230 B255</a:t>
            </a:r>
          </a:p>
        </p:txBody>
      </p:sp>
      <p:sp>
        <p:nvSpPr>
          <p:cNvPr id="90" name="Primary colors title">
            <a:extLst>
              <a:ext uri="{FF2B5EF4-FFF2-40B4-BE49-F238E27FC236}">
                <a16:creationId xmlns:a16="http://schemas.microsoft.com/office/drawing/2014/main" id="{986CA423-A626-45BC-B619-4C0EA5DD47BA}"/>
              </a:ext>
              <a:ext uri="{C183D7F6-B498-43B3-948B-1728B52AA6E4}">
                <adec:decorative xmlns:adec="http://schemas.microsoft.com/office/drawing/2017/decorative" val="1"/>
              </a:ext>
            </a:extLst>
          </p:cNvPr>
          <p:cNvSpPr txBox="1"/>
          <p:nvPr userDrawn="1"/>
        </p:nvSpPr>
        <p:spPr>
          <a:xfrm>
            <a:off x="12290670" y="2180039"/>
            <a:ext cx="613951" cy="128177"/>
          </a:xfrm>
          <a:prstGeom prst="rect">
            <a:avLst/>
          </a:prstGeom>
          <a:noFill/>
        </p:spPr>
        <p:txBody>
          <a:bodyPr wrap="none" lIns="0" tIns="0" rIns="0" bIns="0" rtlCol="0">
            <a:spAutoFit/>
          </a:bodyPr>
          <a:lstStyle/>
          <a:p>
            <a:pPr algn="l"/>
            <a:r>
              <a:rPr lang="en-US" sz="833" dirty="0">
                <a:solidFill>
                  <a:srgbClr val="505050"/>
                </a:solidFill>
                <a:latin typeface="+mj-lt"/>
              </a:rPr>
              <a:t>Accent blues</a:t>
            </a:r>
          </a:p>
        </p:txBody>
      </p:sp>
      <p:sp>
        <p:nvSpPr>
          <p:cNvPr id="91" name="object 75">
            <a:extLst>
              <a:ext uri="{FF2B5EF4-FFF2-40B4-BE49-F238E27FC236}">
                <a16:creationId xmlns:a16="http://schemas.microsoft.com/office/drawing/2014/main" id="{1EACEB21-A70A-4C30-AF4F-8C5789CD6D03}"/>
              </a:ext>
            </a:extLst>
          </p:cNvPr>
          <p:cNvSpPr/>
          <p:nvPr userDrawn="1"/>
        </p:nvSpPr>
        <p:spPr>
          <a:xfrm>
            <a:off x="12287735" y="2662438"/>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C59A4"/>
          </a:solidFill>
        </p:spPr>
        <p:txBody>
          <a:bodyPr wrap="none" lIns="38100" tIns="22860" rIns="38100" bIns="22860"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Segoe UI" charset="0"/>
                <a:ea typeface="Segoe UI" charset="0"/>
                <a:cs typeface="Segoe UI" charset="0"/>
              </a:rPr>
              <a:t>Sea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R12 G89 B164</a:t>
            </a:r>
          </a:p>
        </p:txBody>
      </p:sp>
    </p:spTree>
    <p:extLst>
      <p:ext uri="{BB962C8B-B14F-4D97-AF65-F5344CB8AC3E}">
        <p14:creationId xmlns:p14="http://schemas.microsoft.com/office/powerpoint/2010/main" val="3290201474"/>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Lst>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62">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Black, white and grays">
            <a:extLst>
              <a:ext uri="{FF2B5EF4-FFF2-40B4-BE49-F238E27FC236}">
                <a16:creationId xmlns:a16="http://schemas.microsoft.com/office/drawing/2014/main" id="{7A01D5E4-0370-4DB3-ABE5-512F4205104F}"/>
              </a:ext>
              <a:ext uri="{C183D7F6-B498-43B3-948B-1728B52AA6E4}">
                <adec:decorative xmlns:adec="http://schemas.microsoft.com/office/drawing/2017/decorative" val="1"/>
              </a:ext>
            </a:extLst>
          </p:cNvPr>
          <p:cNvGrpSpPr/>
          <p:nvPr userDrawn="1"/>
        </p:nvGrpSpPr>
        <p:grpSpPr>
          <a:xfrm>
            <a:off x="6061662" y="6962016"/>
            <a:ext cx="6127290" cy="707383"/>
            <a:chOff x="3079386" y="2596661"/>
            <a:chExt cx="7352748" cy="848860"/>
          </a:xfrm>
        </p:grpSpPr>
        <p:grpSp>
          <p:nvGrpSpPr>
            <p:cNvPr id="2" name="Groupe 1">
              <a:extLst>
                <a:ext uri="{FF2B5EF4-FFF2-40B4-BE49-F238E27FC236}">
                  <a16:creationId xmlns:a16="http://schemas.microsoft.com/office/drawing/2014/main" id="{A3380582-0850-44FB-9921-CE1A63A57A5E}"/>
                </a:ext>
              </a:extLst>
            </p:cNvPr>
            <p:cNvGrpSpPr/>
            <p:nvPr userDrawn="1"/>
          </p:nvGrpSpPr>
          <p:grpSpPr>
            <a:xfrm rot="16200000">
              <a:off x="6550623" y="-435989"/>
              <a:ext cx="410273" cy="7352748"/>
              <a:chOff x="9487019" y="876852"/>
              <a:chExt cx="410273" cy="7352748"/>
            </a:xfrm>
          </p:grpSpPr>
          <p:sp>
            <p:nvSpPr>
              <p:cNvPr id="146" name="object 16">
                <a:extLst>
                  <a:ext uri="{FF2B5EF4-FFF2-40B4-BE49-F238E27FC236}">
                    <a16:creationId xmlns:a16="http://schemas.microsoft.com/office/drawing/2014/main" id="{859C6F1E-967F-394E-B787-8539C10BC369}"/>
                  </a:ext>
                </a:extLst>
              </p:cNvPr>
              <p:cNvSpPr txBox="1"/>
              <p:nvPr/>
            </p:nvSpPr>
            <p:spPr>
              <a:xfrm rot="5400000">
                <a:off x="9078769" y="7411078"/>
                <a:ext cx="1226773" cy="410272"/>
              </a:xfrm>
              <a:prstGeom prst="rect">
                <a:avLst/>
              </a:prstGeom>
              <a:solidFill>
                <a:srgbClr val="F2F2F2"/>
              </a:solidFill>
              <a:ln w="6350">
                <a:solidFill>
                  <a:srgbClr val="E6E6E6"/>
                </a:solidFill>
              </a:ln>
            </p:spPr>
            <p:txBody>
              <a:bodyPr vert="horz" wrap="none" lIns="45720" tIns="27432" rIns="45720" bIns="27432" rtlCol="0" anchor="t" anchorCtr="0">
                <a:norm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mn-ea"/>
                    <a:cs typeface="Segoe UI" charset="0"/>
                  </a:rPr>
                  <a:t>Extra Light Gray</a:t>
                </a:r>
                <a:endParaRPr kumimoji="0" lang="cs-CZ" sz="700" b="1" i="0" u="none" strike="noStrike" kern="1200" cap="none" spc="0" normalizeH="0" baseline="0" noProof="0" dirty="0">
                  <a:ln>
                    <a:noFill/>
                  </a:ln>
                  <a:solidFill>
                    <a:srgbClr val="000000"/>
                  </a:solidFill>
                  <a:effectLst/>
                  <a:uLnTx/>
                  <a:uFillTx/>
                  <a:latin typeface="Segoe UI" charset="0"/>
                  <a:ea typeface="+mn-ea"/>
                  <a:cs typeface="Segoe UI" charset="0"/>
                </a:endParaRPr>
              </a:p>
              <a:p>
                <a:pPr marL="0"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R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 G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r>
                  <a:rPr kumimoji="0" lang="cs-CZ" sz="700" b="0" i="0" u="none" strike="noStrike" kern="1200" cap="none" spc="0" normalizeH="0" baseline="0" noProof="0" dirty="0">
                    <a:ln>
                      <a:noFill/>
                    </a:ln>
                    <a:solidFill>
                      <a:srgbClr val="000000"/>
                    </a:solidFill>
                    <a:effectLst/>
                    <a:uLnTx/>
                    <a:uFillTx/>
                    <a:latin typeface="Segoe UI" charset="0"/>
                    <a:ea typeface="+mn-ea"/>
                    <a:cs typeface="Segoe UI" charset="0"/>
                  </a:rPr>
                  <a:t> B2</a:t>
                </a:r>
                <a:r>
                  <a:rPr kumimoji="0" lang="en-US" sz="700" b="0" i="0" u="none" strike="noStrike" kern="1200" cap="none" spc="0" normalizeH="0" baseline="0" noProof="0" dirty="0">
                    <a:ln>
                      <a:noFill/>
                    </a:ln>
                    <a:solidFill>
                      <a:srgbClr val="000000"/>
                    </a:solidFill>
                    <a:effectLst/>
                    <a:uLnTx/>
                    <a:uFillTx/>
                    <a:latin typeface="Segoe UI" charset="0"/>
                    <a:ea typeface="+mn-ea"/>
                    <a:cs typeface="Segoe UI" charset="0"/>
                  </a:rPr>
                  <a:t>42</a:t>
                </a: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4" name="object 15">
                <a:extLst>
                  <a:ext uri="{FF2B5EF4-FFF2-40B4-BE49-F238E27FC236}">
                    <a16:creationId xmlns:a16="http://schemas.microsoft.com/office/drawing/2014/main" id="{1D395897-A51E-C54D-9D1D-38873B0F3F1A}"/>
                  </a:ext>
                </a:extLst>
              </p:cNvPr>
              <p:cNvSpPr txBox="1"/>
              <p:nvPr/>
            </p:nvSpPr>
            <p:spPr>
              <a:xfrm rot="5400000">
                <a:off x="9078769" y="6188384"/>
                <a:ext cx="1226773" cy="410272"/>
              </a:xfrm>
              <a:prstGeom prst="rect">
                <a:avLst/>
              </a:prstGeom>
              <a:solidFill>
                <a:srgbClr val="E6E6E6"/>
              </a:solidFill>
              <a:ln w="3175">
                <a:noFill/>
              </a:ln>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Light</a:t>
                </a:r>
                <a:r>
                  <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rPr>
                  <a:t> </a:t>
                </a: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Gray</a:t>
                </a: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30 G230 B230</a:t>
                </a:r>
                <a:b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5" name="object 14">
                <a:extLst>
                  <a:ext uri="{FF2B5EF4-FFF2-40B4-BE49-F238E27FC236}">
                    <a16:creationId xmlns:a16="http://schemas.microsoft.com/office/drawing/2014/main" id="{10EA571D-902C-8547-BEFA-966221F0F224}"/>
                  </a:ext>
                </a:extLst>
              </p:cNvPr>
              <p:cNvSpPr txBox="1"/>
              <p:nvPr/>
            </p:nvSpPr>
            <p:spPr>
              <a:xfrm rot="5400000">
                <a:off x="9078769" y="4961612"/>
                <a:ext cx="1226773" cy="410272"/>
              </a:xfrm>
              <a:prstGeom prst="rect">
                <a:avLst/>
              </a:prstGeom>
              <a:solidFill>
                <a:srgbClr val="D2D2D2"/>
              </a:solidFill>
              <a:ln w="6350">
                <a:noFill/>
              </a:ln>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err="1">
                    <a:ln>
                      <a:noFill/>
                    </a:ln>
                    <a:solidFill>
                      <a:srgbClr val="000000"/>
                    </a:solidFill>
                    <a:effectLst/>
                    <a:uLnTx/>
                    <a:uFillTx/>
                    <a:latin typeface="Segoe UI" charset="0"/>
                    <a:ea typeface="Segoe UI" charset="0"/>
                    <a:cs typeface="Segoe UI" charset="0"/>
                  </a:rPr>
                  <a:t>Gray</a:t>
                </a:r>
                <a:endPar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10 G210 B210</a:t>
                </a:r>
                <a:b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3" name="object 19">
                <a:extLst>
                  <a:ext uri="{FF2B5EF4-FFF2-40B4-BE49-F238E27FC236}">
                    <a16:creationId xmlns:a16="http://schemas.microsoft.com/office/drawing/2014/main" id="{E4A4C58D-6B40-8F40-A8F2-6546F6C99A49}"/>
                  </a:ext>
                </a:extLst>
              </p:cNvPr>
              <p:cNvSpPr txBox="1"/>
              <p:nvPr/>
            </p:nvSpPr>
            <p:spPr>
              <a:xfrm rot="5400000">
                <a:off x="9078768" y="3738918"/>
                <a:ext cx="1226773" cy="410272"/>
              </a:xfrm>
              <a:prstGeom prst="rect">
                <a:avLst/>
              </a:prstGeom>
              <a:solidFill>
                <a:srgbClr val="737373"/>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Mid 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 </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15 G115 B115</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2" name="object 22">
                <a:extLst>
                  <a:ext uri="{FF2B5EF4-FFF2-40B4-BE49-F238E27FC236}">
                    <a16:creationId xmlns:a16="http://schemas.microsoft.com/office/drawing/2014/main" id="{5141FD8F-F7DE-2A45-9E44-1ECEFD28CF8E}"/>
                  </a:ext>
                </a:extLst>
              </p:cNvPr>
              <p:cNvSpPr txBox="1"/>
              <p:nvPr/>
            </p:nvSpPr>
            <p:spPr>
              <a:xfrm rot="5400000">
                <a:off x="9078768" y="2511876"/>
                <a:ext cx="1226773" cy="410272"/>
              </a:xfrm>
              <a:prstGeom prst="rect">
                <a:avLst/>
              </a:prstGeom>
              <a:solidFill>
                <a:srgbClr val="505050"/>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a:t>
                </a: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G</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B</a:t>
                </a:r>
                <a:r>
                  <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7" name="object 22">
                <a:extLst>
                  <a:ext uri="{FF2B5EF4-FFF2-40B4-BE49-F238E27FC236}">
                    <a16:creationId xmlns:a16="http://schemas.microsoft.com/office/drawing/2014/main" id="{66BF1245-79F6-BB46-8211-1F6CFF8FC909}"/>
                  </a:ext>
                </a:extLst>
              </p:cNvPr>
              <p:cNvSpPr txBox="1"/>
              <p:nvPr/>
            </p:nvSpPr>
            <p:spPr>
              <a:xfrm rot="5400000">
                <a:off x="9078768" y="1285103"/>
                <a:ext cx="1226773" cy="410272"/>
              </a:xfrm>
              <a:prstGeom prst="rect">
                <a:avLst/>
              </a:prstGeom>
              <a:solidFill>
                <a:srgbClr val="2F2F2F"/>
              </a:solidFill>
            </p:spPr>
            <p:txBody>
              <a:bodyPr vert="horz" wrap="none" lIns="0" tIns="27432" rIns="45720" bIns="27432" rtlCol="0">
                <a:normAutofit fontScale="92500"/>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Extra </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t>
                </a:r>
                <a:r>
                  <a:rPr kumimoji="0" lang="en-US"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ar</a:t>
                </a:r>
                <a:r>
                  <a:rPr kumimoji="0" lang="mr-IN" sz="700" b="1" i="0" u="none" strike="noStrike" kern="1200" cap="none" spc="0" normalizeH="0" baseline="0" noProof="0" dirty="0">
                    <a:ln>
                      <a:noFill/>
                    </a:ln>
                    <a:solidFill>
                      <a:srgbClr val="FFFFFF"/>
                    </a:solidFill>
                    <a:effectLst/>
                    <a:uLnTx/>
                    <a:uFillTx/>
                    <a:latin typeface="Segoe UI" charset="0"/>
                    <a:ea typeface="Segoe UI" charset="0"/>
                    <a:cs typeface="Segoe UI" charset="0"/>
                  </a:rPr>
                  <a:t>k</a:t>
                </a: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 G</a:t>
                </a:r>
                <a:r>
                  <a:rPr kumimoji="0" lang="mr-IN" sz="700" b="1" i="0" u="none" strike="noStrike" kern="1200" cap="none" spc="0" normalizeH="0" baseline="0" noProof="0" dirty="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47 G47 B47</a:t>
                </a:r>
                <a:b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sp>
          <p:nvSpPr>
            <p:cNvPr id="141" name="object 16">
              <a:extLst>
                <a:ext uri="{FF2B5EF4-FFF2-40B4-BE49-F238E27FC236}">
                  <a16:creationId xmlns:a16="http://schemas.microsoft.com/office/drawing/2014/main" id="{3D52AE5F-974A-2943-811F-380C61D7923A}"/>
                </a:ext>
              </a:extLst>
            </p:cNvPr>
            <p:cNvSpPr txBox="1"/>
            <p:nvPr/>
          </p:nvSpPr>
          <p:spPr>
            <a:xfrm>
              <a:off x="6755896" y="2596661"/>
              <a:ext cx="3676238" cy="438133"/>
            </a:xfrm>
            <a:prstGeom prst="rect">
              <a:avLst/>
            </a:prstGeom>
            <a:solidFill>
              <a:srgbClr val="FFFFFF"/>
            </a:solidFill>
            <a:ln w="6350">
              <a:solidFill>
                <a:schemeClr val="bg1">
                  <a:lumMod val="85000"/>
                </a:schemeClr>
              </a:solidFill>
            </a:ln>
          </p:spPr>
          <p:txBody>
            <a:bodyPr vert="horz" wrap="none" lIns="0" tIns="27432" rIns="45720" bIns="27432" rtlCol="0" anchor="t" anchorCtr="0">
              <a:normAutofit/>
            </a:bodyPr>
            <a:lstStyle/>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1" i="0" u="none" strike="noStrike" kern="1200" cap="none" spc="0" normalizeH="0" baseline="0" noProof="0" dirty="0">
                  <a:ln>
                    <a:noFill/>
                  </a:ln>
                  <a:solidFill>
                    <a:srgbClr val="000000"/>
                  </a:solidFill>
                  <a:effectLst/>
                  <a:uLnTx/>
                  <a:uFillTx/>
                  <a:latin typeface="Segoe UI" charset="0"/>
                  <a:ea typeface="Segoe UI" charset="0"/>
                  <a:cs typeface="Segoe UI" charset="0"/>
                </a:rPr>
                <a:t>White</a:t>
              </a:r>
              <a:endPar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r>
                <a:rPr kumimoji="0" lang="cs-CZ"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5 G255 B255</a:t>
              </a: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0" name="object 25">
              <a:extLst>
                <a:ext uri="{FF2B5EF4-FFF2-40B4-BE49-F238E27FC236}">
                  <a16:creationId xmlns:a16="http://schemas.microsoft.com/office/drawing/2014/main" id="{63D91D28-976A-054E-9200-E5B8F287AA2E}"/>
                </a:ext>
              </a:extLst>
            </p:cNvPr>
            <p:cNvSpPr txBox="1"/>
            <p:nvPr/>
          </p:nvSpPr>
          <p:spPr>
            <a:xfrm>
              <a:off x="3079387" y="2597115"/>
              <a:ext cx="3693962" cy="438133"/>
            </a:xfrm>
            <a:prstGeom prst="rect">
              <a:avLst/>
            </a:prstGeom>
            <a:solidFill>
              <a:srgbClr val="000000"/>
            </a:solidFill>
          </p:spPr>
          <p:txBody>
            <a:bodyPr vert="horz" wrap="none" lIns="0" tIns="27432" rIns="45720" bIns="27432" rtlCol="0">
              <a:noAutofit/>
            </a:bodyPr>
            <a:lstStyle/>
            <a:p>
              <a:pPr marL="88892" marR="0" lvl="0" indent="0" algn="l" defTabSz="761940" rtl="0" eaLnBrk="1" fontAlgn="auto" latinLnBrk="0" hangingPunct="1">
                <a:lnSpc>
                  <a:spcPct val="11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Rich Black</a:t>
              </a:r>
              <a:endParaRPr kumimoji="0" lang="mr-IN"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1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0 B0</a:t>
              </a:r>
            </a:p>
            <a:p>
              <a:pPr marL="88892" marR="0" lvl="0" indent="0" algn="l" defTabSz="761940" rtl="0" eaLnBrk="1" fontAlgn="auto" latinLnBrk="0" hangingPunct="1">
                <a:lnSpc>
                  <a:spcPct val="11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88892" marR="0" lvl="0" indent="0" algn="l" defTabSz="761940" rtl="0" eaLnBrk="1" fontAlgn="auto" latinLnBrk="0" hangingPunct="1">
                <a:lnSpc>
                  <a:spcPct val="110000"/>
                </a:lnSpc>
                <a:spcBef>
                  <a:spcPts val="0"/>
                </a:spcBef>
                <a:spcAft>
                  <a:spcPts val="0"/>
                </a:spcAft>
                <a:buClrTx/>
                <a:buSzTx/>
                <a:buFontTx/>
                <a:buNone/>
                <a:tabLst/>
                <a:defRPr/>
              </a:pPr>
              <a:br>
                <a:rPr kumimoji="0" lang="en-US" sz="700" b="0" i="0" u="none" strike="noStrike" kern="1200" cap="none" spc="0" normalizeH="0" baseline="0" noProof="0" dirty="0">
                  <a:ln>
                    <a:noFill/>
                  </a:ln>
                  <a:solidFill>
                    <a:srgbClr val="FFFFFF"/>
                  </a:solidFill>
                  <a:effectLst/>
                  <a:highlight>
                    <a:srgbClr val="FF0000"/>
                  </a:highlight>
                  <a:uLnTx/>
                  <a:uFillTx/>
                  <a:latin typeface="Segoe UI" panose="020B0502040204020203" pitchFamily="34" charset="0"/>
                  <a:ea typeface="+mn-ea"/>
                  <a:cs typeface="Segoe UI" panose="020B0502040204020203" pitchFamily="34" charset="0"/>
                </a:rPr>
              </a:br>
              <a:endParaRPr kumimoji="0" lang="mr-IN" sz="700" b="0" i="0" u="none" strike="noStrike" kern="1200" cap="none" spc="0" normalizeH="0" baseline="0" noProof="0" dirty="0">
                <a:ln>
                  <a:noFill/>
                </a:ln>
                <a:solidFill>
                  <a:prstClr val="black"/>
                </a:solidFill>
                <a:effectLst/>
                <a:highlight>
                  <a:srgbClr val="FF0000"/>
                </a:highlight>
                <a:uLnTx/>
                <a:uFillTx/>
                <a:latin typeface="Segoe UI" panose="020B0502040204020203" pitchFamily="34" charset="0"/>
                <a:ea typeface="+mn-ea"/>
                <a:cs typeface="Segoe UI" panose="020B0502040204020203" pitchFamily="34" charset="0"/>
              </a:endParaRPr>
            </a:p>
          </p:txBody>
        </p:sp>
      </p:grpSp>
      <p:grpSp>
        <p:nvGrpSpPr>
          <p:cNvPr id="37" name="Purple theme">
            <a:extLst>
              <a:ext uri="{FF2B5EF4-FFF2-40B4-BE49-F238E27FC236}">
                <a16:creationId xmlns:a16="http://schemas.microsoft.com/office/drawing/2014/main" id="{792F544B-12A2-448A-8B83-A569B40D6C54}"/>
              </a:ext>
              <a:ext uri="{C183D7F6-B498-43B3-948B-1728B52AA6E4}">
                <adec:decorative xmlns:adec="http://schemas.microsoft.com/office/drawing/2017/decorative" val="1"/>
              </a:ext>
            </a:extLst>
          </p:cNvPr>
          <p:cNvGrpSpPr/>
          <p:nvPr userDrawn="1"/>
        </p:nvGrpSpPr>
        <p:grpSpPr>
          <a:xfrm rot="16200000">
            <a:off x="13371677" y="5795709"/>
            <a:ext cx="1102263" cy="1022319"/>
            <a:chOff x="4187065" y="7008141"/>
            <a:chExt cx="1322716" cy="1226783"/>
          </a:xfrm>
        </p:grpSpPr>
        <p:sp>
          <p:nvSpPr>
            <p:cNvPr id="123" name="object 94">
              <a:extLst>
                <a:ext uri="{FF2B5EF4-FFF2-40B4-BE49-F238E27FC236}">
                  <a16:creationId xmlns:a16="http://schemas.microsoft.com/office/drawing/2014/main" id="{000B45AA-DA07-422E-99A4-285E770871CC}"/>
                </a:ext>
              </a:extLst>
            </p:cNvPr>
            <p:cNvSpPr/>
            <p:nvPr/>
          </p:nvSpPr>
          <p:spPr>
            <a:xfrm rot="5400000">
              <a:off x="4348446" y="7358647"/>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8661C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Purpl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34 G97 B197</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4" name="object 96">
              <a:extLst>
                <a:ext uri="{FF2B5EF4-FFF2-40B4-BE49-F238E27FC236}">
                  <a16:creationId xmlns:a16="http://schemas.microsoft.com/office/drawing/2014/main" id="{1112FA86-FF81-4A22-9303-AFEA6BCD8CEC}"/>
                </a:ext>
              </a:extLst>
            </p:cNvPr>
            <p:cNvSpPr/>
            <p:nvPr/>
          </p:nvSpPr>
          <p:spPr>
            <a:xfrm rot="5400000">
              <a:off x="3836559" y="7358647"/>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B2E58"/>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Purpl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59 G46 B88</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1" name="object 95">
              <a:extLst>
                <a:ext uri="{FF2B5EF4-FFF2-40B4-BE49-F238E27FC236}">
                  <a16:creationId xmlns:a16="http://schemas.microsoft.com/office/drawing/2014/main" id="{5D8291F4-51BF-4AAC-B50E-32C238C02E86}"/>
                </a:ext>
              </a:extLst>
            </p:cNvPr>
            <p:cNvSpPr/>
            <p:nvPr/>
          </p:nvSpPr>
          <p:spPr>
            <a:xfrm rot="5400000">
              <a:off x="4746146" y="7471280"/>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D59DFF"/>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Purpl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13 G157 B255</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91" name="object 55">
              <a:extLst>
                <a:ext uri="{FF2B5EF4-FFF2-40B4-BE49-F238E27FC236}">
                  <a16:creationId xmlns:a16="http://schemas.microsoft.com/office/drawing/2014/main" id="{DCF78ED8-B3FB-406A-848B-A2B57CD8CE09}"/>
                </a:ext>
              </a:extLst>
            </p:cNvPr>
            <p:cNvSpPr/>
            <p:nvPr/>
          </p:nvSpPr>
          <p:spPr>
            <a:xfrm rot="5400000">
              <a:off x="4821404" y="783608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7" name="object 55">
              <a:extLst>
                <a:ext uri="{FF2B5EF4-FFF2-40B4-BE49-F238E27FC236}">
                  <a16:creationId xmlns:a16="http://schemas.microsoft.com/office/drawing/2014/main" id="{B6FBF43C-37D4-423F-B8D0-81E03B59E746}"/>
                </a:ext>
              </a:extLst>
            </p:cNvPr>
            <p:cNvSpPr/>
            <p:nvPr/>
          </p:nvSpPr>
          <p:spPr>
            <a:xfrm rot="5400000">
              <a:off x="4321639" y="783609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59D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36" name="Teal theme">
            <a:extLst>
              <a:ext uri="{FF2B5EF4-FFF2-40B4-BE49-F238E27FC236}">
                <a16:creationId xmlns:a16="http://schemas.microsoft.com/office/drawing/2014/main" id="{DA4F9A03-A77F-4EE7-A459-3495C090DB86}"/>
              </a:ext>
              <a:ext uri="{C183D7F6-B498-43B3-948B-1728B52AA6E4}">
                <adec:decorative xmlns:adec="http://schemas.microsoft.com/office/drawing/2017/decorative" val="1"/>
              </a:ext>
            </a:extLst>
          </p:cNvPr>
          <p:cNvGrpSpPr/>
          <p:nvPr userDrawn="1"/>
        </p:nvGrpSpPr>
        <p:grpSpPr>
          <a:xfrm rot="16200000">
            <a:off x="13375326" y="4644745"/>
            <a:ext cx="1102261" cy="1022312"/>
            <a:chOff x="4187065" y="4558674"/>
            <a:chExt cx="1322713" cy="1226774"/>
          </a:xfrm>
        </p:grpSpPr>
        <p:sp>
          <p:nvSpPr>
            <p:cNvPr id="170" name="object 74">
              <a:extLst>
                <a:ext uri="{FF2B5EF4-FFF2-40B4-BE49-F238E27FC236}">
                  <a16:creationId xmlns:a16="http://schemas.microsoft.com/office/drawing/2014/main" id="{6BE1C147-E1D2-4B60-80E5-DF5B001B06FE}"/>
                </a:ext>
              </a:extLst>
            </p:cNvPr>
            <p:cNvSpPr/>
            <p:nvPr/>
          </p:nvSpPr>
          <p:spPr>
            <a:xfrm rot="5400000">
              <a:off x="4348446" y="4909180"/>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857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Teal</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133 B117</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71" name="object 76">
              <a:extLst>
                <a:ext uri="{FF2B5EF4-FFF2-40B4-BE49-F238E27FC236}">
                  <a16:creationId xmlns:a16="http://schemas.microsoft.com/office/drawing/2014/main" id="{6065E591-8064-4D8E-9A93-3E313066E0D3}"/>
                </a:ext>
              </a:extLst>
            </p:cNvPr>
            <p:cNvSpPr/>
            <p:nvPr/>
          </p:nvSpPr>
          <p:spPr>
            <a:xfrm rot="5400000">
              <a:off x="3836559" y="4909180"/>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74B47"/>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Teal</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39 G75 B71</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5" name="object 75">
              <a:extLst>
                <a:ext uri="{FF2B5EF4-FFF2-40B4-BE49-F238E27FC236}">
                  <a16:creationId xmlns:a16="http://schemas.microsoft.com/office/drawing/2014/main" id="{8C132861-B1E6-415C-9826-E365F4F9ACAB}"/>
                </a:ext>
              </a:extLst>
            </p:cNvPr>
            <p:cNvSpPr/>
            <p:nvPr/>
          </p:nvSpPr>
          <p:spPr>
            <a:xfrm rot="5400000">
              <a:off x="4746143" y="5021814"/>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0E5D0"/>
            </a:solidFill>
          </p:spPr>
          <p:txBody>
            <a:bodyPr wrap="none" lIns="45720" tIns="27432" rIns="45720" bIns="27432"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Teal</a:t>
              </a:r>
            </a:p>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48 G229 B208</a:t>
              </a:r>
            </a:p>
            <a:p>
              <a:pPr marL="0"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4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9" name="object 55">
              <a:extLst>
                <a:ext uri="{FF2B5EF4-FFF2-40B4-BE49-F238E27FC236}">
                  <a16:creationId xmlns:a16="http://schemas.microsoft.com/office/drawing/2014/main" id="{556935F2-6C89-45C2-90B7-A7D129D925C7}"/>
                </a:ext>
              </a:extLst>
            </p:cNvPr>
            <p:cNvSpPr/>
            <p:nvPr/>
          </p:nvSpPr>
          <p:spPr>
            <a:xfrm rot="5400000">
              <a:off x="4821404" y="538224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5" name="object 55">
              <a:extLst>
                <a:ext uri="{FF2B5EF4-FFF2-40B4-BE49-F238E27FC236}">
                  <a16:creationId xmlns:a16="http://schemas.microsoft.com/office/drawing/2014/main" id="{257DF31A-9079-42C6-9BF3-66CDAC5B8142}"/>
                </a:ext>
              </a:extLst>
            </p:cNvPr>
            <p:cNvSpPr/>
            <p:nvPr/>
          </p:nvSpPr>
          <p:spPr>
            <a:xfrm rot="5400000">
              <a:off x="4321637" y="5382251"/>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0E5D0"/>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34" name="Green theme">
            <a:extLst>
              <a:ext uri="{FF2B5EF4-FFF2-40B4-BE49-F238E27FC236}">
                <a16:creationId xmlns:a16="http://schemas.microsoft.com/office/drawing/2014/main" id="{50B35C9F-DD4A-4B7B-8A3F-24EFDC890210}"/>
              </a:ext>
              <a:ext uri="{C183D7F6-B498-43B3-948B-1728B52AA6E4}">
                <adec:decorative xmlns:adec="http://schemas.microsoft.com/office/drawing/2017/decorative" val="1"/>
              </a:ext>
            </a:extLst>
          </p:cNvPr>
          <p:cNvGrpSpPr/>
          <p:nvPr userDrawn="1"/>
        </p:nvGrpSpPr>
        <p:grpSpPr>
          <a:xfrm rot="16200000">
            <a:off x="13375081" y="3495979"/>
            <a:ext cx="1102262" cy="1022311"/>
            <a:chOff x="4187065" y="3335980"/>
            <a:chExt cx="1322714" cy="1226773"/>
          </a:xfrm>
        </p:grpSpPr>
        <p:sp>
          <p:nvSpPr>
            <p:cNvPr id="166" name="object 34">
              <a:extLst>
                <a:ext uri="{FF2B5EF4-FFF2-40B4-BE49-F238E27FC236}">
                  <a16:creationId xmlns:a16="http://schemas.microsoft.com/office/drawing/2014/main" id="{E1F2CC59-09F6-4569-97AD-2890EDF0CE76}"/>
                </a:ext>
              </a:extLst>
            </p:cNvPr>
            <p:cNvSpPr/>
            <p:nvPr/>
          </p:nvSpPr>
          <p:spPr>
            <a:xfrm rot="5400000">
              <a:off x="4348446" y="3686486"/>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107C1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Green</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6 G124 B16</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67" name="object 36">
              <a:extLst>
                <a:ext uri="{FF2B5EF4-FFF2-40B4-BE49-F238E27FC236}">
                  <a16:creationId xmlns:a16="http://schemas.microsoft.com/office/drawing/2014/main" id="{BC74C497-119D-4E50-A405-0A079F1EBB11}"/>
                </a:ext>
              </a:extLst>
            </p:cNvPr>
            <p:cNvSpPr/>
            <p:nvPr/>
          </p:nvSpPr>
          <p:spPr>
            <a:xfrm rot="5400000">
              <a:off x="3836559" y="3686486"/>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54B16"/>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Green</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5 G75 B22</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3" name="object 35">
              <a:extLst>
                <a:ext uri="{FF2B5EF4-FFF2-40B4-BE49-F238E27FC236}">
                  <a16:creationId xmlns:a16="http://schemas.microsoft.com/office/drawing/2014/main" id="{4F51C496-AD90-48D6-8CCB-B003995A475C}"/>
                </a:ext>
              </a:extLst>
            </p:cNvPr>
            <p:cNvSpPr/>
            <p:nvPr/>
          </p:nvSpPr>
          <p:spPr>
            <a:xfrm rot="5400000">
              <a:off x="4746144" y="3799119"/>
              <a:ext cx="1226773" cy="300496"/>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9BF00B"/>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Green</a:t>
              </a: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155 G240 B11</a:t>
              </a: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8" name="object 55">
              <a:extLst>
                <a:ext uri="{FF2B5EF4-FFF2-40B4-BE49-F238E27FC236}">
                  <a16:creationId xmlns:a16="http://schemas.microsoft.com/office/drawing/2014/main" id="{41ADEA77-C6E7-42CC-80F8-DAC1F656E2B2}"/>
                </a:ext>
              </a:extLst>
            </p:cNvPr>
            <p:cNvSpPr/>
            <p:nvPr/>
          </p:nvSpPr>
          <p:spPr>
            <a:xfrm rot="5400000">
              <a:off x="4821404" y="416365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sp>
          <p:nvSpPr>
            <p:cNvPr id="194" name="object 55">
              <a:extLst>
                <a:ext uri="{FF2B5EF4-FFF2-40B4-BE49-F238E27FC236}">
                  <a16:creationId xmlns:a16="http://schemas.microsoft.com/office/drawing/2014/main" id="{52118087-22F7-41F4-B905-C481316709E1}"/>
                </a:ext>
              </a:extLst>
            </p:cNvPr>
            <p:cNvSpPr/>
            <p:nvPr/>
          </p:nvSpPr>
          <p:spPr>
            <a:xfrm rot="5400000">
              <a:off x="4321641" y="41636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BF00B"/>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grpSp>
        <p:nvGrpSpPr>
          <p:cNvPr id="8" name="Yellow theme">
            <a:extLst>
              <a:ext uri="{FF2B5EF4-FFF2-40B4-BE49-F238E27FC236}">
                <a16:creationId xmlns:a16="http://schemas.microsoft.com/office/drawing/2014/main" id="{758D6797-3F1D-4801-84D5-2FE876D7E49B}"/>
              </a:ext>
              <a:ext uri="{C183D7F6-B498-43B3-948B-1728B52AA6E4}">
                <adec:decorative xmlns:adec="http://schemas.microsoft.com/office/drawing/2017/decorative" val="1"/>
              </a:ext>
            </a:extLst>
          </p:cNvPr>
          <p:cNvGrpSpPr/>
          <p:nvPr userDrawn="1"/>
        </p:nvGrpSpPr>
        <p:grpSpPr>
          <a:xfrm rot="16200000">
            <a:off x="13378834" y="2348141"/>
            <a:ext cx="1102263" cy="1022536"/>
            <a:chOff x="4187065" y="2108938"/>
            <a:chExt cx="1322715" cy="1227043"/>
          </a:xfrm>
        </p:grpSpPr>
        <p:sp>
          <p:nvSpPr>
            <p:cNvPr id="127" name="object 54">
              <a:extLst>
                <a:ext uri="{FF2B5EF4-FFF2-40B4-BE49-F238E27FC236}">
                  <a16:creationId xmlns:a16="http://schemas.microsoft.com/office/drawing/2014/main" id="{D73E21B6-2F7B-465A-9665-AC4725562E7C}"/>
                </a:ext>
              </a:extLst>
            </p:cNvPr>
            <p:cNvSpPr/>
            <p:nvPr/>
          </p:nvSpPr>
          <p:spPr>
            <a:xfrm rot="5400000">
              <a:off x="4348446" y="2459445"/>
              <a:ext cx="1226773" cy="525761"/>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FFB90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Segoe UI" charset="0"/>
                  <a:ea typeface="Segoe UI" charset="0"/>
                  <a:cs typeface="Segoe UI" charset="0"/>
                </a:rPr>
                <a:t>Yellow</a:t>
              </a: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255 G185 B0</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28" name="object 56">
              <a:extLst>
                <a:ext uri="{FF2B5EF4-FFF2-40B4-BE49-F238E27FC236}">
                  <a16:creationId xmlns:a16="http://schemas.microsoft.com/office/drawing/2014/main" id="{09B2D568-3BD7-4830-920B-99DA31292A27}"/>
                </a:ext>
              </a:extLst>
            </p:cNvPr>
            <p:cNvSpPr/>
            <p:nvPr/>
          </p:nvSpPr>
          <p:spPr>
            <a:xfrm rot="5400000">
              <a:off x="3836559" y="2459445"/>
              <a:ext cx="1226773" cy="525761"/>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A4B16"/>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white"/>
                  </a:solidFill>
                  <a:effectLst/>
                  <a:uLnTx/>
                  <a:uFillTx/>
                  <a:latin typeface="Segoe UI" charset="0"/>
                  <a:ea typeface="Segoe UI" charset="0"/>
                  <a:cs typeface="Segoe UI" charset="0"/>
                </a:rPr>
                <a:t>Dark Yellow</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106 G75 B22</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2" name="object 55">
              <a:extLst>
                <a:ext uri="{FF2B5EF4-FFF2-40B4-BE49-F238E27FC236}">
                  <a16:creationId xmlns:a16="http://schemas.microsoft.com/office/drawing/2014/main" id="{378DDDAD-2275-476C-B419-E5F9A8B8D05F}"/>
                </a:ext>
              </a:extLst>
            </p:cNvPr>
            <p:cNvSpPr/>
            <p:nvPr/>
          </p:nvSpPr>
          <p:spPr>
            <a:xfrm rot="5400000">
              <a:off x="4746145" y="2572077"/>
              <a:ext cx="1226773" cy="300496"/>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EF000"/>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Yellow</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4 G240 B0</a:t>
              </a:r>
            </a:p>
          </p:txBody>
        </p:sp>
        <p:sp>
          <p:nvSpPr>
            <p:cNvPr id="187" name="object 55">
              <a:extLst>
                <a:ext uri="{FF2B5EF4-FFF2-40B4-BE49-F238E27FC236}">
                  <a16:creationId xmlns:a16="http://schemas.microsoft.com/office/drawing/2014/main" id="{3B164EF3-4519-418E-BE77-81283EB0A5EF}"/>
                </a:ext>
              </a:extLst>
            </p:cNvPr>
            <p:cNvSpPr/>
            <p:nvPr/>
          </p:nvSpPr>
          <p:spPr>
            <a:xfrm rot="5400000">
              <a:off x="4819443" y="2937155"/>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3" name="object 55">
              <a:extLst>
                <a:ext uri="{FF2B5EF4-FFF2-40B4-BE49-F238E27FC236}">
                  <a16:creationId xmlns:a16="http://schemas.microsoft.com/office/drawing/2014/main" id="{2A614499-27D7-4F2A-9584-BB6F662A466B}"/>
                </a:ext>
              </a:extLst>
            </p:cNvPr>
            <p:cNvSpPr/>
            <p:nvPr/>
          </p:nvSpPr>
          <p:spPr>
            <a:xfrm rot="5400000">
              <a:off x="4319681" y="2937155"/>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EF000"/>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grpSp>
      <p:grpSp>
        <p:nvGrpSpPr>
          <p:cNvPr id="6" name="Orange theme">
            <a:extLst>
              <a:ext uri="{FF2B5EF4-FFF2-40B4-BE49-F238E27FC236}">
                <a16:creationId xmlns:a16="http://schemas.microsoft.com/office/drawing/2014/main" id="{454FCBEE-41DD-4195-8892-8B4F253AAE40}"/>
              </a:ext>
              <a:ext uri="{C183D7F6-B498-43B3-948B-1728B52AA6E4}">
                <adec:decorative xmlns:adec="http://schemas.microsoft.com/office/drawing/2017/decorative" val="1"/>
              </a:ext>
            </a:extLst>
          </p:cNvPr>
          <p:cNvGrpSpPr/>
          <p:nvPr userDrawn="1"/>
        </p:nvGrpSpPr>
        <p:grpSpPr>
          <a:xfrm rot="16200000">
            <a:off x="13377135" y="1194316"/>
            <a:ext cx="1102264" cy="1025934"/>
            <a:chOff x="4187065" y="882165"/>
            <a:chExt cx="1322717" cy="1231121"/>
          </a:xfrm>
        </p:grpSpPr>
        <p:sp>
          <p:nvSpPr>
            <p:cNvPr id="121" name="object 54">
              <a:extLst>
                <a:ext uri="{FF2B5EF4-FFF2-40B4-BE49-F238E27FC236}">
                  <a16:creationId xmlns:a16="http://schemas.microsoft.com/office/drawing/2014/main" id="{0B5055CD-63A0-4C46-808A-35153C98011A}"/>
                </a:ext>
              </a:extLst>
            </p:cNvPr>
            <p:cNvSpPr/>
            <p:nvPr/>
          </p:nvSpPr>
          <p:spPr>
            <a:xfrm rot="5400000">
              <a:off x="4348446" y="1232672"/>
              <a:ext cx="1226773" cy="525761"/>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D83B01"/>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Orang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216 G59 B1</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2" name="object 56">
              <a:extLst>
                <a:ext uri="{FF2B5EF4-FFF2-40B4-BE49-F238E27FC236}">
                  <a16:creationId xmlns:a16="http://schemas.microsoft.com/office/drawing/2014/main" id="{7F4A1B70-54EF-4FE3-9943-B44B1F433142}"/>
                </a:ext>
              </a:extLst>
            </p:cNvPr>
            <p:cNvSpPr/>
            <p:nvPr/>
          </p:nvSpPr>
          <p:spPr>
            <a:xfrm rot="5400000">
              <a:off x="3836559" y="1232672"/>
              <a:ext cx="1226773" cy="525761"/>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B2929"/>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Orang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107 G41 B41</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0" name="object 55">
              <a:extLst>
                <a:ext uri="{FF2B5EF4-FFF2-40B4-BE49-F238E27FC236}">
                  <a16:creationId xmlns:a16="http://schemas.microsoft.com/office/drawing/2014/main" id="{3408E7E9-7FEF-4049-9730-B421DFFEE6C0}"/>
                </a:ext>
              </a:extLst>
            </p:cNvPr>
            <p:cNvSpPr/>
            <p:nvPr/>
          </p:nvSpPr>
          <p:spPr>
            <a:xfrm rot="5400000">
              <a:off x="4746147" y="1345304"/>
              <a:ext cx="1226773" cy="300496"/>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F9349"/>
            </a:solidFill>
          </p:spPr>
          <p:txBody>
            <a:bodyPr wrap="none" lIns="45720" tIns="27432" rIns="45720" bIns="27432" rtlCol="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Orang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255 G147 B73</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001F"/>
                </a:solidFill>
                <a:effectLst/>
                <a:uLnTx/>
                <a:uFillTx/>
                <a:latin typeface="Segoe UI" panose="020B0502040204020203" pitchFamily="34" charset="0"/>
                <a:ea typeface="+mn-ea"/>
                <a:cs typeface="Segoe UI" panose="020B0502040204020203" pitchFamily="34" charset="0"/>
              </a:endParaRPr>
            </a:p>
          </p:txBody>
        </p:sp>
        <p:sp>
          <p:nvSpPr>
            <p:cNvPr id="186" name="object 55">
              <a:extLst>
                <a:ext uri="{FF2B5EF4-FFF2-40B4-BE49-F238E27FC236}">
                  <a16:creationId xmlns:a16="http://schemas.microsoft.com/office/drawing/2014/main" id="{679B9043-8051-408C-A01A-9C0959F081CC}"/>
                </a:ext>
              </a:extLst>
            </p:cNvPr>
            <p:cNvSpPr/>
            <p:nvPr/>
          </p:nvSpPr>
          <p:spPr>
            <a:xfrm rot="5400000">
              <a:off x="4821404" y="17144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92" name="object 55">
              <a:extLst>
                <a:ext uri="{FF2B5EF4-FFF2-40B4-BE49-F238E27FC236}">
                  <a16:creationId xmlns:a16="http://schemas.microsoft.com/office/drawing/2014/main" id="{E7421694-F06B-445B-BCB9-6BC9F691168A}"/>
                </a:ext>
              </a:extLst>
            </p:cNvPr>
            <p:cNvSpPr/>
            <p:nvPr/>
          </p:nvSpPr>
          <p:spPr>
            <a:xfrm rot="5400000">
              <a:off x="4321643" y="1714460"/>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9349"/>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p>
          </p:txBody>
        </p:sp>
      </p:grpSp>
      <p:sp>
        <p:nvSpPr>
          <p:cNvPr id="86" name="Other colors title">
            <a:extLst>
              <a:ext uri="{FF2B5EF4-FFF2-40B4-BE49-F238E27FC236}">
                <a16:creationId xmlns:a16="http://schemas.microsoft.com/office/drawing/2014/main" id="{DD114070-12CB-4F99-A811-02094A4AA79F}"/>
              </a:ext>
              <a:ext uri="{C183D7F6-B498-43B3-948B-1728B52AA6E4}">
                <adec:decorative xmlns:adec="http://schemas.microsoft.com/office/drawing/2017/decorative" val="1"/>
              </a:ext>
            </a:extLst>
          </p:cNvPr>
          <p:cNvSpPr txBox="1"/>
          <p:nvPr userDrawn="1"/>
        </p:nvSpPr>
        <p:spPr>
          <a:xfrm>
            <a:off x="13411532" y="937712"/>
            <a:ext cx="597921" cy="128177"/>
          </a:xfrm>
          <a:prstGeom prst="rect">
            <a:avLst/>
          </a:prstGeom>
          <a:noFill/>
        </p:spPr>
        <p:txBody>
          <a:bodyPr wrap="none" lIns="0" tIns="0" rIns="0" bIns="0" rtlCol="0">
            <a:spAutoFit/>
          </a:bodyPr>
          <a:lstStyle/>
          <a:p>
            <a:pPr algn="l"/>
            <a:r>
              <a:rPr lang="en-US" sz="833" dirty="0">
                <a:solidFill>
                  <a:srgbClr val="505050"/>
                </a:solidFill>
                <a:latin typeface="+mj-lt"/>
              </a:rPr>
              <a:t>Other colors</a:t>
            </a:r>
          </a:p>
        </p:txBody>
      </p:sp>
      <p:grpSp>
        <p:nvGrpSpPr>
          <p:cNvPr id="4" name="Blue theme">
            <a:extLst>
              <a:ext uri="{FF2B5EF4-FFF2-40B4-BE49-F238E27FC236}">
                <a16:creationId xmlns:a16="http://schemas.microsoft.com/office/drawing/2014/main" id="{884758BB-E952-46B2-BA4B-D521D186394F}"/>
              </a:ext>
              <a:ext uri="{C183D7F6-B498-43B3-948B-1728B52AA6E4}">
                <adec:decorative xmlns:adec="http://schemas.microsoft.com/office/drawing/2017/decorative" val="1"/>
              </a:ext>
            </a:extLst>
          </p:cNvPr>
          <p:cNvGrpSpPr/>
          <p:nvPr userDrawn="1"/>
        </p:nvGrpSpPr>
        <p:grpSpPr>
          <a:xfrm rot="16200000">
            <a:off x="12371405" y="1073965"/>
            <a:ext cx="864707" cy="1026177"/>
            <a:chOff x="9966767" y="5780133"/>
            <a:chExt cx="1037648" cy="1231412"/>
          </a:xfrm>
        </p:grpSpPr>
        <p:sp>
          <p:nvSpPr>
            <p:cNvPr id="136" name="object 74">
              <a:extLst>
                <a:ext uri="{FF2B5EF4-FFF2-40B4-BE49-F238E27FC236}">
                  <a16:creationId xmlns:a16="http://schemas.microsoft.com/office/drawing/2014/main" id="{BB1D77C9-A72E-484C-854B-3DB2D32179A2}"/>
                </a:ext>
              </a:extLst>
            </p:cNvPr>
            <p:cNvSpPr/>
            <p:nvPr/>
          </p:nvSpPr>
          <p:spPr>
            <a:xfrm rot="5400000">
              <a:off x="10128148" y="6130639"/>
              <a:ext cx="1226773" cy="525761"/>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78D4"/>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Blue</a:t>
              </a: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0 G120 B212</a:t>
              </a:r>
            </a:p>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37" name="object 76">
              <a:extLst>
                <a:ext uri="{FF2B5EF4-FFF2-40B4-BE49-F238E27FC236}">
                  <a16:creationId xmlns:a16="http://schemas.microsoft.com/office/drawing/2014/main" id="{9DD29805-3323-2A40-A080-D50CFC0F4B0A}"/>
                </a:ext>
              </a:extLst>
            </p:cNvPr>
            <p:cNvSpPr/>
            <p:nvPr/>
          </p:nvSpPr>
          <p:spPr>
            <a:xfrm rot="5400000">
              <a:off x="9616261" y="6130639"/>
              <a:ext cx="1226773" cy="525761"/>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43A5E"/>
            </a:solidFill>
          </p:spPr>
          <p:txBody>
            <a:bodyPr wrap="none" lIns="45720" tIns="27432" rIns="45720" bIns="27432" rtlCol="0">
              <a:norm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charset="0"/>
                  <a:ea typeface="Segoe UI" charset="0"/>
                  <a:cs typeface="Segoe UI" charset="0"/>
                </a:rPr>
                <a:t>Dark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36 G58 B94</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58" name="object 55">
              <a:extLst>
                <a:ext uri="{FF2B5EF4-FFF2-40B4-BE49-F238E27FC236}">
                  <a16:creationId xmlns:a16="http://schemas.microsoft.com/office/drawing/2014/main" id="{1C7434C3-2945-7642-A4D7-504034AF5F7E}"/>
                </a:ext>
              </a:extLst>
            </p:cNvPr>
            <p:cNvSpPr/>
            <p:nvPr/>
          </p:nvSpPr>
          <p:spPr>
            <a:xfrm rot="5400000">
              <a:off x="10601106" y="6612718"/>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rPr>
                <a:t>A</a:t>
              </a:r>
            </a:p>
          </p:txBody>
        </p:sp>
        <p:sp>
          <p:nvSpPr>
            <p:cNvPr id="164" name="object 55">
              <a:extLst>
                <a:ext uri="{FF2B5EF4-FFF2-40B4-BE49-F238E27FC236}">
                  <a16:creationId xmlns:a16="http://schemas.microsoft.com/office/drawing/2014/main" id="{73069635-C835-DE45-BA52-F9A3717FD4BC}"/>
                </a:ext>
              </a:extLst>
            </p:cNvPr>
            <p:cNvSpPr/>
            <p:nvPr/>
          </p:nvSpPr>
          <p:spPr>
            <a:xfrm rot="5400000">
              <a:off x="10101343" y="6612719"/>
              <a:ext cx="447143" cy="350509"/>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0E6FF"/>
                  </a:solidFill>
                  <a:effectLst/>
                  <a:uLnTx/>
                  <a:uFillTx/>
                  <a:latin typeface="Segoe UI" charset="0"/>
                  <a:ea typeface="Segoe UI" charset="0"/>
                  <a:cs typeface="Segoe UI" charset="0"/>
                </a:rPr>
                <a:t>A</a:t>
              </a:r>
              <a:r>
                <a:rPr kumimoji="0" lang="en-US" sz="1400" b="1" i="0" u="none" strike="noStrike" kern="1200" cap="none" spc="0" normalizeH="0" baseline="0" noProof="0" dirty="0">
                  <a:ln>
                    <a:noFill/>
                  </a:ln>
                  <a:solidFill>
                    <a:srgbClr val="FFFFFF"/>
                  </a:solidFill>
                  <a:effectLst/>
                  <a:uLnTx/>
                  <a:uFillTx/>
                  <a:latin typeface="Segoe UI" charset="0"/>
                  <a:ea typeface="Segoe UI" charset="0"/>
                  <a:cs typeface="Segoe UI" charset="0"/>
                </a:rPr>
                <a:t>A</a:t>
              </a:r>
              <a:endParaRPr kumimoji="0" lang="en-US" sz="1400" b="1" i="0" u="none" strike="noStrike" kern="1200" cap="none" spc="0" normalizeH="0" baseline="0" noProof="0" dirty="0">
                <a:ln>
                  <a:noFill/>
                </a:ln>
                <a:solidFill>
                  <a:srgbClr val="000000"/>
                </a:solidFill>
                <a:effectLst/>
                <a:uLnTx/>
                <a:uFillTx/>
                <a:latin typeface="Segoe UI" charset="0"/>
                <a:ea typeface="Segoe UI" charset="0"/>
                <a:cs typeface="Segoe UI" charset="0"/>
              </a:endParaRPr>
            </a:p>
          </p:txBody>
        </p:sp>
      </p:grpSp>
      <p:sp>
        <p:nvSpPr>
          <p:cNvPr id="38" name="Primary colors title">
            <a:extLst>
              <a:ext uri="{FF2B5EF4-FFF2-40B4-BE49-F238E27FC236}">
                <a16:creationId xmlns:a16="http://schemas.microsoft.com/office/drawing/2014/main" id="{F7BB1FE4-8B6E-43B4-BB51-6B23ABCBBC3D}"/>
              </a:ext>
              <a:ext uri="{C183D7F6-B498-43B3-948B-1728B52AA6E4}">
                <adec:decorative xmlns:adec="http://schemas.microsoft.com/office/drawing/2017/decorative" val="1"/>
              </a:ext>
            </a:extLst>
          </p:cNvPr>
          <p:cNvSpPr txBox="1"/>
          <p:nvPr userDrawn="1"/>
        </p:nvSpPr>
        <p:spPr>
          <a:xfrm>
            <a:off x="12290671" y="939620"/>
            <a:ext cx="660437" cy="128177"/>
          </a:xfrm>
          <a:prstGeom prst="rect">
            <a:avLst/>
          </a:prstGeom>
          <a:noFill/>
        </p:spPr>
        <p:txBody>
          <a:bodyPr wrap="none" lIns="0" tIns="0" rIns="0" bIns="0" rtlCol="0">
            <a:spAutoFit/>
          </a:bodyPr>
          <a:lstStyle/>
          <a:p>
            <a:pPr algn="l"/>
            <a:r>
              <a:rPr lang="en-US" sz="833" dirty="0">
                <a:solidFill>
                  <a:srgbClr val="505050"/>
                </a:solidFill>
                <a:latin typeface="+mj-lt"/>
              </a:rPr>
              <a:t>Primary blues</a:t>
            </a:r>
          </a:p>
        </p:txBody>
      </p:sp>
      <p:sp>
        <p:nvSpPr>
          <p:cNvPr id="89" name="object 75">
            <a:extLst>
              <a:ext uri="{FF2B5EF4-FFF2-40B4-BE49-F238E27FC236}">
                <a16:creationId xmlns:a16="http://schemas.microsoft.com/office/drawing/2014/main" id="{E7372636-0853-48AD-BBD9-989CCD8E3A55}"/>
              </a:ext>
            </a:extLst>
          </p:cNvPr>
          <p:cNvSpPr/>
          <p:nvPr userDrawn="1"/>
        </p:nvSpPr>
        <p:spPr>
          <a:xfrm>
            <a:off x="12287388" y="2409254"/>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50E6FF"/>
          </a:solidFill>
        </p:spPr>
        <p:txBody>
          <a:bodyPr wrap="none" lIns="38100" tIns="22860" rIns="38100" bIns="22860"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Segoe UI" charset="0"/>
                <a:ea typeface="Segoe UI" charset="0"/>
                <a:cs typeface="Segoe UI" charset="0"/>
              </a:rPr>
              <a:t>Light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80 G230 B255</a:t>
            </a:r>
          </a:p>
        </p:txBody>
      </p:sp>
      <p:sp>
        <p:nvSpPr>
          <p:cNvPr id="90" name="Primary colors title">
            <a:extLst>
              <a:ext uri="{FF2B5EF4-FFF2-40B4-BE49-F238E27FC236}">
                <a16:creationId xmlns:a16="http://schemas.microsoft.com/office/drawing/2014/main" id="{986CA423-A626-45BC-B619-4C0EA5DD47BA}"/>
              </a:ext>
              <a:ext uri="{C183D7F6-B498-43B3-948B-1728B52AA6E4}">
                <adec:decorative xmlns:adec="http://schemas.microsoft.com/office/drawing/2017/decorative" val="1"/>
              </a:ext>
            </a:extLst>
          </p:cNvPr>
          <p:cNvSpPr txBox="1"/>
          <p:nvPr userDrawn="1"/>
        </p:nvSpPr>
        <p:spPr>
          <a:xfrm>
            <a:off x="12290670" y="2180039"/>
            <a:ext cx="613951" cy="128177"/>
          </a:xfrm>
          <a:prstGeom prst="rect">
            <a:avLst/>
          </a:prstGeom>
          <a:noFill/>
        </p:spPr>
        <p:txBody>
          <a:bodyPr wrap="none" lIns="0" tIns="0" rIns="0" bIns="0" rtlCol="0">
            <a:spAutoFit/>
          </a:bodyPr>
          <a:lstStyle/>
          <a:p>
            <a:pPr algn="l"/>
            <a:r>
              <a:rPr lang="en-US" sz="833" dirty="0">
                <a:solidFill>
                  <a:srgbClr val="505050"/>
                </a:solidFill>
                <a:latin typeface="+mj-lt"/>
              </a:rPr>
              <a:t>Accent blues</a:t>
            </a:r>
          </a:p>
        </p:txBody>
      </p:sp>
      <p:sp>
        <p:nvSpPr>
          <p:cNvPr id="91" name="object 75">
            <a:extLst>
              <a:ext uri="{FF2B5EF4-FFF2-40B4-BE49-F238E27FC236}">
                <a16:creationId xmlns:a16="http://schemas.microsoft.com/office/drawing/2014/main" id="{1EACEB21-A70A-4C30-AF4F-8C5789CD6D03}"/>
              </a:ext>
            </a:extLst>
          </p:cNvPr>
          <p:cNvSpPr/>
          <p:nvPr userDrawn="1"/>
        </p:nvSpPr>
        <p:spPr>
          <a:xfrm>
            <a:off x="12287735" y="2662438"/>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C59A4"/>
          </a:solidFill>
        </p:spPr>
        <p:txBody>
          <a:bodyPr wrap="none" lIns="38100" tIns="22860" rIns="38100" bIns="22860" rtlCol="0">
            <a:noAutofit/>
          </a:bodyPr>
          <a:lstStyle/>
          <a:p>
            <a:pPr marL="0" marR="0" lvl="0" indent="0" algn="l" defTabSz="76194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Segoe UI" charset="0"/>
                <a:ea typeface="Segoe UI" charset="0"/>
                <a:cs typeface="Segoe UI" charset="0"/>
              </a:rPr>
              <a:t>Sea Blue</a:t>
            </a: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R12 G89 B164</a:t>
            </a:r>
          </a:p>
        </p:txBody>
      </p:sp>
    </p:spTree>
    <p:extLst>
      <p:ext uri="{BB962C8B-B14F-4D97-AF65-F5344CB8AC3E}">
        <p14:creationId xmlns:p14="http://schemas.microsoft.com/office/powerpoint/2010/main" val="3938955425"/>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 id="2147484749" r:id="rId8"/>
    <p:sldLayoutId id="2147484750" r:id="rId9"/>
    <p:sldLayoutId id="2147484751" r:id="rId10"/>
    <p:sldLayoutId id="2147484752" r:id="rId11"/>
    <p:sldLayoutId id="2147484753" r:id="rId12"/>
    <p:sldLayoutId id="2147484754" r:id="rId13"/>
    <p:sldLayoutId id="2147484755" r:id="rId14"/>
    <p:sldLayoutId id="2147484756" r:id="rId15"/>
    <p:sldLayoutId id="2147484757" r:id="rId16"/>
    <p:sldLayoutId id="2147484758" r:id="rId17"/>
    <p:sldLayoutId id="2147484759" r:id="rId18"/>
    <p:sldLayoutId id="2147484760" r:id="rId19"/>
    <p:sldLayoutId id="2147484761" r:id="rId20"/>
    <p:sldLayoutId id="2147484762" r:id="rId21"/>
    <p:sldLayoutId id="2147484763" r:id="rId22"/>
    <p:sldLayoutId id="2147484764" r:id="rId23"/>
    <p:sldLayoutId id="2147484765" r:id="rId24"/>
    <p:sldLayoutId id="2147484766" r:id="rId25"/>
    <p:sldLayoutId id="2147484767" r:id="rId26"/>
    <p:sldLayoutId id="2147484768" r:id="rId27"/>
    <p:sldLayoutId id="2147484769" r:id="rId28"/>
    <p:sldLayoutId id="2147484771" r:id="rId29"/>
    <p:sldLayoutId id="2147484772" r:id="rId30"/>
    <p:sldLayoutId id="2147484773" r:id="rId31"/>
    <p:sldLayoutId id="2147484774" r:id="rId32"/>
    <p:sldLayoutId id="2147484775" r:id="rId33"/>
    <p:sldLayoutId id="2147484776" r:id="rId34"/>
    <p:sldLayoutId id="2147484777" r:id="rId35"/>
    <p:sldLayoutId id="2147484778" r:id="rId36"/>
  </p:sldLayoutIdLst>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62">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50897007"/>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80784118"/>
      </p:ext>
    </p:extLst>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294" r:id="rId27"/>
    <p:sldLayoutId id="2147484295" r:id="rId28"/>
    <p:sldLayoutId id="2147484296" r:id="rId29"/>
    <p:sldLayoutId id="2147484297" r:id="rId30"/>
    <p:sldLayoutId id="2147484298" r:id="rId31"/>
    <p:sldLayoutId id="2147484299" r:id="rId32"/>
    <p:sldLayoutId id="2147484300" r:id="rId33"/>
    <p:sldLayoutId id="2147484301" r:id="rId34"/>
    <p:sldLayoutId id="2147484302"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125011618"/>
      </p:ext>
    </p:extLst>
  </p:cSld>
  <p:clrMap bg1="dk1" tx1="lt1" bg2="dk2" tx2="lt2" accent1="accent1" accent2="accent2" accent3="accent3" accent4="accent4" accent5="accent5" accent6="accent6" hlink="hlink" folHlink="folHlink"/>
  <p:sldLayoutIdLst>
    <p:sldLayoutId id="2147484318" r:id="rId1"/>
    <p:sldLayoutId id="2147484319" r:id="rId2"/>
    <p:sldLayoutId id="2147484320" r:id="rId3"/>
    <p:sldLayoutId id="2147484321" r:id="rId4"/>
    <p:sldLayoutId id="2147484322" r:id="rId5"/>
    <p:sldLayoutId id="2147484323" r:id="rId6"/>
    <p:sldLayoutId id="2147484324" r:id="rId7"/>
    <p:sldLayoutId id="2147484325" r:id="rId8"/>
    <p:sldLayoutId id="2147484326" r:id="rId9"/>
    <p:sldLayoutId id="2147484327" r:id="rId10"/>
    <p:sldLayoutId id="2147484328" r:id="rId11"/>
    <p:sldLayoutId id="2147484329" r:id="rId12"/>
    <p:sldLayoutId id="2147484330" r:id="rId13"/>
    <p:sldLayoutId id="2147484331" r:id="rId14"/>
    <p:sldLayoutId id="2147484332" r:id="rId15"/>
    <p:sldLayoutId id="2147484333" r:id="rId16"/>
    <p:sldLayoutId id="2147484334" r:id="rId17"/>
    <p:sldLayoutId id="2147484335" r:id="rId18"/>
    <p:sldLayoutId id="2147484336" r:id="rId19"/>
    <p:sldLayoutId id="2147484337" r:id="rId20"/>
    <p:sldLayoutId id="2147484338" r:id="rId21"/>
    <p:sldLayoutId id="2147484339" r:id="rId22"/>
    <p:sldLayoutId id="2147484340" r:id="rId23"/>
    <p:sldLayoutId id="2147484341" r:id="rId24"/>
    <p:sldLayoutId id="2147484342" r:id="rId25"/>
    <p:sldLayoutId id="2147484343" r:id="rId26"/>
    <p:sldLayoutId id="2147484344" r:id="rId27"/>
    <p:sldLayoutId id="2147484345" r:id="rId28"/>
    <p:sldLayoutId id="2147484346" r:id="rId29"/>
    <p:sldLayoutId id="2147484347" r:id="rId30"/>
    <p:sldLayoutId id="2147484348" r:id="rId31"/>
    <p:sldLayoutId id="2147484349" r:id="rId32"/>
    <p:sldLayoutId id="2147484350" r:id="rId33"/>
    <p:sldLayoutId id="2147484351" r:id="rId34"/>
    <p:sldLayoutId id="2147484352"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0313423"/>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 id="2147484372" r:id="rId19"/>
    <p:sldLayoutId id="2147484373" r:id="rId20"/>
    <p:sldLayoutId id="2147484374" r:id="rId21"/>
    <p:sldLayoutId id="2147484375" r:id="rId22"/>
    <p:sldLayoutId id="2147484376" r:id="rId23"/>
    <p:sldLayoutId id="2147484377" r:id="rId24"/>
    <p:sldLayoutId id="2147484378" r:id="rId25"/>
    <p:sldLayoutId id="2147484379" r:id="rId26"/>
    <p:sldLayoutId id="2147484380" r:id="rId27"/>
    <p:sldLayoutId id="2147484381" r:id="rId28"/>
    <p:sldLayoutId id="2147484382" r:id="rId29"/>
    <p:sldLayoutId id="2147484383" r:id="rId30"/>
    <p:sldLayoutId id="2147484384" r:id="rId31"/>
    <p:sldLayoutId id="2147484385" r:id="rId32"/>
    <p:sldLayoutId id="2147484386" r:id="rId33"/>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32467578"/>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5" r:id="rId18"/>
    <p:sldLayoutId id="2147484406" r:id="rId19"/>
    <p:sldLayoutId id="2147484407" r:id="rId20"/>
    <p:sldLayoutId id="2147484408" r:id="rId21"/>
    <p:sldLayoutId id="2147484409" r:id="rId22"/>
    <p:sldLayoutId id="2147484410" r:id="rId23"/>
  </p:sldLayoutIdLst>
  <p:transition>
    <p:fade/>
  </p:transition>
  <p:txStyles>
    <p:titleStyle>
      <a:lvl1pPr algn="l" defTabSz="914367"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8" name="Footer Placeholder 1">
            <a:extLst>
              <a:ext uri="{FF2B5EF4-FFF2-40B4-BE49-F238E27FC236}">
                <a16:creationId xmlns:a16="http://schemas.microsoft.com/office/drawing/2014/main" id="{F226ED0A-DDC2-4333-94E7-5488D76EDB31}"/>
              </a:ext>
            </a:extLst>
          </p:cNvPr>
          <p:cNvSpPr txBox="1">
            <a:spLocks/>
          </p:cNvSpPr>
          <p:nvPr userDrawn="1"/>
        </p:nvSpPr>
        <p:spPr>
          <a:xfrm>
            <a:off x="3453609" y="6626978"/>
            <a:ext cx="5279136"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a:solidFill>
                  <a:schemeClr val="tx1">
                    <a:alpha val="60000"/>
                  </a:schemeClr>
                </a:solidFill>
              </a:rPr>
              <a:t>MICROSOFT CONFIDENTIAL – NON-DISCLOSURE AGREEMENT REQUIRED</a:t>
            </a:r>
          </a:p>
        </p:txBody>
      </p:sp>
    </p:spTree>
    <p:extLst>
      <p:ext uri="{BB962C8B-B14F-4D97-AF65-F5344CB8AC3E}">
        <p14:creationId xmlns:p14="http://schemas.microsoft.com/office/powerpoint/2010/main" val="4161089555"/>
      </p:ext>
    </p:extLst>
  </p:cSld>
  <p:clrMap bg1="dk1" tx1="lt1" bg2="dk2" tx2="lt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 id="2147484438" r:id="rId27"/>
    <p:sldLayoutId id="2147484439" r:id="rId28"/>
    <p:sldLayoutId id="2147484440" r:id="rId29"/>
    <p:sldLayoutId id="2147484441" r:id="rId30"/>
    <p:sldLayoutId id="2147484442" r:id="rId31"/>
    <p:sldLayoutId id="2147484443" r:id="rId32"/>
    <p:sldLayoutId id="2147484444" r:id="rId33"/>
    <p:sldLayoutId id="2147484445" r:id="rId34"/>
    <p:sldLayoutId id="21474844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6"/>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28/2022</a:t>
            </a:fld>
            <a:endParaRPr lang="en-US"/>
          </a:p>
        </p:txBody>
      </p:sp>
      <p:sp>
        <p:nvSpPr>
          <p:cNvPr id="5" name="Footer Placeholder 4"/>
          <p:cNvSpPr>
            <a:spLocks noGrp="1"/>
          </p:cNvSpPr>
          <p:nvPr>
            <p:ph type="ftr" sz="quarter" idx="3"/>
          </p:nvPr>
        </p:nvSpPr>
        <p:spPr>
          <a:xfrm>
            <a:off x="4038600" y="6356351"/>
            <a:ext cx="4114800" cy="365126"/>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6"/>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88794021"/>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Lst>
  <p:hf sldNum="0" hdr="0" ftr="0" dt="0"/>
  <p:txStyles>
    <p:titleStyle>
      <a:lvl1pPr algn="l" defTabSz="91441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3" indent="-228603" algn="l" defTabSz="91441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9" indent="-228603" algn="l" defTabSz="91441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5" indent="-228603" algn="l" defTabSz="91441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20"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26"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32"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7"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3"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9"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2" rtl="0" eaLnBrk="1" latinLnBrk="0" hangingPunct="1">
        <a:defRPr sz="1800" kern="1200">
          <a:solidFill>
            <a:schemeClr val="tx1"/>
          </a:solidFill>
          <a:latin typeface="+mn-lt"/>
          <a:ea typeface="+mn-ea"/>
          <a:cs typeface="+mn-cs"/>
        </a:defRPr>
      </a:lvl1pPr>
      <a:lvl2pPr marL="457206" algn="l" defTabSz="914412" rtl="0" eaLnBrk="1" latinLnBrk="0" hangingPunct="1">
        <a:defRPr sz="1800" kern="1200">
          <a:solidFill>
            <a:schemeClr val="tx1"/>
          </a:solidFill>
          <a:latin typeface="+mn-lt"/>
          <a:ea typeface="+mn-ea"/>
          <a:cs typeface="+mn-cs"/>
        </a:defRPr>
      </a:lvl2pPr>
      <a:lvl3pPr marL="914412" algn="l" defTabSz="914412" rtl="0" eaLnBrk="1" latinLnBrk="0" hangingPunct="1">
        <a:defRPr sz="1800" kern="1200">
          <a:solidFill>
            <a:schemeClr val="tx1"/>
          </a:solidFill>
          <a:latin typeface="+mn-lt"/>
          <a:ea typeface="+mn-ea"/>
          <a:cs typeface="+mn-cs"/>
        </a:defRPr>
      </a:lvl3pPr>
      <a:lvl4pPr marL="1371617" algn="l" defTabSz="914412" rtl="0" eaLnBrk="1" latinLnBrk="0" hangingPunct="1">
        <a:defRPr sz="1800" kern="1200">
          <a:solidFill>
            <a:schemeClr val="tx1"/>
          </a:solidFill>
          <a:latin typeface="+mn-lt"/>
          <a:ea typeface="+mn-ea"/>
          <a:cs typeface="+mn-cs"/>
        </a:defRPr>
      </a:lvl4pPr>
      <a:lvl5pPr marL="1828823" algn="l" defTabSz="914412" rtl="0" eaLnBrk="1" latinLnBrk="0" hangingPunct="1">
        <a:defRPr sz="1800" kern="1200">
          <a:solidFill>
            <a:schemeClr val="tx1"/>
          </a:solidFill>
          <a:latin typeface="+mn-lt"/>
          <a:ea typeface="+mn-ea"/>
          <a:cs typeface="+mn-cs"/>
        </a:defRPr>
      </a:lvl5pPr>
      <a:lvl6pPr marL="2286029" algn="l" defTabSz="914412" rtl="0" eaLnBrk="1" latinLnBrk="0" hangingPunct="1">
        <a:defRPr sz="1800" kern="1200">
          <a:solidFill>
            <a:schemeClr val="tx1"/>
          </a:solidFill>
          <a:latin typeface="+mn-lt"/>
          <a:ea typeface="+mn-ea"/>
          <a:cs typeface="+mn-cs"/>
        </a:defRPr>
      </a:lvl6pPr>
      <a:lvl7pPr marL="2743235" algn="l" defTabSz="914412" rtl="0" eaLnBrk="1" latinLnBrk="0" hangingPunct="1">
        <a:defRPr sz="1800" kern="1200">
          <a:solidFill>
            <a:schemeClr val="tx1"/>
          </a:solidFill>
          <a:latin typeface="+mn-lt"/>
          <a:ea typeface="+mn-ea"/>
          <a:cs typeface="+mn-cs"/>
        </a:defRPr>
      </a:lvl7pPr>
      <a:lvl8pPr marL="3200440" algn="l" defTabSz="914412" rtl="0" eaLnBrk="1" latinLnBrk="0" hangingPunct="1">
        <a:defRPr sz="1800" kern="1200">
          <a:solidFill>
            <a:schemeClr val="tx1"/>
          </a:solidFill>
          <a:latin typeface="+mn-lt"/>
          <a:ea typeface="+mn-ea"/>
          <a:cs typeface="+mn-cs"/>
        </a:defRPr>
      </a:lvl8pPr>
      <a:lvl9pPr marL="3657646" algn="l" defTabSz="91441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604291-385D-40DC-8D72-75F96AF36A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D1ECAE-3894-4304-AD35-2D4AF963E0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94F670-D2DA-4DAE-8C5D-70D0C3BE05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80A3D4-E719-40B3-B2DD-7E0FBB9E63C1}" type="datetimeFigureOut">
              <a:rPr lang="en-US" smtClean="0"/>
              <a:t>10/28/2022</a:t>
            </a:fld>
            <a:endParaRPr lang="en-US"/>
          </a:p>
        </p:txBody>
      </p:sp>
      <p:sp>
        <p:nvSpPr>
          <p:cNvPr id="5" name="Footer Placeholder 4">
            <a:extLst>
              <a:ext uri="{FF2B5EF4-FFF2-40B4-BE49-F238E27FC236}">
                <a16:creationId xmlns:a16="http://schemas.microsoft.com/office/drawing/2014/main" id="{A8635CF4-608F-4A38-8DE7-4367EFAC278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8ACDDF3-0AF7-4919-A213-E2E5F7E7B5B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9DB4DD-8794-4E01-A53B-0B752C76B83B}" type="slidenum">
              <a:rPr lang="en-US" smtClean="0"/>
              <a:t>‹#›</a:t>
            </a:fld>
            <a:endParaRPr lang="en-US"/>
          </a:p>
        </p:txBody>
      </p:sp>
    </p:spTree>
    <p:extLst>
      <p:ext uri="{BB962C8B-B14F-4D97-AF65-F5344CB8AC3E}">
        <p14:creationId xmlns:p14="http://schemas.microsoft.com/office/powerpoint/2010/main" val="4071062554"/>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6" r:id="rId6"/>
    <p:sldLayoutId id="2147484467" r:id="rId7"/>
    <p:sldLayoutId id="2147484468" r:id="rId8"/>
    <p:sldLayoutId id="2147484469" r:id="rId9"/>
    <p:sldLayoutId id="2147484470" r:id="rId10"/>
    <p:sldLayoutId id="2147484471" r:id="rId11"/>
    <p:sldLayoutId id="2147484472" r:id="rId12"/>
    <p:sldLayoutId id="2147484473" r:id="rId13"/>
    <p:sldLayoutId id="2147484474" r:id="rId14"/>
    <p:sldLayoutId id="2147484475" r:id="rId15"/>
    <p:sldLayoutId id="2147484476" r:id="rId16"/>
    <p:sldLayoutId id="2147484477" r:id="rId17"/>
    <p:sldLayoutId id="2147484478" r:id="rId18"/>
    <p:sldLayoutId id="2147484479"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5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21.xml"/><Relationship Id="rId4" Type="http://schemas.openxmlformats.org/officeDocument/2006/relationships/image" Target="../media/image7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8" Type="http://schemas.openxmlformats.org/officeDocument/2006/relationships/hyperlink" Target="https://customers.microsoft.com/story/740195-biosense-webster-healthcare-azure" TargetMode="External"/><Relationship Id="rId13" Type="http://schemas.openxmlformats.org/officeDocument/2006/relationships/hyperlink" Target="https://customers.microsoft.com/en-us/story/bentley-partner-professional-services-azure" TargetMode="External"/><Relationship Id="rId3" Type="http://schemas.openxmlformats.org/officeDocument/2006/relationships/hyperlink" Target="https://customers.microsoft.com/story/784791-mercedes-benz-r-and-d-creates-container-driven-cars-powered-by-microsoft-azure" TargetMode="External"/><Relationship Id="rId7" Type="http://schemas.openxmlformats.org/officeDocument/2006/relationships/hyperlink" Target="https://customers.microsoft.com/en-us/story/asos-retail-and-consumer-goods-azure" TargetMode="External"/><Relationship Id="rId12" Type="http://schemas.openxmlformats.org/officeDocument/2006/relationships/hyperlink" Target="https://microsoft.sharepoint.com/sites/infopedia/pages/layouts/kcdoc.aspx?k=g01kc-1-38652" TargetMode="External"/><Relationship Id="rId2" Type="http://schemas.openxmlformats.org/officeDocument/2006/relationships/hyperlink" Target="https://customers.microsoft.com/story/775244-teijin-chemicals-azure-japan" TargetMode="External"/><Relationship Id="rId1" Type="http://schemas.openxmlformats.org/officeDocument/2006/relationships/slideLayout" Target="../slideLayouts/slideLayout109.xml"/><Relationship Id="rId6" Type="http://schemas.openxmlformats.org/officeDocument/2006/relationships/hyperlink" Target="https://customers.microsoft.com/en-us/story/sitepro-oilandgas-azure" TargetMode="External"/><Relationship Id="rId11" Type="http://schemas.openxmlformats.org/officeDocument/2006/relationships/hyperlink" Target="https://customers.microsoft.com/story/787157-chipotle-retailers-azure" TargetMode="External"/><Relationship Id="rId5" Type="http://schemas.openxmlformats.org/officeDocument/2006/relationships/hyperlink" Target="https://customers.microsoft.com/en-us/story/exxonmobil-mining-oil-gas-azure" TargetMode="External"/><Relationship Id="rId10" Type="http://schemas.openxmlformats.org/officeDocument/2006/relationships/hyperlink" Target="https://customers.microsoft.com/en-us/story/jet-com-powers-innovative-e-commerce-engine-on-azure-in-less-than-12-months" TargetMode="External"/><Relationship Id="rId4" Type="http://schemas.openxmlformats.org/officeDocument/2006/relationships/hyperlink" Target="https://azure.microsoft.com/blog/johnson-controls-tackles-a-15b-building-industry-problem-with-azure-cosmos-db/" TargetMode="External"/><Relationship Id="rId9" Type="http://schemas.openxmlformats.org/officeDocument/2006/relationships/hyperlink" Target="https://customers.microsoft.com/story/785992-purefacts-bankingandcapitalmarkets-azure-canada" TargetMode="External"/><Relationship Id="rId14" Type="http://schemas.openxmlformats.org/officeDocument/2006/relationships/hyperlink" Target="https://customers.microsoft.com/en-us/story/symantec-professionalservices-azurecosmosdb"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github.com/cjoakim/azure-cosmosdb-iot" TargetMode="External"/><Relationship Id="rId3" Type="http://schemas.openxmlformats.org/officeDocument/2006/relationships/image" Target="../media/image82.png"/><Relationship Id="rId7" Type="http://schemas.openxmlformats.org/officeDocument/2006/relationships/hyperlink" Target="http://www.aka.ms/azurecosmosdbbom" TargetMode="External"/><Relationship Id="rId2" Type="http://schemas.openxmlformats.org/officeDocument/2006/relationships/notesSlide" Target="../notesSlides/notesSlide15.xml"/><Relationship Id="rId1" Type="http://schemas.openxmlformats.org/officeDocument/2006/relationships/slideLayout" Target="../slideLayouts/slideLayout138.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2.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Layout" Target="../slideLayouts/slideLayout462.xml"/></Relationships>
</file>

<file path=ppt/slides/_rels/slide20.xml.rels><?xml version="1.0" encoding="UTF-8" standalone="yes"?>
<Relationships xmlns="http://schemas.openxmlformats.org/package/2006/relationships"><Relationship Id="rId8" Type="http://schemas.openxmlformats.org/officeDocument/2006/relationships/image" Target="../media/image89.jpg"/><Relationship Id="rId3" Type="http://schemas.openxmlformats.org/officeDocument/2006/relationships/image" Target="../media/image86.png"/><Relationship Id="rId7" Type="http://schemas.openxmlformats.org/officeDocument/2006/relationships/image" Target="../media/image88.png"/><Relationship Id="rId2" Type="http://schemas.openxmlformats.org/officeDocument/2006/relationships/notesSlide" Target="../notesSlides/notesSlide16.xml"/><Relationship Id="rId1" Type="http://schemas.openxmlformats.org/officeDocument/2006/relationships/slideLayout" Target="../slideLayouts/slideLayout120.xml"/><Relationship Id="rId6" Type="http://schemas.openxmlformats.org/officeDocument/2006/relationships/image" Target="../media/image87.png"/><Relationship Id="rId5" Type="http://schemas.openxmlformats.org/officeDocument/2006/relationships/hyperlink" Target="https://github.com/Azure-Samples/azure-cosmos-db-change-feed-dotnet-retail-sample" TargetMode="External"/><Relationship Id="rId4" Type="http://schemas.openxmlformats.org/officeDocument/2006/relationships/hyperlink" Target="http://www.aka.ms/azurecosmosdbb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7.xml"/><Relationship Id="rId1" Type="http://schemas.openxmlformats.org/officeDocument/2006/relationships/slideLayout" Target="../slideLayouts/slideLayout120.xml"/><Relationship Id="rId4" Type="http://schemas.openxmlformats.org/officeDocument/2006/relationships/image" Target="../media/image9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0.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10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3.xml"/><Relationship Id="rId1" Type="http://schemas.openxmlformats.org/officeDocument/2006/relationships/tags" Target="../tags/tag3.xml"/><Relationship Id="rId6" Type="http://schemas.openxmlformats.org/officeDocument/2006/relationships/image" Target="../media/image95.emf"/><Relationship Id="rId5" Type="http://schemas.openxmlformats.org/officeDocument/2006/relationships/image" Target="../media/image94.emf"/><Relationship Id="rId4" Type="http://schemas.openxmlformats.org/officeDocument/2006/relationships/image" Target="../media/image93.emf"/></Relationships>
</file>

<file path=ppt/slides/_rels/slide2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2.xml"/><Relationship Id="rId1" Type="http://schemas.openxmlformats.org/officeDocument/2006/relationships/slideLayout" Target="../slideLayouts/slideLayout5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3.xml.rels><?xml version="1.0" encoding="UTF-8" standalone="yes"?>
<Relationships xmlns="http://schemas.openxmlformats.org/package/2006/relationships"><Relationship Id="rId3" Type="http://schemas.openxmlformats.org/officeDocument/2006/relationships/hyperlink" Target="https://www.freepngimg.com/png/69765-logo-twitter-computer-business-icons-free-frame" TargetMode="External"/><Relationship Id="rId2" Type="http://schemas.openxmlformats.org/officeDocument/2006/relationships/image" Target="../media/image74.png"/><Relationship Id="rId1" Type="http://schemas.openxmlformats.org/officeDocument/2006/relationships/slideLayout" Target="../slideLayouts/slideLayout46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3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4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3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9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9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9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0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0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54.xml"/></Relationships>
</file>

<file path=ppt/slides/_rels/slide4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9.xml"/><Relationship Id="rId1" Type="http://schemas.openxmlformats.org/officeDocument/2006/relationships/slideLayout" Target="../slideLayouts/slideLayout354.xml"/></Relationships>
</file>

<file path=ppt/slides/_rels/slide4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0.xml"/><Relationship Id="rId1" Type="http://schemas.openxmlformats.org/officeDocument/2006/relationships/slideLayout" Target="../slideLayouts/slideLayout354.xml"/></Relationships>
</file>

<file path=ppt/slides/_rels/slide49.xml.rels><?xml version="1.0" encoding="UTF-8" standalone="yes"?>
<Relationships xmlns="http://schemas.openxmlformats.org/package/2006/relationships"><Relationship Id="rId8" Type="http://schemas.openxmlformats.org/officeDocument/2006/relationships/hyperlink" Target="https://azure.microsoft.com/pricing/details/cosmos-db/" TargetMode="External"/><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41.xml"/><Relationship Id="rId1" Type="http://schemas.openxmlformats.org/officeDocument/2006/relationships/slideLayout" Target="../slideLayouts/slideLayout312.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5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hyperlink" Target="https://devblogs.microsoft.com/cosmosdb/wp-content/uploads/sites/52/2022/05/burst-capacity.png" TargetMode="External"/><Relationship Id="rId1" Type="http://schemas.openxmlformats.org/officeDocument/2006/relationships/slideLayout" Target="../slideLayouts/slideLayout261.xml"/></Relationships>
</file>

<file path=ppt/slides/_rels/slide5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6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8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44.xml"/><Relationship Id="rId1" Type="http://schemas.openxmlformats.org/officeDocument/2006/relationships/slideLayout" Target="../slideLayouts/slideLayout26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svg"/><Relationship Id="rId9" Type="http://schemas.openxmlformats.org/officeDocument/2006/relationships/image" Target="../media/image113.svg"/></Relationships>
</file>

<file path=ppt/slides/_rels/slide56.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slideLayout" Target="../slideLayouts/slideLayout258.xml"/><Relationship Id="rId1" Type="http://schemas.openxmlformats.org/officeDocument/2006/relationships/themeOverride" Target="../theme/themeOverride1.xml"/></Relationships>
</file>

<file path=ppt/slides/_rels/slide57.xml.rels><?xml version="1.0" encoding="UTF-8" standalone="yes"?>
<Relationships xmlns="http://schemas.openxmlformats.org/package/2006/relationships"><Relationship Id="rId8" Type="http://schemas.openxmlformats.org/officeDocument/2006/relationships/image" Target="../media/image120.png"/><Relationship Id="rId13" Type="http://schemas.microsoft.com/office/2007/relationships/hdphoto" Target="../media/hdphoto2.wdp"/><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image" Target="../media/image123.png"/><Relationship Id="rId2" Type="http://schemas.openxmlformats.org/officeDocument/2006/relationships/notesSlide" Target="../notesSlides/notesSlide45.xml"/><Relationship Id="rId1" Type="http://schemas.openxmlformats.org/officeDocument/2006/relationships/slideLayout" Target="../slideLayouts/slideLayout268.xml"/><Relationship Id="rId6" Type="http://schemas.openxmlformats.org/officeDocument/2006/relationships/image" Target="../media/image118.svg"/><Relationship Id="rId11" Type="http://schemas.microsoft.com/office/2007/relationships/hdphoto" Target="../media/hdphoto1.wdp"/><Relationship Id="rId5" Type="http://schemas.openxmlformats.org/officeDocument/2006/relationships/image" Target="../media/image117.png"/><Relationship Id="rId15" Type="http://schemas.microsoft.com/office/2007/relationships/hdphoto" Target="../media/hdphoto3.wdp"/><Relationship Id="rId10" Type="http://schemas.openxmlformats.org/officeDocument/2006/relationships/image" Target="../media/image122.png"/><Relationship Id="rId4" Type="http://schemas.openxmlformats.org/officeDocument/2006/relationships/image" Target="../media/image116.svg"/><Relationship Id="rId9" Type="http://schemas.openxmlformats.org/officeDocument/2006/relationships/image" Target="../media/image121.svg"/><Relationship Id="rId14" Type="http://schemas.openxmlformats.org/officeDocument/2006/relationships/image" Target="../media/image124.png"/></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6.xml"/><Relationship Id="rId1" Type="http://schemas.openxmlformats.org/officeDocument/2006/relationships/slideLayout" Target="../slideLayouts/slideLayout6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9.xml.rels><?xml version="1.0" encoding="UTF-8" standalone="yes"?>
<Relationships xmlns="http://schemas.openxmlformats.org/package/2006/relationships"><Relationship Id="rId8" Type="http://schemas.openxmlformats.org/officeDocument/2006/relationships/hyperlink" Target="https://www.youtube.com/azurecosmosdb" TargetMode="External"/><Relationship Id="rId3" Type="http://schemas.openxmlformats.org/officeDocument/2006/relationships/hyperlink" Target="https://gotcosmos.com/partners" TargetMode="External"/><Relationship Id="rId7" Type="http://schemas.openxmlformats.org/officeDocument/2006/relationships/hyperlink" Target="https://docs.microsoft.com/en-us/azure/cosmos-db/" TargetMode="External"/><Relationship Id="rId2" Type="http://schemas.openxmlformats.org/officeDocument/2006/relationships/hyperlink" Target="mailto:cosmospartnersuccess@microsoft.com" TargetMode="External"/><Relationship Id="rId1" Type="http://schemas.openxmlformats.org/officeDocument/2006/relationships/slideLayout" Target="../slideLayouts/slideLayout16.xml"/><Relationship Id="rId6" Type="http://schemas.openxmlformats.org/officeDocument/2006/relationships/hyperlink" Target="https://devblogs.microsoft.com/cosmosdb/" TargetMode="External"/><Relationship Id="rId11" Type="http://schemas.openxmlformats.org/officeDocument/2006/relationships/hyperlink" Target="https://channel9.msdn.com/" TargetMode="External"/><Relationship Id="rId5" Type="http://schemas.openxmlformats.org/officeDocument/2006/relationships/hyperlink" Target="https://azurecosmosdb.github.io/CosmosDBWorkshops/#slides" TargetMode="External"/><Relationship Id="rId10" Type="http://schemas.openxmlformats.org/officeDocument/2006/relationships/hyperlink" Target="https://microsoft.sharepoint.com/_layouts/15/search.aspx/?q=pluralsight" TargetMode="External"/><Relationship Id="rId4" Type="http://schemas.openxmlformats.org/officeDocument/2006/relationships/hyperlink" Target="https://stackoverflow.com/search?q=cosmos+db" TargetMode="External"/><Relationship Id="rId9" Type="http://schemas.openxmlformats.org/officeDocument/2006/relationships/hyperlink" Target="https://docs.microsoft.com/en-us/learn/paths/work-with-nosql-data-in-azure-cosmos-db/"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image" Target="../media/image126.png"/><Relationship Id="rId1" Type="http://schemas.openxmlformats.org/officeDocument/2006/relationships/slideLayout" Target="../slideLayouts/slideLayout19.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01.xml"/><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svg"/><Relationship Id="rId2" Type="http://schemas.openxmlformats.org/officeDocument/2006/relationships/notesSlide" Target="../notesSlides/notesSlide5.xml"/><Relationship Id="rId1" Type="http://schemas.openxmlformats.org/officeDocument/2006/relationships/slideLayout" Target="../slideLayouts/slideLayout216.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 Id="rId9" Type="http://schemas.openxmlformats.org/officeDocument/2006/relationships/image" Target="../media/image81.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50371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27A0127E-0686-794D-9BC4-29A76883BA65}"/>
              </a:ext>
            </a:extLst>
          </p:cNvPr>
          <p:cNvSpPr/>
          <p:nvPr/>
        </p:nvSpPr>
        <p:spPr bwMode="auto">
          <a:xfrm>
            <a:off x="865" y="488"/>
            <a:ext cx="12190271" cy="193362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9B048C3-B9D4-4691-959E-5DADD95C68D9}"/>
              </a:ext>
            </a:extLst>
          </p:cNvPr>
          <p:cNvSpPr>
            <a:spLocks noGrp="1"/>
          </p:cNvSpPr>
          <p:nvPr>
            <p:ph type="title"/>
          </p:nvPr>
        </p:nvSpPr>
        <p:spPr>
          <a:xfrm>
            <a:off x="315179" y="584561"/>
            <a:ext cx="4770782" cy="553920"/>
          </a:xfrm>
        </p:spPr>
        <p:txBody>
          <a:bodyPr/>
          <a:lstStyle/>
          <a:p>
            <a:r>
              <a:rPr lang="en-US">
                <a:solidFill>
                  <a:schemeClr val="accent2"/>
                </a:solidFill>
              </a:rPr>
              <a:t>Azure Cosmos DB </a:t>
            </a:r>
          </a:p>
        </p:txBody>
      </p:sp>
      <p:sp>
        <p:nvSpPr>
          <p:cNvPr id="3" name="Text Placeholder 2">
            <a:extLst>
              <a:ext uri="{FF2B5EF4-FFF2-40B4-BE49-F238E27FC236}">
                <a16:creationId xmlns:a16="http://schemas.microsoft.com/office/drawing/2014/main" id="{83E262E4-F619-4C2C-B70F-70014EB31B88}"/>
              </a:ext>
            </a:extLst>
          </p:cNvPr>
          <p:cNvSpPr>
            <a:spLocks noGrp="1"/>
          </p:cNvSpPr>
          <p:nvPr>
            <p:ph type="body" sz="quarter" idx="10"/>
          </p:nvPr>
        </p:nvSpPr>
        <p:spPr>
          <a:xfrm>
            <a:off x="4435811" y="641812"/>
            <a:ext cx="7499961" cy="553998"/>
          </a:xfrm>
        </p:spPr>
        <p:txBody>
          <a:bodyPr/>
          <a:lstStyle/>
          <a:p>
            <a:pPr>
              <a:spcAft>
                <a:spcPts val="600"/>
              </a:spcAft>
            </a:pPr>
            <a:r>
              <a:rPr lang="en-US" sz="1800" dirty="0">
                <a:solidFill>
                  <a:schemeClr val="bg1"/>
                </a:solidFill>
              </a:rPr>
              <a:t>Develop modern apps with SLA-backed speed and availability, automatic and instant scalability, and open source APIs for many NewSQL engines </a:t>
            </a:r>
          </a:p>
        </p:txBody>
      </p:sp>
      <p:cxnSp>
        <p:nvCxnSpPr>
          <p:cNvPr id="146" name="Straight Connector 145">
            <a:extLst>
              <a:ext uri="{FF2B5EF4-FFF2-40B4-BE49-F238E27FC236}">
                <a16:creationId xmlns:a16="http://schemas.microsoft.com/office/drawing/2014/main" id="{BFACAE2E-50FD-4A1E-AF57-EDD33B016D7C}"/>
              </a:ext>
            </a:extLst>
          </p:cNvPr>
          <p:cNvCxnSpPr>
            <a:cxnSpLocks/>
          </p:cNvCxnSpPr>
          <p:nvPr/>
        </p:nvCxnSpPr>
        <p:spPr>
          <a:xfrm>
            <a:off x="6199395" y="2081240"/>
            <a:ext cx="0" cy="4646915"/>
          </a:xfrm>
          <a:prstGeom prst="line">
            <a:avLst/>
          </a:prstGeom>
          <a:noFill/>
          <a:ln w="12700" cap="flat" cmpd="sng" algn="ctr">
            <a:solidFill>
              <a:schemeClr val="accent1"/>
            </a:solidFill>
            <a:prstDash val="solid"/>
            <a:headEnd type="none"/>
            <a:tailEnd type="none"/>
          </a:ln>
          <a:effectLst/>
        </p:spPr>
      </p:cxnSp>
      <p:cxnSp>
        <p:nvCxnSpPr>
          <p:cNvPr id="147" name="Straight Connector 146">
            <a:extLst>
              <a:ext uri="{FF2B5EF4-FFF2-40B4-BE49-F238E27FC236}">
                <a16:creationId xmlns:a16="http://schemas.microsoft.com/office/drawing/2014/main" id="{797405D9-47C6-4BEC-9886-41230EC421D3}"/>
              </a:ext>
            </a:extLst>
          </p:cNvPr>
          <p:cNvCxnSpPr>
            <a:cxnSpLocks/>
          </p:cNvCxnSpPr>
          <p:nvPr/>
        </p:nvCxnSpPr>
        <p:spPr>
          <a:xfrm flipH="1">
            <a:off x="480684" y="4404698"/>
            <a:ext cx="11353151" cy="1"/>
          </a:xfrm>
          <a:prstGeom prst="line">
            <a:avLst/>
          </a:prstGeom>
          <a:noFill/>
          <a:ln w="12700" cap="flat" cmpd="sng" algn="ctr">
            <a:solidFill>
              <a:schemeClr val="accent1"/>
            </a:solidFill>
            <a:prstDash val="solid"/>
            <a:headEnd type="none"/>
            <a:tailEnd type="none"/>
          </a:ln>
          <a:effectLst/>
        </p:spPr>
      </p:cxnSp>
      <p:sp>
        <p:nvSpPr>
          <p:cNvPr id="96" name="TextBox 95">
            <a:extLst>
              <a:ext uri="{FF2B5EF4-FFF2-40B4-BE49-F238E27FC236}">
                <a16:creationId xmlns:a16="http://schemas.microsoft.com/office/drawing/2014/main" id="{4B30B899-B109-4ABC-A0C4-44931500807C}"/>
              </a:ext>
            </a:extLst>
          </p:cNvPr>
          <p:cNvSpPr txBox="1"/>
          <p:nvPr/>
        </p:nvSpPr>
        <p:spPr>
          <a:xfrm>
            <a:off x="315180" y="2319166"/>
            <a:ext cx="5290681" cy="390529"/>
          </a:xfrm>
          <a:prstGeom prst="rect">
            <a:avLst/>
          </a:prstGeom>
          <a:noFill/>
          <a:ln w="10795" cap="flat" cmpd="sng" algn="ctr">
            <a:noFill/>
            <a:prstDash val="solid"/>
            <a:headEnd type="none" w="med" len="med"/>
            <a:tailEnd type="none" w="med" len="med"/>
          </a:ln>
          <a:effectLst/>
        </p:spPr>
        <p:txBody>
          <a:bodyPr vert="horz" wrap="square" lIns="91427" tIns="91427" rIns="91427" bIns="46630"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5">
              <a:defRPr/>
            </a:pPr>
            <a:r>
              <a:rPr lang="en-US" kern="0">
                <a:solidFill>
                  <a:prstClr val="black"/>
                </a:solidFill>
              </a:rPr>
              <a:t>Guaranteed speed at any scale </a:t>
            </a:r>
          </a:p>
        </p:txBody>
      </p:sp>
      <p:grpSp>
        <p:nvGrpSpPr>
          <p:cNvPr id="97" name="Group 135">
            <a:extLst>
              <a:ext uri="{FF2B5EF4-FFF2-40B4-BE49-F238E27FC236}">
                <a16:creationId xmlns:a16="http://schemas.microsoft.com/office/drawing/2014/main" id="{3A43581F-F22B-48BC-803D-82EACE3750AC}"/>
              </a:ext>
            </a:extLst>
          </p:cNvPr>
          <p:cNvGrpSpPr>
            <a:grpSpLocks noChangeAspect="1"/>
          </p:cNvGrpSpPr>
          <p:nvPr/>
        </p:nvGrpSpPr>
        <p:grpSpPr bwMode="auto">
          <a:xfrm>
            <a:off x="1712706" y="3072590"/>
            <a:ext cx="708203" cy="587899"/>
            <a:chOff x="2204" y="1026"/>
            <a:chExt cx="312" cy="259"/>
          </a:xfrm>
        </p:grpSpPr>
        <p:sp>
          <p:nvSpPr>
            <p:cNvPr id="98" name="Freeform 136">
              <a:extLst>
                <a:ext uri="{FF2B5EF4-FFF2-40B4-BE49-F238E27FC236}">
                  <a16:creationId xmlns:a16="http://schemas.microsoft.com/office/drawing/2014/main" id="{14B09A4A-DDB4-401D-8992-5B62765E5DD1}"/>
                </a:ext>
              </a:extLst>
            </p:cNvPr>
            <p:cNvSpPr>
              <a:spLocks/>
            </p:cNvSpPr>
            <p:nvPr/>
          </p:nvSpPr>
          <p:spPr bwMode="auto">
            <a:xfrm>
              <a:off x="2516" y="11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99" name="Freeform 137">
              <a:extLst>
                <a:ext uri="{FF2B5EF4-FFF2-40B4-BE49-F238E27FC236}">
                  <a16:creationId xmlns:a16="http://schemas.microsoft.com/office/drawing/2014/main" id="{F767F37E-26F5-4F4E-A8FB-879069E552AB}"/>
                </a:ext>
              </a:extLst>
            </p:cNvPr>
            <p:cNvSpPr>
              <a:spLocks/>
            </p:cNvSpPr>
            <p:nvPr/>
          </p:nvSpPr>
          <p:spPr bwMode="auto">
            <a:xfrm>
              <a:off x="2457" y="1192"/>
              <a:ext cx="59" cy="93"/>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100" name="Freeform 138">
              <a:extLst>
                <a:ext uri="{FF2B5EF4-FFF2-40B4-BE49-F238E27FC236}">
                  <a16:creationId xmlns:a16="http://schemas.microsoft.com/office/drawing/2014/main" id="{8F6A2CE3-0DC0-405E-B2AB-0E04CFB46F1C}"/>
                </a:ext>
              </a:extLst>
            </p:cNvPr>
            <p:cNvSpPr>
              <a:spLocks/>
            </p:cNvSpPr>
            <p:nvPr/>
          </p:nvSpPr>
          <p:spPr bwMode="auto">
            <a:xfrm>
              <a:off x="2457" y="1079"/>
              <a:ext cx="59" cy="93"/>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101" name="Freeform 139">
              <a:extLst>
                <a:ext uri="{FF2B5EF4-FFF2-40B4-BE49-F238E27FC236}">
                  <a16:creationId xmlns:a16="http://schemas.microsoft.com/office/drawing/2014/main" id="{8AAB6BF2-B94E-4484-9C3D-D4F209DEFC28}"/>
                </a:ext>
              </a:extLst>
            </p:cNvPr>
            <p:cNvSpPr>
              <a:spLocks/>
            </p:cNvSpPr>
            <p:nvPr/>
          </p:nvSpPr>
          <p:spPr bwMode="auto">
            <a:xfrm>
              <a:off x="2370" y="1026"/>
              <a:ext cx="93" cy="60"/>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102" name="Freeform 140">
              <a:extLst>
                <a:ext uri="{FF2B5EF4-FFF2-40B4-BE49-F238E27FC236}">
                  <a16:creationId xmlns:a16="http://schemas.microsoft.com/office/drawing/2014/main" id="{0314BCC8-609B-40C9-A0E8-40548B556324}"/>
                </a:ext>
              </a:extLst>
            </p:cNvPr>
            <p:cNvSpPr>
              <a:spLocks/>
            </p:cNvSpPr>
            <p:nvPr/>
          </p:nvSpPr>
          <p:spPr bwMode="auto">
            <a:xfrm>
              <a:off x="2257" y="1026"/>
              <a:ext cx="93" cy="60"/>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103" name="Freeform 141">
              <a:extLst>
                <a:ext uri="{FF2B5EF4-FFF2-40B4-BE49-F238E27FC236}">
                  <a16:creationId xmlns:a16="http://schemas.microsoft.com/office/drawing/2014/main" id="{E5D50F74-352B-4ED3-B976-4817DF041C60}"/>
                </a:ext>
              </a:extLst>
            </p:cNvPr>
            <p:cNvSpPr>
              <a:spLocks/>
            </p:cNvSpPr>
            <p:nvPr/>
          </p:nvSpPr>
          <p:spPr bwMode="auto">
            <a:xfrm>
              <a:off x="2204" y="1079"/>
              <a:ext cx="59" cy="93"/>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104" name="Oval 142">
              <a:extLst>
                <a:ext uri="{FF2B5EF4-FFF2-40B4-BE49-F238E27FC236}">
                  <a16:creationId xmlns:a16="http://schemas.microsoft.com/office/drawing/2014/main" id="{281F2CA1-4107-4126-BB43-ABECCDDA8115}"/>
                </a:ext>
              </a:extLst>
            </p:cNvPr>
            <p:cNvSpPr>
              <a:spLocks noChangeArrowheads="1"/>
            </p:cNvSpPr>
            <p:nvPr/>
          </p:nvSpPr>
          <p:spPr bwMode="auto">
            <a:xfrm>
              <a:off x="2331" y="1153"/>
              <a:ext cx="58" cy="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105" name="Freeform 143">
              <a:extLst>
                <a:ext uri="{FF2B5EF4-FFF2-40B4-BE49-F238E27FC236}">
                  <a16:creationId xmlns:a16="http://schemas.microsoft.com/office/drawing/2014/main" id="{1A5BC87B-5D5C-46CD-BCB0-69DFA3FDCC03}"/>
                </a:ext>
              </a:extLst>
            </p:cNvPr>
            <p:cNvSpPr>
              <a:spLocks/>
            </p:cNvSpPr>
            <p:nvPr/>
          </p:nvSpPr>
          <p:spPr bwMode="auto">
            <a:xfrm>
              <a:off x="2345" y="1108"/>
              <a:ext cx="89" cy="88"/>
            </a:xfrm>
            <a:custGeom>
              <a:avLst/>
              <a:gdLst>
                <a:gd name="T0" fmla="*/ 21 w 89"/>
                <a:gd name="T1" fmla="*/ 88 h 88"/>
                <a:gd name="T2" fmla="*/ 0 w 89"/>
                <a:gd name="T3" fmla="*/ 68 h 88"/>
                <a:gd name="T4" fmla="*/ 68 w 89"/>
                <a:gd name="T5" fmla="*/ 0 h 88"/>
                <a:gd name="T6" fmla="*/ 89 w 89"/>
                <a:gd name="T7" fmla="*/ 21 h 88"/>
                <a:gd name="T8" fmla="*/ 21 w 89"/>
                <a:gd name="T9" fmla="*/ 88 h 88"/>
              </a:gdLst>
              <a:ahLst/>
              <a:cxnLst>
                <a:cxn ang="0">
                  <a:pos x="T0" y="T1"/>
                </a:cxn>
                <a:cxn ang="0">
                  <a:pos x="T2" y="T3"/>
                </a:cxn>
                <a:cxn ang="0">
                  <a:pos x="T4" y="T5"/>
                </a:cxn>
                <a:cxn ang="0">
                  <a:pos x="T6" y="T7"/>
                </a:cxn>
                <a:cxn ang="0">
                  <a:pos x="T8" y="T9"/>
                </a:cxn>
              </a:cxnLst>
              <a:rect l="0" t="0" r="r" b="b"/>
              <a:pathLst>
                <a:path w="89" h="88">
                  <a:moveTo>
                    <a:pt x="21" y="88"/>
                  </a:moveTo>
                  <a:lnTo>
                    <a:pt x="0" y="68"/>
                  </a:lnTo>
                  <a:lnTo>
                    <a:pt x="68" y="0"/>
                  </a:lnTo>
                  <a:lnTo>
                    <a:pt x="89" y="21"/>
                  </a:lnTo>
                  <a:lnTo>
                    <a:pt x="21" y="8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grpSp>
      <p:sp>
        <p:nvSpPr>
          <p:cNvPr id="106" name="TextBox 105">
            <a:extLst>
              <a:ext uri="{FF2B5EF4-FFF2-40B4-BE49-F238E27FC236}">
                <a16:creationId xmlns:a16="http://schemas.microsoft.com/office/drawing/2014/main" id="{27D41821-E94C-4EA5-AF95-7F7C8C1A639B}"/>
              </a:ext>
            </a:extLst>
          </p:cNvPr>
          <p:cNvSpPr txBox="1"/>
          <p:nvPr/>
        </p:nvSpPr>
        <p:spPr>
          <a:xfrm>
            <a:off x="315180" y="4644472"/>
            <a:ext cx="5410707" cy="390529"/>
          </a:xfrm>
          <a:prstGeom prst="rect">
            <a:avLst/>
          </a:prstGeom>
          <a:noFill/>
          <a:ln w="10795" cap="flat" cmpd="sng" algn="ctr">
            <a:noFill/>
            <a:prstDash val="solid"/>
            <a:headEnd type="none" w="med" len="med"/>
            <a:tailEnd type="none" w="med" len="med"/>
          </a:ln>
          <a:effectLst/>
        </p:spPr>
        <p:txBody>
          <a:bodyPr vert="horz" wrap="square" lIns="91427" tIns="91427" rIns="91427" bIns="46630"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5">
              <a:defRPr/>
            </a:pPr>
            <a:r>
              <a:rPr lang="en-US" kern="0">
                <a:solidFill>
                  <a:prstClr val="black"/>
                </a:solidFill>
              </a:rPr>
              <a:t>Simplified app development</a:t>
            </a:r>
          </a:p>
        </p:txBody>
      </p:sp>
      <p:grpSp>
        <p:nvGrpSpPr>
          <p:cNvPr id="116" name="Group 34">
            <a:extLst>
              <a:ext uri="{FF2B5EF4-FFF2-40B4-BE49-F238E27FC236}">
                <a16:creationId xmlns:a16="http://schemas.microsoft.com/office/drawing/2014/main" id="{A2026694-8F4F-4139-9B89-47836CA0220B}"/>
              </a:ext>
            </a:extLst>
          </p:cNvPr>
          <p:cNvGrpSpPr>
            <a:grpSpLocks noChangeAspect="1"/>
          </p:cNvGrpSpPr>
          <p:nvPr/>
        </p:nvGrpSpPr>
        <p:grpSpPr bwMode="auto">
          <a:xfrm>
            <a:off x="1538900" y="5337063"/>
            <a:ext cx="798293" cy="780774"/>
            <a:chOff x="2805" y="999"/>
            <a:chExt cx="319" cy="312"/>
          </a:xfrm>
        </p:grpSpPr>
        <p:sp>
          <p:nvSpPr>
            <p:cNvPr id="117" name="Freeform 35">
              <a:extLst>
                <a:ext uri="{FF2B5EF4-FFF2-40B4-BE49-F238E27FC236}">
                  <a16:creationId xmlns:a16="http://schemas.microsoft.com/office/drawing/2014/main" id="{73650A26-F0F8-4EAD-9185-E1DCCA4941F6}"/>
                </a:ext>
              </a:extLst>
            </p:cNvPr>
            <p:cNvSpPr>
              <a:spLocks noEditPoints="1"/>
            </p:cNvSpPr>
            <p:nvPr/>
          </p:nvSpPr>
          <p:spPr bwMode="auto">
            <a:xfrm>
              <a:off x="2805" y="999"/>
              <a:ext cx="319" cy="312"/>
            </a:xfrm>
            <a:custGeom>
              <a:avLst/>
              <a:gdLst>
                <a:gd name="T0" fmla="*/ 715 w 1397"/>
                <a:gd name="T1" fmla="*/ 0 h 1365"/>
                <a:gd name="T2" fmla="*/ 125 w 1397"/>
                <a:gd name="T3" fmla="*/ 341 h 1365"/>
                <a:gd name="T4" fmla="*/ 125 w 1397"/>
                <a:gd name="T5" fmla="*/ 1024 h 1365"/>
                <a:gd name="T6" fmla="*/ 715 w 1397"/>
                <a:gd name="T7" fmla="*/ 1365 h 1365"/>
                <a:gd name="T8" fmla="*/ 1397 w 1397"/>
                <a:gd name="T9" fmla="*/ 683 h 1365"/>
                <a:gd name="T10" fmla="*/ 715 w 1397"/>
                <a:gd name="T11" fmla="*/ 0 h 1365"/>
                <a:gd name="T12" fmla="*/ 714 w 1397"/>
                <a:gd name="T13" fmla="*/ 1238 h 1365"/>
                <a:gd name="T14" fmla="*/ 159 w 1397"/>
                <a:gd name="T15" fmla="*/ 683 h 1365"/>
                <a:gd name="T16" fmla="*/ 714 w 1397"/>
                <a:gd name="T17" fmla="*/ 128 h 1365"/>
                <a:gd name="T18" fmla="*/ 1269 w 1397"/>
                <a:gd name="T19" fmla="*/ 683 h 1365"/>
                <a:gd name="T20" fmla="*/ 714 w 1397"/>
                <a:gd name="T21" fmla="*/ 123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7" h="1365">
                  <a:moveTo>
                    <a:pt x="715" y="0"/>
                  </a:moveTo>
                  <a:cubicBezTo>
                    <a:pt x="465" y="0"/>
                    <a:pt x="250" y="124"/>
                    <a:pt x="125" y="341"/>
                  </a:cubicBezTo>
                  <a:cubicBezTo>
                    <a:pt x="0" y="559"/>
                    <a:pt x="0" y="807"/>
                    <a:pt x="125" y="1024"/>
                  </a:cubicBezTo>
                  <a:cubicBezTo>
                    <a:pt x="250" y="1242"/>
                    <a:pt x="465" y="1365"/>
                    <a:pt x="715" y="1365"/>
                  </a:cubicBezTo>
                  <a:cubicBezTo>
                    <a:pt x="1092" y="1365"/>
                    <a:pt x="1397" y="1060"/>
                    <a:pt x="1397" y="683"/>
                  </a:cubicBezTo>
                  <a:cubicBezTo>
                    <a:pt x="1397" y="306"/>
                    <a:pt x="1092" y="0"/>
                    <a:pt x="715" y="0"/>
                  </a:cubicBezTo>
                  <a:close/>
                  <a:moveTo>
                    <a:pt x="714" y="1238"/>
                  </a:moveTo>
                  <a:cubicBezTo>
                    <a:pt x="408" y="1238"/>
                    <a:pt x="159" y="989"/>
                    <a:pt x="159" y="683"/>
                  </a:cubicBezTo>
                  <a:cubicBezTo>
                    <a:pt x="159" y="377"/>
                    <a:pt x="408" y="128"/>
                    <a:pt x="714" y="128"/>
                  </a:cubicBezTo>
                  <a:cubicBezTo>
                    <a:pt x="1020" y="128"/>
                    <a:pt x="1269" y="377"/>
                    <a:pt x="1269" y="683"/>
                  </a:cubicBezTo>
                  <a:cubicBezTo>
                    <a:pt x="1269" y="989"/>
                    <a:pt x="1020" y="1238"/>
                    <a:pt x="714" y="123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118" name="Freeform 36">
              <a:extLst>
                <a:ext uri="{FF2B5EF4-FFF2-40B4-BE49-F238E27FC236}">
                  <a16:creationId xmlns:a16="http://schemas.microsoft.com/office/drawing/2014/main" id="{87901014-052A-442B-9A30-8733F09313EB}"/>
                </a:ext>
              </a:extLst>
            </p:cNvPr>
            <p:cNvSpPr>
              <a:spLocks noEditPoints="1"/>
            </p:cNvSpPr>
            <p:nvPr/>
          </p:nvSpPr>
          <p:spPr bwMode="auto">
            <a:xfrm>
              <a:off x="2870" y="1057"/>
              <a:ext cx="196" cy="195"/>
            </a:xfrm>
            <a:custGeom>
              <a:avLst/>
              <a:gdLst>
                <a:gd name="T0" fmla="*/ 854 w 854"/>
                <a:gd name="T1" fmla="*/ 471 h 854"/>
                <a:gd name="T2" fmla="*/ 852 w 854"/>
                <a:gd name="T3" fmla="*/ 382 h 854"/>
                <a:gd name="T4" fmla="*/ 789 w 854"/>
                <a:gd name="T5" fmla="*/ 383 h 854"/>
                <a:gd name="T6" fmla="*/ 716 w 854"/>
                <a:gd name="T7" fmla="*/ 205 h 854"/>
                <a:gd name="T8" fmla="*/ 760 w 854"/>
                <a:gd name="T9" fmla="*/ 161 h 854"/>
                <a:gd name="T10" fmla="*/ 692 w 854"/>
                <a:gd name="T11" fmla="*/ 96 h 854"/>
                <a:gd name="T12" fmla="*/ 649 w 854"/>
                <a:gd name="T13" fmla="*/ 139 h 854"/>
                <a:gd name="T14" fmla="*/ 465 w 854"/>
                <a:gd name="T15" fmla="*/ 66 h 854"/>
                <a:gd name="T16" fmla="*/ 464 w 854"/>
                <a:gd name="T17" fmla="*/ 0 h 854"/>
                <a:gd name="T18" fmla="*/ 374 w 854"/>
                <a:gd name="T19" fmla="*/ 2 h 854"/>
                <a:gd name="T20" fmla="*/ 374 w 854"/>
                <a:gd name="T21" fmla="*/ 67 h 854"/>
                <a:gd name="T22" fmla="*/ 198 w 854"/>
                <a:gd name="T23" fmla="*/ 144 h 854"/>
                <a:gd name="T24" fmla="*/ 155 w 854"/>
                <a:gd name="T25" fmla="*/ 103 h 854"/>
                <a:gd name="T26" fmla="*/ 89 w 854"/>
                <a:gd name="T27" fmla="*/ 169 h 854"/>
                <a:gd name="T28" fmla="*/ 133 w 854"/>
                <a:gd name="T29" fmla="*/ 211 h 854"/>
                <a:gd name="T30" fmla="*/ 64 w 854"/>
                <a:gd name="T31" fmla="*/ 383 h 854"/>
                <a:gd name="T32" fmla="*/ 0 w 854"/>
                <a:gd name="T33" fmla="*/ 383 h 854"/>
                <a:gd name="T34" fmla="*/ 1 w 854"/>
                <a:gd name="T35" fmla="*/ 472 h 854"/>
                <a:gd name="T36" fmla="*/ 63 w 854"/>
                <a:gd name="T37" fmla="*/ 471 h 854"/>
                <a:gd name="T38" fmla="*/ 138 w 854"/>
                <a:gd name="T39" fmla="*/ 654 h 854"/>
                <a:gd name="T40" fmla="*/ 96 w 854"/>
                <a:gd name="T41" fmla="*/ 696 h 854"/>
                <a:gd name="T42" fmla="*/ 164 w 854"/>
                <a:gd name="T43" fmla="*/ 761 h 854"/>
                <a:gd name="T44" fmla="*/ 205 w 854"/>
                <a:gd name="T45" fmla="*/ 720 h 854"/>
                <a:gd name="T46" fmla="*/ 389 w 854"/>
                <a:gd name="T47" fmla="*/ 794 h 854"/>
                <a:gd name="T48" fmla="*/ 390 w 854"/>
                <a:gd name="T49" fmla="*/ 854 h 854"/>
                <a:gd name="T50" fmla="*/ 480 w 854"/>
                <a:gd name="T51" fmla="*/ 853 h 854"/>
                <a:gd name="T52" fmla="*/ 479 w 854"/>
                <a:gd name="T53" fmla="*/ 792 h 854"/>
                <a:gd name="T54" fmla="*/ 657 w 854"/>
                <a:gd name="T55" fmla="*/ 713 h 854"/>
                <a:gd name="T56" fmla="*/ 700 w 854"/>
                <a:gd name="T57" fmla="*/ 755 h 854"/>
                <a:gd name="T58" fmla="*/ 766 w 854"/>
                <a:gd name="T59" fmla="*/ 688 h 854"/>
                <a:gd name="T60" fmla="*/ 722 w 854"/>
                <a:gd name="T61" fmla="*/ 645 h 854"/>
                <a:gd name="T62" fmla="*/ 790 w 854"/>
                <a:gd name="T63" fmla="*/ 472 h 854"/>
                <a:gd name="T64" fmla="*/ 854 w 854"/>
                <a:gd name="T65" fmla="*/ 471 h 854"/>
                <a:gd name="T66" fmla="*/ 426 w 854"/>
                <a:gd name="T67" fmla="*/ 683 h 854"/>
                <a:gd name="T68" fmla="*/ 170 w 854"/>
                <a:gd name="T69" fmla="*/ 427 h 854"/>
                <a:gd name="T70" fmla="*/ 426 w 854"/>
                <a:gd name="T71" fmla="*/ 171 h 854"/>
                <a:gd name="T72" fmla="*/ 681 w 854"/>
                <a:gd name="T73" fmla="*/ 427 h 854"/>
                <a:gd name="T74" fmla="*/ 426 w 854"/>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4" h="854">
                  <a:moveTo>
                    <a:pt x="854" y="471"/>
                  </a:moveTo>
                  <a:cubicBezTo>
                    <a:pt x="852" y="382"/>
                    <a:pt x="852" y="382"/>
                    <a:pt x="852" y="382"/>
                  </a:cubicBezTo>
                  <a:cubicBezTo>
                    <a:pt x="789" y="383"/>
                    <a:pt x="789" y="383"/>
                    <a:pt x="789" y="383"/>
                  </a:cubicBezTo>
                  <a:cubicBezTo>
                    <a:pt x="781" y="317"/>
                    <a:pt x="755" y="256"/>
                    <a:pt x="716" y="205"/>
                  </a:cubicBezTo>
                  <a:cubicBezTo>
                    <a:pt x="760" y="161"/>
                    <a:pt x="760" y="161"/>
                    <a:pt x="760" y="161"/>
                  </a:cubicBezTo>
                  <a:cubicBezTo>
                    <a:pt x="692" y="96"/>
                    <a:pt x="692" y="96"/>
                    <a:pt x="692" y="96"/>
                  </a:cubicBezTo>
                  <a:cubicBezTo>
                    <a:pt x="649" y="139"/>
                    <a:pt x="649" y="139"/>
                    <a:pt x="649" y="139"/>
                  </a:cubicBezTo>
                  <a:cubicBezTo>
                    <a:pt x="597" y="99"/>
                    <a:pt x="534" y="73"/>
                    <a:pt x="465" y="66"/>
                  </a:cubicBezTo>
                  <a:cubicBezTo>
                    <a:pt x="464" y="0"/>
                    <a:pt x="464" y="0"/>
                    <a:pt x="464" y="0"/>
                  </a:cubicBezTo>
                  <a:cubicBezTo>
                    <a:pt x="374" y="2"/>
                    <a:pt x="374" y="2"/>
                    <a:pt x="374" y="2"/>
                  </a:cubicBezTo>
                  <a:cubicBezTo>
                    <a:pt x="374" y="67"/>
                    <a:pt x="374" y="67"/>
                    <a:pt x="374" y="67"/>
                  </a:cubicBezTo>
                  <a:cubicBezTo>
                    <a:pt x="308" y="77"/>
                    <a:pt x="248" y="104"/>
                    <a:pt x="198" y="144"/>
                  </a:cubicBezTo>
                  <a:cubicBezTo>
                    <a:pt x="155" y="103"/>
                    <a:pt x="155" y="103"/>
                    <a:pt x="155" y="103"/>
                  </a:cubicBezTo>
                  <a:cubicBezTo>
                    <a:pt x="89" y="169"/>
                    <a:pt x="89" y="169"/>
                    <a:pt x="89" y="169"/>
                  </a:cubicBezTo>
                  <a:cubicBezTo>
                    <a:pt x="133" y="211"/>
                    <a:pt x="133" y="211"/>
                    <a:pt x="133" y="211"/>
                  </a:cubicBezTo>
                  <a:cubicBezTo>
                    <a:pt x="96" y="260"/>
                    <a:pt x="72" y="319"/>
                    <a:pt x="64" y="383"/>
                  </a:cubicBezTo>
                  <a:cubicBezTo>
                    <a:pt x="0" y="383"/>
                    <a:pt x="0" y="383"/>
                    <a:pt x="0" y="383"/>
                  </a:cubicBezTo>
                  <a:cubicBezTo>
                    <a:pt x="1" y="472"/>
                    <a:pt x="1" y="472"/>
                    <a:pt x="1" y="472"/>
                  </a:cubicBezTo>
                  <a:cubicBezTo>
                    <a:pt x="63" y="471"/>
                    <a:pt x="63" y="471"/>
                    <a:pt x="63" y="471"/>
                  </a:cubicBezTo>
                  <a:cubicBezTo>
                    <a:pt x="71" y="540"/>
                    <a:pt x="98" y="603"/>
                    <a:pt x="138" y="654"/>
                  </a:cubicBezTo>
                  <a:cubicBezTo>
                    <a:pt x="96" y="696"/>
                    <a:pt x="96" y="696"/>
                    <a:pt x="96" y="696"/>
                  </a:cubicBezTo>
                  <a:cubicBezTo>
                    <a:pt x="164" y="761"/>
                    <a:pt x="164" y="761"/>
                    <a:pt x="164" y="761"/>
                  </a:cubicBezTo>
                  <a:cubicBezTo>
                    <a:pt x="205" y="720"/>
                    <a:pt x="205" y="720"/>
                    <a:pt x="205" y="720"/>
                  </a:cubicBezTo>
                  <a:cubicBezTo>
                    <a:pt x="257" y="760"/>
                    <a:pt x="320" y="786"/>
                    <a:pt x="389" y="794"/>
                  </a:cubicBezTo>
                  <a:cubicBezTo>
                    <a:pt x="390" y="854"/>
                    <a:pt x="390" y="854"/>
                    <a:pt x="390" y="854"/>
                  </a:cubicBezTo>
                  <a:cubicBezTo>
                    <a:pt x="480" y="853"/>
                    <a:pt x="480" y="853"/>
                    <a:pt x="480" y="853"/>
                  </a:cubicBezTo>
                  <a:cubicBezTo>
                    <a:pt x="479" y="792"/>
                    <a:pt x="479" y="792"/>
                    <a:pt x="479" y="792"/>
                  </a:cubicBezTo>
                  <a:cubicBezTo>
                    <a:pt x="546" y="782"/>
                    <a:pt x="607" y="754"/>
                    <a:pt x="657" y="713"/>
                  </a:cubicBezTo>
                  <a:cubicBezTo>
                    <a:pt x="700" y="755"/>
                    <a:pt x="700" y="755"/>
                    <a:pt x="700" y="755"/>
                  </a:cubicBezTo>
                  <a:cubicBezTo>
                    <a:pt x="766" y="688"/>
                    <a:pt x="766" y="688"/>
                    <a:pt x="766" y="688"/>
                  </a:cubicBezTo>
                  <a:cubicBezTo>
                    <a:pt x="722" y="645"/>
                    <a:pt x="722" y="645"/>
                    <a:pt x="722" y="645"/>
                  </a:cubicBezTo>
                  <a:cubicBezTo>
                    <a:pt x="758" y="596"/>
                    <a:pt x="782" y="536"/>
                    <a:pt x="790" y="472"/>
                  </a:cubicBezTo>
                  <a:lnTo>
                    <a:pt x="854" y="471"/>
                  </a:lnTo>
                  <a:close/>
                  <a:moveTo>
                    <a:pt x="426" y="683"/>
                  </a:moveTo>
                  <a:cubicBezTo>
                    <a:pt x="284" y="683"/>
                    <a:pt x="170" y="568"/>
                    <a:pt x="170" y="427"/>
                  </a:cubicBezTo>
                  <a:cubicBezTo>
                    <a:pt x="170" y="286"/>
                    <a:pt x="284" y="171"/>
                    <a:pt x="426" y="171"/>
                  </a:cubicBezTo>
                  <a:cubicBezTo>
                    <a:pt x="567" y="171"/>
                    <a:pt x="681" y="286"/>
                    <a:pt x="681" y="427"/>
                  </a:cubicBezTo>
                  <a:cubicBezTo>
                    <a:pt x="681" y="568"/>
                    <a:pt x="567" y="683"/>
                    <a:pt x="426" y="6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grpSp>
      <p:sp>
        <p:nvSpPr>
          <p:cNvPr id="119" name="TextBox 118">
            <a:extLst>
              <a:ext uri="{FF2B5EF4-FFF2-40B4-BE49-F238E27FC236}">
                <a16:creationId xmlns:a16="http://schemas.microsoft.com/office/drawing/2014/main" id="{634C57F4-FE0B-45F5-8772-F5EC6EE66138}"/>
              </a:ext>
            </a:extLst>
          </p:cNvPr>
          <p:cNvSpPr txBox="1"/>
          <p:nvPr/>
        </p:nvSpPr>
        <p:spPr>
          <a:xfrm>
            <a:off x="6166260" y="2285557"/>
            <a:ext cx="5410059" cy="390529"/>
          </a:xfrm>
          <a:prstGeom prst="rect">
            <a:avLst/>
          </a:prstGeom>
          <a:noFill/>
          <a:ln w="10795" cap="flat" cmpd="sng" algn="ctr">
            <a:noFill/>
            <a:prstDash val="solid"/>
            <a:headEnd type="none" w="med" len="med"/>
            <a:tailEnd type="none" w="med" len="med"/>
          </a:ln>
          <a:effectLst/>
        </p:spPr>
        <p:txBody>
          <a:bodyPr vert="horz" wrap="square" lIns="91427" tIns="91427" rIns="91427" bIns="46630"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5">
              <a:defRPr/>
            </a:pPr>
            <a:r>
              <a:rPr lang="en-US" kern="0">
                <a:solidFill>
                  <a:prstClr val="black"/>
                </a:solidFill>
              </a:rPr>
              <a:t>Mission-critical ready</a:t>
            </a:r>
          </a:p>
        </p:txBody>
      </p:sp>
      <p:grpSp>
        <p:nvGrpSpPr>
          <p:cNvPr id="12" name="Group 11">
            <a:extLst>
              <a:ext uri="{FF2B5EF4-FFF2-40B4-BE49-F238E27FC236}">
                <a16:creationId xmlns:a16="http://schemas.microsoft.com/office/drawing/2014/main" id="{9084F412-E8EF-4DC3-9F31-1185C7BCD89C}"/>
              </a:ext>
            </a:extLst>
          </p:cNvPr>
          <p:cNvGrpSpPr/>
          <p:nvPr/>
        </p:nvGrpSpPr>
        <p:grpSpPr>
          <a:xfrm>
            <a:off x="7306841" y="3124032"/>
            <a:ext cx="577348" cy="841740"/>
            <a:chOff x="7074542" y="3123988"/>
            <a:chExt cx="577430" cy="841860"/>
          </a:xfrm>
        </p:grpSpPr>
        <p:sp>
          <p:nvSpPr>
            <p:cNvPr id="120" name="Rectangle 127">
              <a:extLst>
                <a:ext uri="{FF2B5EF4-FFF2-40B4-BE49-F238E27FC236}">
                  <a16:creationId xmlns:a16="http://schemas.microsoft.com/office/drawing/2014/main" id="{934B6C77-0BA5-46DF-8ACA-DB5E8BE63EFD}"/>
                </a:ext>
              </a:extLst>
            </p:cNvPr>
            <p:cNvSpPr>
              <a:spLocks noChangeArrowheads="1"/>
            </p:cNvSpPr>
            <p:nvPr/>
          </p:nvSpPr>
          <p:spPr bwMode="auto">
            <a:xfrm>
              <a:off x="7074542" y="3123988"/>
              <a:ext cx="577430" cy="841860"/>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nvGrpSpPr>
            <p:cNvPr id="121" name="Group 120">
              <a:extLst>
                <a:ext uri="{FF2B5EF4-FFF2-40B4-BE49-F238E27FC236}">
                  <a16:creationId xmlns:a16="http://schemas.microsoft.com/office/drawing/2014/main" id="{2768ACEE-7A40-4B40-9316-255421E7BD16}"/>
                </a:ext>
              </a:extLst>
            </p:cNvPr>
            <p:cNvGrpSpPr/>
            <p:nvPr/>
          </p:nvGrpSpPr>
          <p:grpSpPr>
            <a:xfrm>
              <a:off x="7355275" y="3173620"/>
              <a:ext cx="237448" cy="202500"/>
              <a:chOff x="7490753" y="3627299"/>
              <a:chExt cx="237448" cy="202500"/>
            </a:xfrm>
          </p:grpSpPr>
          <p:sp>
            <p:nvSpPr>
              <p:cNvPr id="122" name="Rectangle 128">
                <a:extLst>
                  <a:ext uri="{FF2B5EF4-FFF2-40B4-BE49-F238E27FC236}">
                    <a16:creationId xmlns:a16="http://schemas.microsoft.com/office/drawing/2014/main" id="{E3F29193-5FA1-4D0A-93D4-9DC7D129B0FA}"/>
                  </a:ext>
                </a:extLst>
              </p:cNvPr>
              <p:cNvSpPr>
                <a:spLocks noChangeArrowheads="1"/>
              </p:cNvSpPr>
              <p:nvPr/>
            </p:nvSpPr>
            <p:spPr bwMode="auto">
              <a:xfrm>
                <a:off x="7517398" y="3751548"/>
                <a:ext cx="113327" cy="7825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23" name="Freeform 133">
                <a:extLst>
                  <a:ext uri="{FF2B5EF4-FFF2-40B4-BE49-F238E27FC236}">
                    <a16:creationId xmlns:a16="http://schemas.microsoft.com/office/drawing/2014/main" id="{925FF7A6-1F9E-49BE-B442-C24B2B88222A}"/>
                  </a:ext>
                </a:extLst>
              </p:cNvPr>
              <p:cNvSpPr>
                <a:spLocks/>
              </p:cNvSpPr>
              <p:nvPr/>
            </p:nvSpPr>
            <p:spPr bwMode="auto">
              <a:xfrm>
                <a:off x="7550115" y="3627299"/>
                <a:ext cx="178086" cy="178086"/>
              </a:xfrm>
              <a:custGeom>
                <a:avLst/>
                <a:gdLst>
                  <a:gd name="T0" fmla="*/ 0 w 66"/>
                  <a:gd name="T1" fmla="*/ 56 h 66"/>
                  <a:gd name="T2" fmla="*/ 10 w 66"/>
                  <a:gd name="T3" fmla="*/ 66 h 66"/>
                  <a:gd name="T4" fmla="*/ 66 w 66"/>
                  <a:gd name="T5" fmla="*/ 10 h 66"/>
                  <a:gd name="T6" fmla="*/ 56 w 66"/>
                  <a:gd name="T7" fmla="*/ 0 h 66"/>
                  <a:gd name="T8" fmla="*/ 0 w 66"/>
                  <a:gd name="T9" fmla="*/ 56 h 66"/>
                </a:gdLst>
                <a:ahLst/>
                <a:cxnLst>
                  <a:cxn ang="0">
                    <a:pos x="T0" y="T1"/>
                  </a:cxn>
                  <a:cxn ang="0">
                    <a:pos x="T2" y="T3"/>
                  </a:cxn>
                  <a:cxn ang="0">
                    <a:pos x="T4" y="T5"/>
                  </a:cxn>
                  <a:cxn ang="0">
                    <a:pos x="T6" y="T7"/>
                  </a:cxn>
                  <a:cxn ang="0">
                    <a:pos x="T8" y="T9"/>
                  </a:cxn>
                </a:cxnLst>
                <a:rect l="0" t="0" r="r" b="b"/>
                <a:pathLst>
                  <a:path w="66" h="66">
                    <a:moveTo>
                      <a:pt x="0" y="56"/>
                    </a:moveTo>
                    <a:lnTo>
                      <a:pt x="10" y="66"/>
                    </a:lnTo>
                    <a:lnTo>
                      <a:pt x="66" y="10"/>
                    </a:lnTo>
                    <a:lnTo>
                      <a:pt x="56" y="0"/>
                    </a:lnTo>
                    <a:lnTo>
                      <a:pt x="0" y="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24" name="Freeform 134">
                <a:extLst>
                  <a:ext uri="{FF2B5EF4-FFF2-40B4-BE49-F238E27FC236}">
                    <a16:creationId xmlns:a16="http://schemas.microsoft.com/office/drawing/2014/main" id="{F6D9D298-D644-4675-8A05-A17771732446}"/>
                  </a:ext>
                </a:extLst>
              </p:cNvPr>
              <p:cNvSpPr>
                <a:spLocks/>
              </p:cNvSpPr>
              <p:nvPr/>
            </p:nvSpPr>
            <p:spPr bwMode="auto">
              <a:xfrm>
                <a:off x="7490753" y="3692057"/>
                <a:ext cx="113327" cy="113327"/>
              </a:xfrm>
              <a:custGeom>
                <a:avLst/>
                <a:gdLst>
                  <a:gd name="T0" fmla="*/ 32 w 42"/>
                  <a:gd name="T1" fmla="*/ 42 h 42"/>
                  <a:gd name="T2" fmla="*/ 42 w 42"/>
                  <a:gd name="T3" fmla="*/ 32 h 42"/>
                  <a:gd name="T4" fmla="*/ 10 w 42"/>
                  <a:gd name="T5" fmla="*/ 0 h 42"/>
                  <a:gd name="T6" fmla="*/ 0 w 42"/>
                  <a:gd name="T7" fmla="*/ 10 h 42"/>
                  <a:gd name="T8" fmla="*/ 32 w 42"/>
                  <a:gd name="T9" fmla="*/ 42 h 42"/>
                </a:gdLst>
                <a:ahLst/>
                <a:cxnLst>
                  <a:cxn ang="0">
                    <a:pos x="T0" y="T1"/>
                  </a:cxn>
                  <a:cxn ang="0">
                    <a:pos x="T2" y="T3"/>
                  </a:cxn>
                  <a:cxn ang="0">
                    <a:pos x="T4" y="T5"/>
                  </a:cxn>
                  <a:cxn ang="0">
                    <a:pos x="T6" y="T7"/>
                  </a:cxn>
                  <a:cxn ang="0">
                    <a:pos x="T8" y="T9"/>
                  </a:cxn>
                </a:cxnLst>
                <a:rect l="0" t="0" r="r" b="b"/>
                <a:pathLst>
                  <a:path w="42" h="42">
                    <a:moveTo>
                      <a:pt x="32" y="42"/>
                    </a:moveTo>
                    <a:lnTo>
                      <a:pt x="42" y="32"/>
                    </a:lnTo>
                    <a:lnTo>
                      <a:pt x="10" y="0"/>
                    </a:lnTo>
                    <a:lnTo>
                      <a:pt x="0" y="10"/>
                    </a:lnTo>
                    <a:lnTo>
                      <a:pt x="32" y="4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grpSp>
          <p:nvGrpSpPr>
            <p:cNvPr id="125" name="Group 124">
              <a:extLst>
                <a:ext uri="{FF2B5EF4-FFF2-40B4-BE49-F238E27FC236}">
                  <a16:creationId xmlns:a16="http://schemas.microsoft.com/office/drawing/2014/main" id="{8B87BC2C-E55D-4179-A2E1-4AAEE5DE0911}"/>
                </a:ext>
              </a:extLst>
            </p:cNvPr>
            <p:cNvGrpSpPr/>
            <p:nvPr/>
          </p:nvGrpSpPr>
          <p:grpSpPr>
            <a:xfrm>
              <a:off x="7348754" y="3434616"/>
              <a:ext cx="237448" cy="202500"/>
              <a:chOff x="7490753" y="3627299"/>
              <a:chExt cx="237448" cy="202500"/>
            </a:xfrm>
          </p:grpSpPr>
          <p:sp>
            <p:nvSpPr>
              <p:cNvPr id="126" name="Rectangle 128">
                <a:extLst>
                  <a:ext uri="{FF2B5EF4-FFF2-40B4-BE49-F238E27FC236}">
                    <a16:creationId xmlns:a16="http://schemas.microsoft.com/office/drawing/2014/main" id="{5A720C19-CF4E-4AF1-8444-F6154B86B9D3}"/>
                  </a:ext>
                </a:extLst>
              </p:cNvPr>
              <p:cNvSpPr>
                <a:spLocks noChangeArrowheads="1"/>
              </p:cNvSpPr>
              <p:nvPr/>
            </p:nvSpPr>
            <p:spPr bwMode="auto">
              <a:xfrm>
                <a:off x="7523919" y="3751548"/>
                <a:ext cx="113327" cy="7825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27" name="Freeform 133">
                <a:extLst>
                  <a:ext uri="{FF2B5EF4-FFF2-40B4-BE49-F238E27FC236}">
                    <a16:creationId xmlns:a16="http://schemas.microsoft.com/office/drawing/2014/main" id="{9F1DAA0A-EA6C-41AA-8990-04EB1F5EAB65}"/>
                  </a:ext>
                </a:extLst>
              </p:cNvPr>
              <p:cNvSpPr>
                <a:spLocks/>
              </p:cNvSpPr>
              <p:nvPr/>
            </p:nvSpPr>
            <p:spPr bwMode="auto">
              <a:xfrm>
                <a:off x="7550115" y="3627299"/>
                <a:ext cx="178086" cy="178086"/>
              </a:xfrm>
              <a:custGeom>
                <a:avLst/>
                <a:gdLst>
                  <a:gd name="T0" fmla="*/ 0 w 66"/>
                  <a:gd name="T1" fmla="*/ 56 h 66"/>
                  <a:gd name="T2" fmla="*/ 10 w 66"/>
                  <a:gd name="T3" fmla="*/ 66 h 66"/>
                  <a:gd name="T4" fmla="*/ 66 w 66"/>
                  <a:gd name="T5" fmla="*/ 10 h 66"/>
                  <a:gd name="T6" fmla="*/ 56 w 66"/>
                  <a:gd name="T7" fmla="*/ 0 h 66"/>
                  <a:gd name="T8" fmla="*/ 0 w 66"/>
                  <a:gd name="T9" fmla="*/ 56 h 66"/>
                </a:gdLst>
                <a:ahLst/>
                <a:cxnLst>
                  <a:cxn ang="0">
                    <a:pos x="T0" y="T1"/>
                  </a:cxn>
                  <a:cxn ang="0">
                    <a:pos x="T2" y="T3"/>
                  </a:cxn>
                  <a:cxn ang="0">
                    <a:pos x="T4" y="T5"/>
                  </a:cxn>
                  <a:cxn ang="0">
                    <a:pos x="T6" y="T7"/>
                  </a:cxn>
                  <a:cxn ang="0">
                    <a:pos x="T8" y="T9"/>
                  </a:cxn>
                </a:cxnLst>
                <a:rect l="0" t="0" r="r" b="b"/>
                <a:pathLst>
                  <a:path w="66" h="66">
                    <a:moveTo>
                      <a:pt x="0" y="56"/>
                    </a:moveTo>
                    <a:lnTo>
                      <a:pt x="10" y="66"/>
                    </a:lnTo>
                    <a:lnTo>
                      <a:pt x="66" y="10"/>
                    </a:lnTo>
                    <a:lnTo>
                      <a:pt x="56" y="0"/>
                    </a:lnTo>
                    <a:lnTo>
                      <a:pt x="0" y="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28" name="Freeform 134">
                <a:extLst>
                  <a:ext uri="{FF2B5EF4-FFF2-40B4-BE49-F238E27FC236}">
                    <a16:creationId xmlns:a16="http://schemas.microsoft.com/office/drawing/2014/main" id="{CCBFF882-7023-4310-8C75-B42C6E0CE75B}"/>
                  </a:ext>
                </a:extLst>
              </p:cNvPr>
              <p:cNvSpPr>
                <a:spLocks/>
              </p:cNvSpPr>
              <p:nvPr/>
            </p:nvSpPr>
            <p:spPr bwMode="auto">
              <a:xfrm>
                <a:off x="7490753" y="3692057"/>
                <a:ext cx="113327" cy="113327"/>
              </a:xfrm>
              <a:custGeom>
                <a:avLst/>
                <a:gdLst>
                  <a:gd name="T0" fmla="*/ 32 w 42"/>
                  <a:gd name="T1" fmla="*/ 42 h 42"/>
                  <a:gd name="T2" fmla="*/ 42 w 42"/>
                  <a:gd name="T3" fmla="*/ 32 h 42"/>
                  <a:gd name="T4" fmla="*/ 10 w 42"/>
                  <a:gd name="T5" fmla="*/ 0 h 42"/>
                  <a:gd name="T6" fmla="*/ 0 w 42"/>
                  <a:gd name="T7" fmla="*/ 10 h 42"/>
                  <a:gd name="T8" fmla="*/ 32 w 42"/>
                  <a:gd name="T9" fmla="*/ 42 h 42"/>
                </a:gdLst>
                <a:ahLst/>
                <a:cxnLst>
                  <a:cxn ang="0">
                    <a:pos x="T0" y="T1"/>
                  </a:cxn>
                  <a:cxn ang="0">
                    <a:pos x="T2" y="T3"/>
                  </a:cxn>
                  <a:cxn ang="0">
                    <a:pos x="T4" y="T5"/>
                  </a:cxn>
                  <a:cxn ang="0">
                    <a:pos x="T6" y="T7"/>
                  </a:cxn>
                  <a:cxn ang="0">
                    <a:pos x="T8" y="T9"/>
                  </a:cxn>
                </a:cxnLst>
                <a:rect l="0" t="0" r="r" b="b"/>
                <a:pathLst>
                  <a:path w="42" h="42">
                    <a:moveTo>
                      <a:pt x="32" y="42"/>
                    </a:moveTo>
                    <a:lnTo>
                      <a:pt x="42" y="32"/>
                    </a:lnTo>
                    <a:lnTo>
                      <a:pt x="10" y="0"/>
                    </a:lnTo>
                    <a:lnTo>
                      <a:pt x="0" y="10"/>
                    </a:lnTo>
                    <a:lnTo>
                      <a:pt x="32" y="4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grpSp>
          <p:nvGrpSpPr>
            <p:cNvPr id="129" name="Group 128">
              <a:extLst>
                <a:ext uri="{FF2B5EF4-FFF2-40B4-BE49-F238E27FC236}">
                  <a16:creationId xmlns:a16="http://schemas.microsoft.com/office/drawing/2014/main" id="{39B7D19D-2391-493F-84C5-F5E82F0BF07A}"/>
                </a:ext>
              </a:extLst>
            </p:cNvPr>
            <p:cNvGrpSpPr/>
            <p:nvPr/>
          </p:nvGrpSpPr>
          <p:grpSpPr>
            <a:xfrm>
              <a:off x="7340772" y="3675119"/>
              <a:ext cx="237448" cy="202500"/>
              <a:chOff x="7490753" y="3627299"/>
              <a:chExt cx="237448" cy="202500"/>
            </a:xfrm>
          </p:grpSpPr>
          <p:sp>
            <p:nvSpPr>
              <p:cNvPr id="130" name="Rectangle 128">
                <a:extLst>
                  <a:ext uri="{FF2B5EF4-FFF2-40B4-BE49-F238E27FC236}">
                    <a16:creationId xmlns:a16="http://schemas.microsoft.com/office/drawing/2014/main" id="{131EB72A-4D39-428B-9ECB-69FD2396B203}"/>
                  </a:ext>
                </a:extLst>
              </p:cNvPr>
              <p:cNvSpPr>
                <a:spLocks noChangeArrowheads="1"/>
              </p:cNvSpPr>
              <p:nvPr/>
            </p:nvSpPr>
            <p:spPr bwMode="auto">
              <a:xfrm>
                <a:off x="7531901" y="3751548"/>
                <a:ext cx="113327" cy="7825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31" name="Freeform 133">
                <a:extLst>
                  <a:ext uri="{FF2B5EF4-FFF2-40B4-BE49-F238E27FC236}">
                    <a16:creationId xmlns:a16="http://schemas.microsoft.com/office/drawing/2014/main" id="{D3296BCE-0663-40E5-81C7-8E1748B2F757}"/>
                  </a:ext>
                </a:extLst>
              </p:cNvPr>
              <p:cNvSpPr>
                <a:spLocks/>
              </p:cNvSpPr>
              <p:nvPr/>
            </p:nvSpPr>
            <p:spPr bwMode="auto">
              <a:xfrm>
                <a:off x="7550115" y="3627299"/>
                <a:ext cx="178086" cy="178086"/>
              </a:xfrm>
              <a:custGeom>
                <a:avLst/>
                <a:gdLst>
                  <a:gd name="T0" fmla="*/ 0 w 66"/>
                  <a:gd name="T1" fmla="*/ 56 h 66"/>
                  <a:gd name="T2" fmla="*/ 10 w 66"/>
                  <a:gd name="T3" fmla="*/ 66 h 66"/>
                  <a:gd name="T4" fmla="*/ 66 w 66"/>
                  <a:gd name="T5" fmla="*/ 10 h 66"/>
                  <a:gd name="T6" fmla="*/ 56 w 66"/>
                  <a:gd name="T7" fmla="*/ 0 h 66"/>
                  <a:gd name="T8" fmla="*/ 0 w 66"/>
                  <a:gd name="T9" fmla="*/ 56 h 66"/>
                </a:gdLst>
                <a:ahLst/>
                <a:cxnLst>
                  <a:cxn ang="0">
                    <a:pos x="T0" y="T1"/>
                  </a:cxn>
                  <a:cxn ang="0">
                    <a:pos x="T2" y="T3"/>
                  </a:cxn>
                  <a:cxn ang="0">
                    <a:pos x="T4" y="T5"/>
                  </a:cxn>
                  <a:cxn ang="0">
                    <a:pos x="T6" y="T7"/>
                  </a:cxn>
                  <a:cxn ang="0">
                    <a:pos x="T8" y="T9"/>
                  </a:cxn>
                </a:cxnLst>
                <a:rect l="0" t="0" r="r" b="b"/>
                <a:pathLst>
                  <a:path w="66" h="66">
                    <a:moveTo>
                      <a:pt x="0" y="56"/>
                    </a:moveTo>
                    <a:lnTo>
                      <a:pt x="10" y="66"/>
                    </a:lnTo>
                    <a:lnTo>
                      <a:pt x="66" y="10"/>
                    </a:lnTo>
                    <a:lnTo>
                      <a:pt x="56" y="0"/>
                    </a:lnTo>
                    <a:lnTo>
                      <a:pt x="0" y="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32" name="Freeform 134">
                <a:extLst>
                  <a:ext uri="{FF2B5EF4-FFF2-40B4-BE49-F238E27FC236}">
                    <a16:creationId xmlns:a16="http://schemas.microsoft.com/office/drawing/2014/main" id="{4E6AABE9-D729-4665-953E-9EEF447A3CB2}"/>
                  </a:ext>
                </a:extLst>
              </p:cNvPr>
              <p:cNvSpPr>
                <a:spLocks/>
              </p:cNvSpPr>
              <p:nvPr/>
            </p:nvSpPr>
            <p:spPr bwMode="auto">
              <a:xfrm>
                <a:off x="7490753" y="3692057"/>
                <a:ext cx="113327" cy="113327"/>
              </a:xfrm>
              <a:custGeom>
                <a:avLst/>
                <a:gdLst>
                  <a:gd name="T0" fmla="*/ 32 w 42"/>
                  <a:gd name="T1" fmla="*/ 42 h 42"/>
                  <a:gd name="T2" fmla="*/ 42 w 42"/>
                  <a:gd name="T3" fmla="*/ 32 h 42"/>
                  <a:gd name="T4" fmla="*/ 10 w 42"/>
                  <a:gd name="T5" fmla="*/ 0 h 42"/>
                  <a:gd name="T6" fmla="*/ 0 w 42"/>
                  <a:gd name="T7" fmla="*/ 10 h 42"/>
                  <a:gd name="T8" fmla="*/ 32 w 42"/>
                  <a:gd name="T9" fmla="*/ 42 h 42"/>
                </a:gdLst>
                <a:ahLst/>
                <a:cxnLst>
                  <a:cxn ang="0">
                    <a:pos x="T0" y="T1"/>
                  </a:cxn>
                  <a:cxn ang="0">
                    <a:pos x="T2" y="T3"/>
                  </a:cxn>
                  <a:cxn ang="0">
                    <a:pos x="T4" y="T5"/>
                  </a:cxn>
                  <a:cxn ang="0">
                    <a:pos x="T6" y="T7"/>
                  </a:cxn>
                  <a:cxn ang="0">
                    <a:pos x="T8" y="T9"/>
                  </a:cxn>
                </a:cxnLst>
                <a:rect l="0" t="0" r="r" b="b"/>
                <a:pathLst>
                  <a:path w="42" h="42">
                    <a:moveTo>
                      <a:pt x="32" y="42"/>
                    </a:moveTo>
                    <a:lnTo>
                      <a:pt x="42" y="32"/>
                    </a:lnTo>
                    <a:lnTo>
                      <a:pt x="10" y="0"/>
                    </a:lnTo>
                    <a:lnTo>
                      <a:pt x="0" y="10"/>
                    </a:lnTo>
                    <a:lnTo>
                      <a:pt x="32" y="4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grpSp>
          <p:nvGrpSpPr>
            <p:cNvPr id="133" name="Group 132">
              <a:extLst>
                <a:ext uri="{FF2B5EF4-FFF2-40B4-BE49-F238E27FC236}">
                  <a16:creationId xmlns:a16="http://schemas.microsoft.com/office/drawing/2014/main" id="{0CAF0C91-53F7-4FBE-8C84-654AB940A196}"/>
                </a:ext>
              </a:extLst>
            </p:cNvPr>
            <p:cNvGrpSpPr/>
            <p:nvPr/>
          </p:nvGrpSpPr>
          <p:grpSpPr>
            <a:xfrm>
              <a:off x="7141778" y="3275873"/>
              <a:ext cx="168827" cy="614891"/>
              <a:chOff x="6494432" y="3776532"/>
              <a:chExt cx="168827" cy="694770"/>
            </a:xfrm>
            <a:solidFill>
              <a:schemeClr val="tx1"/>
            </a:solidFill>
          </p:grpSpPr>
          <p:sp>
            <p:nvSpPr>
              <p:cNvPr id="134" name="Rectangle 133">
                <a:extLst>
                  <a:ext uri="{FF2B5EF4-FFF2-40B4-BE49-F238E27FC236}">
                    <a16:creationId xmlns:a16="http://schemas.microsoft.com/office/drawing/2014/main" id="{D1387DF6-70C1-4DAB-9145-0FA55A507C93}"/>
                  </a:ext>
                </a:extLst>
              </p:cNvPr>
              <p:cNvSpPr/>
              <p:nvPr/>
            </p:nvSpPr>
            <p:spPr bwMode="auto">
              <a:xfrm>
                <a:off x="6494432" y="3776532"/>
                <a:ext cx="16450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Rectangle 134">
                <a:extLst>
                  <a:ext uri="{FF2B5EF4-FFF2-40B4-BE49-F238E27FC236}">
                    <a16:creationId xmlns:a16="http://schemas.microsoft.com/office/drawing/2014/main" id="{0542CAD8-362A-4C38-9642-10B3EF5DB61E}"/>
                  </a:ext>
                </a:extLst>
              </p:cNvPr>
              <p:cNvSpPr/>
              <p:nvPr/>
            </p:nvSpPr>
            <p:spPr bwMode="auto">
              <a:xfrm>
                <a:off x="6498389" y="3914336"/>
                <a:ext cx="16450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AA01D63F-8681-4169-B89F-69387914250B}"/>
                  </a:ext>
                </a:extLst>
              </p:cNvPr>
              <p:cNvSpPr/>
              <p:nvPr/>
            </p:nvSpPr>
            <p:spPr bwMode="auto">
              <a:xfrm>
                <a:off x="6498752" y="4042446"/>
                <a:ext cx="16450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extLst>
                  <a:ext uri="{FF2B5EF4-FFF2-40B4-BE49-F238E27FC236}">
                    <a16:creationId xmlns:a16="http://schemas.microsoft.com/office/drawing/2014/main" id="{904C1F97-9A59-4100-B44A-5700F2D3759B}"/>
                  </a:ext>
                </a:extLst>
              </p:cNvPr>
              <p:cNvSpPr/>
              <p:nvPr/>
            </p:nvSpPr>
            <p:spPr bwMode="auto">
              <a:xfrm>
                <a:off x="6498752" y="4171842"/>
                <a:ext cx="16450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extLst>
                  <a:ext uri="{FF2B5EF4-FFF2-40B4-BE49-F238E27FC236}">
                    <a16:creationId xmlns:a16="http://schemas.microsoft.com/office/drawing/2014/main" id="{0156CFE3-08B9-482C-A97D-8B1F572B90B8}"/>
                  </a:ext>
                </a:extLst>
              </p:cNvPr>
              <p:cNvSpPr/>
              <p:nvPr/>
            </p:nvSpPr>
            <p:spPr bwMode="auto">
              <a:xfrm>
                <a:off x="6498752" y="4299212"/>
                <a:ext cx="16450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Rectangle 150">
                <a:extLst>
                  <a:ext uri="{FF2B5EF4-FFF2-40B4-BE49-F238E27FC236}">
                    <a16:creationId xmlns:a16="http://schemas.microsoft.com/office/drawing/2014/main" id="{030C5658-BAA5-47E7-9F3A-6B089FDD8EB9}"/>
                  </a:ext>
                </a:extLst>
              </p:cNvPr>
              <p:cNvSpPr/>
              <p:nvPr/>
            </p:nvSpPr>
            <p:spPr bwMode="auto">
              <a:xfrm>
                <a:off x="6498389" y="4425583"/>
                <a:ext cx="164507"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52" name="TextBox 151">
            <a:extLst>
              <a:ext uri="{FF2B5EF4-FFF2-40B4-BE49-F238E27FC236}">
                <a16:creationId xmlns:a16="http://schemas.microsoft.com/office/drawing/2014/main" id="{C7DCCDB3-4CC7-4B42-91C6-0A6B1A70882D}"/>
              </a:ext>
            </a:extLst>
          </p:cNvPr>
          <p:cNvSpPr txBox="1"/>
          <p:nvPr/>
        </p:nvSpPr>
        <p:spPr>
          <a:xfrm>
            <a:off x="6411638" y="4693839"/>
            <a:ext cx="5422188" cy="390529"/>
          </a:xfrm>
          <a:prstGeom prst="rect">
            <a:avLst/>
          </a:prstGeom>
          <a:noFill/>
          <a:ln w="10795" cap="flat" cmpd="sng" algn="ctr">
            <a:noFill/>
            <a:prstDash val="solid"/>
            <a:headEnd type="none" w="med" len="med"/>
            <a:tailEnd type="none" w="med" len="med"/>
          </a:ln>
          <a:effectLst/>
        </p:spPr>
        <p:txBody>
          <a:bodyPr vert="horz" wrap="square" lIns="91427" tIns="91427" rIns="91427" bIns="46630"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5">
              <a:defRPr/>
            </a:pPr>
            <a:r>
              <a:rPr lang="en-US" kern="0">
                <a:solidFill>
                  <a:prstClr val="black"/>
                </a:solidFill>
              </a:rPr>
              <a:t>Fully managed and cost-effective</a:t>
            </a:r>
          </a:p>
        </p:txBody>
      </p:sp>
      <p:grpSp>
        <p:nvGrpSpPr>
          <p:cNvPr id="153" name="Group 84">
            <a:extLst>
              <a:ext uri="{FF2B5EF4-FFF2-40B4-BE49-F238E27FC236}">
                <a16:creationId xmlns:a16="http://schemas.microsoft.com/office/drawing/2014/main" id="{72AD0388-F272-46EF-A14C-F08260E3B50F}"/>
              </a:ext>
            </a:extLst>
          </p:cNvPr>
          <p:cNvGrpSpPr>
            <a:grpSpLocks noChangeAspect="1"/>
          </p:cNvGrpSpPr>
          <p:nvPr/>
        </p:nvGrpSpPr>
        <p:grpSpPr bwMode="auto">
          <a:xfrm>
            <a:off x="7316728" y="5275323"/>
            <a:ext cx="708203" cy="780774"/>
            <a:chOff x="5822" y="999"/>
            <a:chExt cx="283" cy="312"/>
          </a:xfrm>
        </p:grpSpPr>
        <p:sp>
          <p:nvSpPr>
            <p:cNvPr id="154" name="AutoShape 83">
              <a:extLst>
                <a:ext uri="{FF2B5EF4-FFF2-40B4-BE49-F238E27FC236}">
                  <a16:creationId xmlns:a16="http://schemas.microsoft.com/office/drawing/2014/main" id="{C9056EBE-FD37-4DEE-B79F-1B703C4EAD63}"/>
                </a:ext>
              </a:extLst>
            </p:cNvPr>
            <p:cNvSpPr>
              <a:spLocks noChangeAspect="1" noChangeArrowheads="1" noTextEdit="1"/>
            </p:cNvSpPr>
            <p:nvPr/>
          </p:nvSpPr>
          <p:spPr bwMode="auto">
            <a:xfrm>
              <a:off x="5822" y="999"/>
              <a:ext cx="283"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55" name="Rectangle 85">
              <a:extLst>
                <a:ext uri="{FF2B5EF4-FFF2-40B4-BE49-F238E27FC236}">
                  <a16:creationId xmlns:a16="http://schemas.microsoft.com/office/drawing/2014/main" id="{B9178B41-9C6F-4704-AA81-C17424451CC1}"/>
                </a:ext>
              </a:extLst>
            </p:cNvPr>
            <p:cNvSpPr>
              <a:spLocks noChangeArrowheads="1"/>
            </p:cNvSpPr>
            <p:nvPr/>
          </p:nvSpPr>
          <p:spPr bwMode="auto">
            <a:xfrm>
              <a:off x="5849" y="999"/>
              <a:ext cx="5"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56" name="Rectangle 86">
              <a:extLst>
                <a:ext uri="{FF2B5EF4-FFF2-40B4-BE49-F238E27FC236}">
                  <a16:creationId xmlns:a16="http://schemas.microsoft.com/office/drawing/2014/main" id="{B2C74815-EF5D-4FFA-A166-6C3EA608F433}"/>
                </a:ext>
              </a:extLst>
            </p:cNvPr>
            <p:cNvSpPr>
              <a:spLocks noChangeArrowheads="1"/>
            </p:cNvSpPr>
            <p:nvPr/>
          </p:nvSpPr>
          <p:spPr bwMode="auto">
            <a:xfrm>
              <a:off x="5961" y="999"/>
              <a:ext cx="5"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57" name="Rectangle 87">
              <a:extLst>
                <a:ext uri="{FF2B5EF4-FFF2-40B4-BE49-F238E27FC236}">
                  <a16:creationId xmlns:a16="http://schemas.microsoft.com/office/drawing/2014/main" id="{22AF6733-AF88-4CD1-9C7D-FB4119564999}"/>
                </a:ext>
              </a:extLst>
            </p:cNvPr>
            <p:cNvSpPr>
              <a:spLocks noChangeArrowheads="1"/>
            </p:cNvSpPr>
            <p:nvPr/>
          </p:nvSpPr>
          <p:spPr bwMode="auto">
            <a:xfrm>
              <a:off x="6073" y="999"/>
              <a:ext cx="5"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58" name="Oval 88">
              <a:extLst>
                <a:ext uri="{FF2B5EF4-FFF2-40B4-BE49-F238E27FC236}">
                  <a16:creationId xmlns:a16="http://schemas.microsoft.com/office/drawing/2014/main" id="{AD076800-556A-4AE0-BBF7-58B9A7D96440}"/>
                </a:ext>
              </a:extLst>
            </p:cNvPr>
            <p:cNvSpPr>
              <a:spLocks noChangeArrowheads="1"/>
            </p:cNvSpPr>
            <p:nvPr/>
          </p:nvSpPr>
          <p:spPr bwMode="auto">
            <a:xfrm>
              <a:off x="5822" y="1062"/>
              <a:ext cx="59" cy="5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59" name="Oval 89">
              <a:extLst>
                <a:ext uri="{FF2B5EF4-FFF2-40B4-BE49-F238E27FC236}">
                  <a16:creationId xmlns:a16="http://schemas.microsoft.com/office/drawing/2014/main" id="{F7791888-E309-41D3-8693-60A39B7E6A1F}"/>
                </a:ext>
              </a:extLst>
            </p:cNvPr>
            <p:cNvSpPr>
              <a:spLocks noChangeArrowheads="1"/>
            </p:cNvSpPr>
            <p:nvPr/>
          </p:nvSpPr>
          <p:spPr bwMode="auto">
            <a:xfrm>
              <a:off x="5934" y="1197"/>
              <a:ext cx="59"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60" name="Oval 90">
              <a:extLst>
                <a:ext uri="{FF2B5EF4-FFF2-40B4-BE49-F238E27FC236}">
                  <a16:creationId xmlns:a16="http://schemas.microsoft.com/office/drawing/2014/main" id="{350E8B3D-A65D-4ED6-877B-5D56829627AF}"/>
                </a:ext>
              </a:extLst>
            </p:cNvPr>
            <p:cNvSpPr>
              <a:spLocks noChangeArrowheads="1"/>
            </p:cNvSpPr>
            <p:nvPr/>
          </p:nvSpPr>
          <p:spPr bwMode="auto">
            <a:xfrm>
              <a:off x="6046" y="1048"/>
              <a:ext cx="59" cy="5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sp>
        <p:nvSpPr>
          <p:cNvPr id="7" name="Freeform: Shape 6">
            <a:extLst>
              <a:ext uri="{FF2B5EF4-FFF2-40B4-BE49-F238E27FC236}">
                <a16:creationId xmlns:a16="http://schemas.microsoft.com/office/drawing/2014/main" id="{92BD26D5-4D42-4FBA-988C-774A028535DF}"/>
              </a:ext>
            </a:extLst>
          </p:cNvPr>
          <p:cNvSpPr/>
          <p:nvPr/>
        </p:nvSpPr>
        <p:spPr>
          <a:xfrm>
            <a:off x="2497607" y="2763996"/>
            <a:ext cx="2900235" cy="1290582"/>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41" tIns="182854" rIns="137141" bIns="182854" numCol="1" spcCol="1270" anchor="t" anchorCtr="0">
            <a:noAutofit/>
          </a:bodyPr>
          <a:lstStyle/>
          <a:p>
            <a:pPr marL="0" lvl="1" algn="ctr" defTabSz="711064">
              <a:lnSpc>
                <a:spcPct val="90000"/>
              </a:lnSpc>
              <a:spcBef>
                <a:spcPct val="0"/>
              </a:spcBef>
              <a:spcAft>
                <a:spcPct val="15000"/>
              </a:spcAft>
              <a:defRPr/>
            </a:pPr>
            <a:r>
              <a:rPr lang="en-US" sz="1600" dirty="0">
                <a:solidFill>
                  <a:prstClr val="black"/>
                </a:solidFill>
                <a:latin typeface="Segoe UI" panose="020B0502040204020203" pitchFamily="34" charset="0"/>
                <a:cs typeface="Segoe UI" panose="020B0502040204020203" pitchFamily="34" charset="0"/>
              </a:rPr>
              <a:t>Gain unparalleled SLA-backed speed and throughput, fast global access, and instant elasticity.</a:t>
            </a:r>
          </a:p>
        </p:txBody>
      </p:sp>
      <p:sp>
        <p:nvSpPr>
          <p:cNvPr id="8" name="Freeform: Shape 10">
            <a:extLst>
              <a:ext uri="{FF2B5EF4-FFF2-40B4-BE49-F238E27FC236}">
                <a16:creationId xmlns:a16="http://schemas.microsoft.com/office/drawing/2014/main" id="{2E28AE1F-88B2-4C40-9786-BF71C8C28056}"/>
              </a:ext>
            </a:extLst>
          </p:cNvPr>
          <p:cNvSpPr/>
          <p:nvPr/>
        </p:nvSpPr>
        <p:spPr>
          <a:xfrm>
            <a:off x="2465701" y="5190678"/>
            <a:ext cx="3120627" cy="1025510"/>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41" tIns="182854" rIns="137141" bIns="182854" numCol="1" spcCol="1270" anchor="t" anchorCtr="0">
            <a:noAutofit/>
          </a:bodyPr>
          <a:lstStyle/>
          <a:p>
            <a:pPr marL="0" lvl="1" algn="ctr" defTabSz="711064">
              <a:lnSpc>
                <a:spcPct val="90000"/>
              </a:lnSpc>
              <a:spcBef>
                <a:spcPct val="0"/>
              </a:spcBef>
              <a:spcAft>
                <a:spcPct val="15000"/>
              </a:spcAft>
              <a:defRPr/>
            </a:pPr>
            <a:r>
              <a:rPr lang="en-CA" sz="1600">
                <a:solidFill>
                  <a:prstClr val="black"/>
                </a:solidFill>
                <a:latin typeface="Segoe UI" panose="020B0502040204020203" pitchFamily="34" charset="0"/>
                <a:cs typeface="Segoe UI" panose="020B0502040204020203" pitchFamily="34" charset="0"/>
              </a:rPr>
              <a:t>Build fast with </a:t>
            </a:r>
            <a:r>
              <a:rPr lang="en-US" sz="1600">
                <a:solidFill>
                  <a:prstClr val="black"/>
                </a:solidFill>
                <a:latin typeface="Segoe UI" panose="020B0502040204020203" pitchFamily="34" charset="0"/>
                <a:cs typeface="Segoe UI" panose="020B0502040204020203" pitchFamily="34" charset="0"/>
              </a:rPr>
              <a:t>open source APIs, multiple SDKs, schema-less data, and no-ETL analytics over operational data.</a:t>
            </a:r>
          </a:p>
        </p:txBody>
      </p:sp>
      <p:sp>
        <p:nvSpPr>
          <p:cNvPr id="10" name="Freeform: Shape 10">
            <a:extLst>
              <a:ext uri="{FF2B5EF4-FFF2-40B4-BE49-F238E27FC236}">
                <a16:creationId xmlns:a16="http://schemas.microsoft.com/office/drawing/2014/main" id="{CD259584-E475-46C4-919C-5EBB62D6BDE8}"/>
              </a:ext>
            </a:extLst>
          </p:cNvPr>
          <p:cNvSpPr/>
          <p:nvPr/>
        </p:nvSpPr>
        <p:spPr>
          <a:xfrm>
            <a:off x="7996480" y="2859544"/>
            <a:ext cx="3132856" cy="774510"/>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41" tIns="182854" rIns="137141" bIns="182854" numCol="1" spcCol="1270" anchor="t" anchorCtr="0">
            <a:noAutofit/>
          </a:bodyPr>
          <a:lstStyle/>
          <a:p>
            <a:pPr marL="0" lvl="1" algn="ctr" defTabSz="711064">
              <a:lnSpc>
                <a:spcPct val="90000"/>
              </a:lnSpc>
              <a:spcBef>
                <a:spcPct val="0"/>
              </a:spcBef>
              <a:spcAft>
                <a:spcPct val="15000"/>
              </a:spcAft>
              <a:defRPr/>
            </a:pPr>
            <a:r>
              <a:rPr lang="en-CA" sz="1600" dirty="0">
                <a:solidFill>
                  <a:prstClr val="black"/>
                </a:solidFill>
                <a:latin typeface="Segoe UI" panose="020B0502040204020203" pitchFamily="34" charset="0"/>
                <a:cs typeface="Segoe UI" panose="020B0502040204020203" pitchFamily="34" charset="0"/>
              </a:rPr>
              <a:t>Guarantee business continuity, 99.999% availability, and enterprise-level security for every application.</a:t>
            </a:r>
            <a:endParaRPr lang="en-US" sz="1600" dirty="0">
              <a:solidFill>
                <a:prstClr val="black"/>
              </a:solidFill>
              <a:latin typeface="Segoe UI" panose="020B0502040204020203" pitchFamily="34" charset="0"/>
              <a:cs typeface="Segoe UI" panose="020B0502040204020203" pitchFamily="34" charset="0"/>
            </a:endParaRPr>
          </a:p>
        </p:txBody>
      </p:sp>
      <p:sp>
        <p:nvSpPr>
          <p:cNvPr id="11" name="Freeform: Shape 10">
            <a:extLst>
              <a:ext uri="{FF2B5EF4-FFF2-40B4-BE49-F238E27FC236}">
                <a16:creationId xmlns:a16="http://schemas.microsoft.com/office/drawing/2014/main" id="{7D75A559-E2C3-407C-9B16-B700F229081B}"/>
              </a:ext>
            </a:extLst>
          </p:cNvPr>
          <p:cNvSpPr/>
          <p:nvPr/>
        </p:nvSpPr>
        <p:spPr>
          <a:xfrm>
            <a:off x="8055905" y="5067205"/>
            <a:ext cx="3019445" cy="1071040"/>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41" tIns="182854" rIns="137141" bIns="182854" numCol="1" spcCol="1270" anchor="t" anchorCtr="0">
            <a:noAutofit/>
          </a:bodyPr>
          <a:lstStyle/>
          <a:p>
            <a:pPr marL="0" lvl="1" algn="ctr" defTabSz="711064">
              <a:lnSpc>
                <a:spcPct val="90000"/>
              </a:lnSpc>
              <a:spcBef>
                <a:spcPct val="0"/>
              </a:spcBef>
              <a:spcAft>
                <a:spcPct val="15000"/>
              </a:spcAft>
              <a:defRPr/>
            </a:pPr>
            <a:r>
              <a:rPr lang="en-US" sz="1600" dirty="0">
                <a:solidFill>
                  <a:prstClr val="black"/>
                </a:solidFill>
                <a:latin typeface="Segoe UI" panose="020B0502040204020203" pitchFamily="34" charset="0"/>
                <a:cs typeface="Segoe UI" panose="020B0502040204020203" pitchFamily="34" charset="0"/>
              </a:rPr>
              <a:t>End-to-end database management with serverless and automatic scaling matching your application and TCO needs.</a:t>
            </a:r>
          </a:p>
        </p:txBody>
      </p:sp>
    </p:spTree>
    <p:extLst>
      <p:ext uri="{BB962C8B-B14F-4D97-AF65-F5344CB8AC3E}">
        <p14:creationId xmlns:p14="http://schemas.microsoft.com/office/powerpoint/2010/main" val="35339150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27A0127E-0686-794D-9BC4-29A76883BA65}"/>
              </a:ext>
            </a:extLst>
          </p:cNvPr>
          <p:cNvSpPr/>
          <p:nvPr/>
        </p:nvSpPr>
        <p:spPr bwMode="auto">
          <a:xfrm>
            <a:off x="863" y="487"/>
            <a:ext cx="6768664"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9B048C3-B9D4-4691-959E-5DADD95C68D9}"/>
              </a:ext>
            </a:extLst>
          </p:cNvPr>
          <p:cNvSpPr>
            <a:spLocks noGrp="1"/>
          </p:cNvSpPr>
          <p:nvPr>
            <p:ph type="title"/>
          </p:nvPr>
        </p:nvSpPr>
        <p:spPr>
          <a:xfrm>
            <a:off x="589045" y="815007"/>
            <a:ext cx="4770782" cy="1107996"/>
          </a:xfrm>
        </p:spPr>
        <p:txBody>
          <a:bodyPr/>
          <a:lstStyle/>
          <a:p>
            <a:r>
              <a:rPr lang="en-US">
                <a:solidFill>
                  <a:schemeClr val="accent2"/>
                </a:solidFill>
              </a:rPr>
              <a:t>Guaranteed </a:t>
            </a:r>
            <a:r>
              <a:rPr lang="en-US" sz="3200">
                <a:solidFill>
                  <a:schemeClr val="accent2"/>
                </a:solidFill>
              </a:rPr>
              <a:t>speed</a:t>
            </a:r>
            <a:r>
              <a:rPr lang="en-US">
                <a:solidFill>
                  <a:schemeClr val="accent2"/>
                </a:solidFill>
              </a:rPr>
              <a:t> at any scale </a:t>
            </a:r>
          </a:p>
        </p:txBody>
      </p:sp>
      <p:sp>
        <p:nvSpPr>
          <p:cNvPr id="3" name="Text Placeholder 2">
            <a:extLst>
              <a:ext uri="{FF2B5EF4-FFF2-40B4-BE49-F238E27FC236}">
                <a16:creationId xmlns:a16="http://schemas.microsoft.com/office/drawing/2014/main" id="{83E262E4-F619-4C2C-B70F-70014EB31B88}"/>
              </a:ext>
            </a:extLst>
          </p:cNvPr>
          <p:cNvSpPr>
            <a:spLocks noGrp="1"/>
          </p:cNvSpPr>
          <p:nvPr>
            <p:ph type="body" sz="quarter" idx="10"/>
          </p:nvPr>
        </p:nvSpPr>
        <p:spPr>
          <a:xfrm>
            <a:off x="589045" y="2121671"/>
            <a:ext cx="5490673" cy="4153577"/>
          </a:xfrm>
        </p:spPr>
        <p:txBody>
          <a:bodyPr/>
          <a:lstStyle/>
          <a:p>
            <a:pPr marL="288870" indent="-288870">
              <a:spcAft>
                <a:spcPts val="600"/>
              </a:spcAft>
              <a:buFont typeface="Arial" panose="020B0604020202020204" pitchFamily="34" charset="0"/>
              <a:buChar char="•"/>
            </a:pPr>
            <a:r>
              <a:rPr lang="en-US" sz="2200">
                <a:solidFill>
                  <a:schemeClr val="bg1"/>
                </a:solidFill>
              </a:rPr>
              <a:t>Real-time access with &lt;10 </a:t>
            </a:r>
            <a:r>
              <a:rPr lang="en-US" sz="2200" err="1">
                <a:solidFill>
                  <a:schemeClr val="bg1"/>
                </a:solidFill>
              </a:rPr>
              <a:t>ms</a:t>
            </a:r>
            <a:r>
              <a:rPr lang="en-US" sz="2200">
                <a:solidFill>
                  <a:schemeClr val="bg1"/>
                </a:solidFill>
              </a:rPr>
              <a:t> read and write latencies backed globally by SLA</a:t>
            </a:r>
          </a:p>
          <a:p>
            <a:pPr marL="288870" indent="-288870">
              <a:spcAft>
                <a:spcPts val="600"/>
              </a:spcAft>
              <a:buFont typeface="Arial" panose="020B0604020202020204" pitchFamily="34" charset="0"/>
              <a:buChar char="•"/>
            </a:pPr>
            <a:r>
              <a:rPr lang="en-US" sz="2200">
                <a:solidFill>
                  <a:schemeClr val="bg1"/>
                </a:solidFill>
              </a:rPr>
              <a:t>The only service with financially-backed SLAs for millisecond read and write latency at the 99th percentile and 99.999% high availability </a:t>
            </a:r>
          </a:p>
          <a:p>
            <a:pPr marL="288870" indent="-288870">
              <a:spcAft>
                <a:spcPts val="600"/>
              </a:spcAft>
              <a:buFont typeface="Arial" panose="020B0604020202020204" pitchFamily="34" charset="0"/>
              <a:buChar char="•"/>
            </a:pPr>
            <a:r>
              <a:rPr lang="en-US" sz="2200">
                <a:solidFill>
                  <a:schemeClr val="bg1"/>
                </a:solidFill>
              </a:rPr>
              <a:t>Turnkey multi-master writes and data distribution to any Azure region is enabled by a click of a button</a:t>
            </a:r>
          </a:p>
          <a:p>
            <a:pPr marL="288870" indent="-288870">
              <a:spcAft>
                <a:spcPts val="600"/>
              </a:spcAft>
              <a:buFont typeface="Arial" panose="020B0604020202020204" pitchFamily="34" charset="0"/>
              <a:buChar char="•"/>
            </a:pPr>
            <a:r>
              <a:rPr lang="en-US" sz="2200">
                <a:solidFill>
                  <a:schemeClr val="bg1"/>
                </a:solidFill>
              </a:rPr>
              <a:t>Independently and elastically scale storage and throughput across any Azure region</a:t>
            </a:r>
          </a:p>
        </p:txBody>
      </p:sp>
      <p:sp>
        <p:nvSpPr>
          <p:cNvPr id="136" name="TextBox 135">
            <a:extLst>
              <a:ext uri="{FF2B5EF4-FFF2-40B4-BE49-F238E27FC236}">
                <a16:creationId xmlns:a16="http://schemas.microsoft.com/office/drawing/2014/main" id="{7CB77E5F-B21C-43E3-98CF-225AF3713D9B}"/>
              </a:ext>
            </a:extLst>
          </p:cNvPr>
          <p:cNvSpPr txBox="1"/>
          <p:nvPr/>
        </p:nvSpPr>
        <p:spPr>
          <a:xfrm>
            <a:off x="10232564" y="1965339"/>
            <a:ext cx="1255414" cy="594566"/>
          </a:xfrm>
          <a:prstGeom prst="rect">
            <a:avLst/>
          </a:prstGeom>
          <a:noFill/>
        </p:spPr>
        <p:txBody>
          <a:bodyPr wrap="square" rtlCol="0" anchor="t">
            <a:spAutoFit/>
          </a:bodyPr>
          <a:lstStyle/>
          <a:p>
            <a:pPr algn="ctr" defTabSz="914225">
              <a:defRPr/>
            </a:pPr>
            <a:r>
              <a:rPr lang="en-US" sz="1600" b="1">
                <a:solidFill>
                  <a:srgbClr val="0078D4"/>
                </a:solidFill>
                <a:latin typeface="Segoe UI Semibold"/>
                <a:ea typeface="Segoe UI Semibold" charset="0"/>
                <a:cs typeface="Segoe UI Semibold"/>
              </a:rPr>
              <a:t>High Availability</a:t>
            </a:r>
            <a:endParaRPr lang="en-US" sz="1600" b="1">
              <a:solidFill>
                <a:srgbClr val="0078D4"/>
              </a:solidFill>
              <a:latin typeface="Segoe UI Semibold"/>
              <a:ea typeface="Segoe UI Semibold" charset="0"/>
              <a:cs typeface="Segoe UI Semibold" charset="0"/>
            </a:endParaRPr>
          </a:p>
        </p:txBody>
      </p:sp>
      <p:sp>
        <p:nvSpPr>
          <p:cNvPr id="137" name="TextBox 136">
            <a:extLst>
              <a:ext uri="{FF2B5EF4-FFF2-40B4-BE49-F238E27FC236}">
                <a16:creationId xmlns:a16="http://schemas.microsoft.com/office/drawing/2014/main" id="{D84301B7-A632-4B0E-B70D-FE43348F0C71}"/>
              </a:ext>
            </a:extLst>
          </p:cNvPr>
          <p:cNvSpPr txBox="1"/>
          <p:nvPr/>
        </p:nvSpPr>
        <p:spPr>
          <a:xfrm>
            <a:off x="7556341" y="1965340"/>
            <a:ext cx="983199" cy="343443"/>
          </a:xfrm>
          <a:prstGeom prst="rect">
            <a:avLst/>
          </a:prstGeom>
          <a:noFill/>
        </p:spPr>
        <p:txBody>
          <a:bodyPr wrap="square" rtlCol="0">
            <a:spAutoFit/>
          </a:bodyPr>
          <a:lstStyle/>
          <a:p>
            <a:pPr algn="ctr" defTabSz="914225">
              <a:defRPr/>
            </a:pPr>
            <a:r>
              <a:rPr lang="en-US" sz="1600" b="1">
                <a:solidFill>
                  <a:srgbClr val="0078D4"/>
                </a:solidFill>
                <a:latin typeface="Segoe UI Semibold" charset="0"/>
                <a:ea typeface="Segoe UI Semibold" charset="0"/>
                <a:cs typeface="Segoe UI Semibold" charset="0"/>
              </a:rPr>
              <a:t>Latency</a:t>
            </a:r>
          </a:p>
        </p:txBody>
      </p:sp>
      <p:grpSp>
        <p:nvGrpSpPr>
          <p:cNvPr id="138" name="Group 137">
            <a:extLst>
              <a:ext uri="{FF2B5EF4-FFF2-40B4-BE49-F238E27FC236}">
                <a16:creationId xmlns:a16="http://schemas.microsoft.com/office/drawing/2014/main" id="{E8B38A74-CA5E-4825-9600-D5768D5C0F27}"/>
              </a:ext>
            </a:extLst>
          </p:cNvPr>
          <p:cNvGrpSpPr/>
          <p:nvPr/>
        </p:nvGrpSpPr>
        <p:grpSpPr>
          <a:xfrm>
            <a:off x="7445292" y="2360899"/>
            <a:ext cx="1205297" cy="540218"/>
            <a:chOff x="4586396" y="7810511"/>
            <a:chExt cx="1265840" cy="567354"/>
          </a:xfrm>
          <a:solidFill>
            <a:sysClr val="window" lastClr="FFFFFF"/>
          </a:solidFill>
        </p:grpSpPr>
        <p:sp>
          <p:nvSpPr>
            <p:cNvPr id="139" name="TextBox 138">
              <a:extLst>
                <a:ext uri="{FF2B5EF4-FFF2-40B4-BE49-F238E27FC236}">
                  <a16:creationId xmlns:a16="http://schemas.microsoft.com/office/drawing/2014/main" id="{EBE19C6D-36FA-4DF6-988A-8E4ACC5512AD}"/>
                </a:ext>
              </a:extLst>
            </p:cNvPr>
            <p:cNvSpPr txBox="1"/>
            <p:nvPr/>
          </p:nvSpPr>
          <p:spPr>
            <a:xfrm>
              <a:off x="4761419" y="7810511"/>
              <a:ext cx="876656" cy="334301"/>
            </a:xfrm>
            <a:prstGeom prst="rect">
              <a:avLst/>
            </a:prstGeom>
            <a:noFill/>
          </p:spPr>
          <p:txBody>
            <a:bodyPr wrap="none" rtlCol="0">
              <a:spAutoFit/>
            </a:bodyPr>
            <a:lstStyle/>
            <a:p>
              <a:pPr algn="ctr" defTabSz="914225">
                <a:lnSpc>
                  <a:spcPct val="90000"/>
                </a:lnSpc>
                <a:defRPr/>
              </a:pPr>
              <a:r>
                <a:rPr lang="en-US" sz="1600" kern="0" spc="-10">
                  <a:solidFill>
                    <a:prstClr val="black"/>
                  </a:solidFill>
                  <a:latin typeface="Segoe UI Semilight" panose="020B0402040204020203" pitchFamily="34" charset="0"/>
                  <a:ea typeface="Segoe UI Black" panose="020B0A02040204020203" pitchFamily="34" charset="0"/>
                  <a:cs typeface="Segoe UI Semilight" panose="020B0402040204020203" pitchFamily="34" charset="0"/>
                </a:rPr>
                <a:t>&lt;10</a:t>
              </a:r>
              <a:r>
                <a:rPr lang="en-US" sz="1600" kern="0">
                  <a:solidFill>
                    <a:prstClr val="black"/>
                  </a:solidFill>
                  <a:latin typeface="Segoe UI"/>
                  <a:ea typeface="Segoe UI Black" panose="020B0A02040204020203" pitchFamily="34" charset="0"/>
                  <a:cs typeface="Segoe UI Black" panose="020B0A02040204020203" pitchFamily="34" charset="0"/>
                </a:rPr>
                <a:t> </a:t>
              </a:r>
              <a:r>
                <a:rPr lang="en-US" sz="1600" kern="0" err="1">
                  <a:solidFill>
                    <a:prstClr val="black"/>
                  </a:solidFill>
                  <a:latin typeface="Segoe UI"/>
                  <a:ea typeface="Segoe UI Black" panose="020B0A02040204020203" pitchFamily="34" charset="0"/>
                  <a:cs typeface="Segoe UI Black" panose="020B0A02040204020203" pitchFamily="34" charset="0"/>
                </a:rPr>
                <a:t>ms</a:t>
              </a:r>
              <a:endParaRPr lang="en-US" sz="1600" kern="0">
                <a:solidFill>
                  <a:prstClr val="black"/>
                </a:solidFill>
                <a:latin typeface="Segoe UI"/>
                <a:ea typeface="Segoe UI Black" panose="020B0A02040204020203" pitchFamily="34" charset="0"/>
                <a:cs typeface="Segoe UI Black" panose="020B0A02040204020203" pitchFamily="34" charset="0"/>
              </a:endParaRPr>
            </a:p>
          </p:txBody>
        </p:sp>
        <p:sp>
          <p:nvSpPr>
            <p:cNvPr id="140" name="TextBox 139">
              <a:extLst>
                <a:ext uri="{FF2B5EF4-FFF2-40B4-BE49-F238E27FC236}">
                  <a16:creationId xmlns:a16="http://schemas.microsoft.com/office/drawing/2014/main" id="{E1F9FC77-4C14-4403-B403-CFE444E370B8}"/>
                </a:ext>
              </a:extLst>
            </p:cNvPr>
            <p:cNvSpPr txBox="1"/>
            <p:nvPr/>
          </p:nvSpPr>
          <p:spPr>
            <a:xfrm>
              <a:off x="4586396" y="8122679"/>
              <a:ext cx="1265840" cy="255186"/>
            </a:xfrm>
            <a:prstGeom prst="rect">
              <a:avLst/>
            </a:prstGeom>
            <a:noFill/>
          </p:spPr>
          <p:txBody>
            <a:bodyPr wrap="square" rtlCol="0">
              <a:spAutoFit/>
            </a:bodyPr>
            <a:lstStyle/>
            <a:p>
              <a:pPr algn="ctr" defTabSz="914225">
                <a:lnSpc>
                  <a:spcPct val="80000"/>
                </a:lnSpc>
                <a:defRPr/>
              </a:pPr>
              <a:r>
                <a:rPr lang="en-US" sz="1200" kern="0">
                  <a:solidFill>
                    <a:prstClr val="black"/>
                  </a:solidFill>
                  <a:latin typeface="Segoe UI"/>
                  <a:ea typeface="Segoe UI Black" panose="020B0A02040204020203" pitchFamily="34" charset="0"/>
                  <a:cs typeface="Segoe UI Semilight" panose="020B0402040204020203" pitchFamily="34" charset="0"/>
                </a:rPr>
                <a:t>99</a:t>
              </a:r>
              <a:r>
                <a:rPr lang="en-US" sz="1200" kern="0" baseline="30000">
                  <a:solidFill>
                    <a:prstClr val="black"/>
                  </a:solidFill>
                  <a:latin typeface="Segoe UI"/>
                  <a:ea typeface="Segoe UI Black" panose="020B0A02040204020203" pitchFamily="34" charset="0"/>
                  <a:cs typeface="Segoe UI Semilight" panose="020B0402040204020203" pitchFamily="34" charset="0"/>
                </a:rPr>
                <a:t>th</a:t>
              </a:r>
              <a:r>
                <a:rPr lang="en-US" sz="1200" kern="0">
                  <a:solidFill>
                    <a:prstClr val="black"/>
                  </a:solidFill>
                  <a:latin typeface="Segoe UI"/>
                  <a:ea typeface="Segoe UI Black" panose="020B0A02040204020203" pitchFamily="34" charset="0"/>
                  <a:cs typeface="Segoe UI Semilight" panose="020B0402040204020203" pitchFamily="34" charset="0"/>
                </a:rPr>
                <a:t> </a:t>
              </a:r>
              <a:r>
                <a:rPr lang="en-US" sz="1200" kern="0" spc="-10">
                  <a:solidFill>
                    <a:prstClr val="black"/>
                  </a:solidFill>
                  <a:latin typeface="Segoe UI"/>
                  <a:cs typeface="Segoe UI Semilight" panose="020B0402040204020203" pitchFamily="34" charset="0"/>
                </a:rPr>
                <a:t>percentile</a:t>
              </a:r>
            </a:p>
          </p:txBody>
        </p:sp>
      </p:grpSp>
      <p:sp>
        <p:nvSpPr>
          <p:cNvPr id="141" name="TextBox 140">
            <a:extLst>
              <a:ext uri="{FF2B5EF4-FFF2-40B4-BE49-F238E27FC236}">
                <a16:creationId xmlns:a16="http://schemas.microsoft.com/office/drawing/2014/main" id="{7F7E278F-6371-4C82-BA4F-C98534053832}"/>
              </a:ext>
            </a:extLst>
          </p:cNvPr>
          <p:cNvSpPr txBox="1"/>
          <p:nvPr/>
        </p:nvSpPr>
        <p:spPr>
          <a:xfrm>
            <a:off x="10340548" y="2586719"/>
            <a:ext cx="958781" cy="343443"/>
          </a:xfrm>
          <a:prstGeom prst="rect">
            <a:avLst/>
          </a:prstGeom>
          <a:noFill/>
        </p:spPr>
        <p:txBody>
          <a:bodyPr wrap="none" rtlCol="0">
            <a:spAutoFit/>
          </a:bodyPr>
          <a:lstStyle/>
          <a:p>
            <a:pPr algn="ctr" defTabSz="914225">
              <a:defRPr/>
            </a:pPr>
            <a:r>
              <a:rPr lang="en-US" sz="1600">
                <a:solidFill>
                  <a:prstClr val="black"/>
                </a:solidFill>
                <a:latin typeface="Segoe UI Semilight" panose="020B0402040204020203" pitchFamily="34" charset="0"/>
                <a:ea typeface="Segoe UI Black" panose="020B0A02040204020203" pitchFamily="34" charset="0"/>
                <a:cs typeface="Segoe UI Semilight" panose="020B0402040204020203" pitchFamily="34" charset="0"/>
              </a:rPr>
              <a:t>99</a:t>
            </a:r>
            <a:r>
              <a:rPr lang="en-US" sz="1600">
                <a:solidFill>
                  <a:prstClr val="black"/>
                </a:solidFill>
                <a:latin typeface="Segoe UI"/>
                <a:ea typeface="Segoe UI Black" panose="020B0A02040204020203" pitchFamily="34" charset="0"/>
                <a:cs typeface="Segoe UI Black" panose="020B0A02040204020203" pitchFamily="34" charset="0"/>
              </a:rPr>
              <a:t>.999%</a:t>
            </a:r>
          </a:p>
        </p:txBody>
      </p:sp>
      <p:sp>
        <p:nvSpPr>
          <p:cNvPr id="142" name="TextBox 141">
            <a:extLst>
              <a:ext uri="{FF2B5EF4-FFF2-40B4-BE49-F238E27FC236}">
                <a16:creationId xmlns:a16="http://schemas.microsoft.com/office/drawing/2014/main" id="{BAB9FFCB-1189-49A8-B988-F8585D88135C}"/>
              </a:ext>
            </a:extLst>
          </p:cNvPr>
          <p:cNvSpPr txBox="1"/>
          <p:nvPr/>
        </p:nvSpPr>
        <p:spPr>
          <a:xfrm>
            <a:off x="7389969" y="4703072"/>
            <a:ext cx="1315945" cy="343443"/>
          </a:xfrm>
          <a:prstGeom prst="rect">
            <a:avLst/>
          </a:prstGeom>
          <a:noFill/>
        </p:spPr>
        <p:txBody>
          <a:bodyPr wrap="none" rtlCol="0">
            <a:spAutoFit/>
          </a:bodyPr>
          <a:lstStyle/>
          <a:p>
            <a:pPr algn="ctr" defTabSz="914225">
              <a:defRPr/>
            </a:pPr>
            <a:r>
              <a:rPr lang="en-US" sz="1600" b="1">
                <a:solidFill>
                  <a:srgbClr val="0078D4"/>
                </a:solidFill>
                <a:latin typeface="Segoe UI Semibold" charset="0"/>
                <a:ea typeface="Segoe UI Semibold" charset="0"/>
                <a:cs typeface="Segoe UI Semibold" charset="0"/>
              </a:rPr>
              <a:t>Throughput</a:t>
            </a:r>
          </a:p>
        </p:txBody>
      </p:sp>
      <p:sp>
        <p:nvSpPr>
          <p:cNvPr id="143" name="TextBox 142">
            <a:extLst>
              <a:ext uri="{FF2B5EF4-FFF2-40B4-BE49-F238E27FC236}">
                <a16:creationId xmlns:a16="http://schemas.microsoft.com/office/drawing/2014/main" id="{31CCC958-35B5-4C17-B47E-D44520489C04}"/>
              </a:ext>
            </a:extLst>
          </p:cNvPr>
          <p:cNvSpPr txBox="1"/>
          <p:nvPr/>
        </p:nvSpPr>
        <p:spPr>
          <a:xfrm>
            <a:off x="10167255" y="4703072"/>
            <a:ext cx="1305365" cy="343443"/>
          </a:xfrm>
          <a:prstGeom prst="rect">
            <a:avLst/>
          </a:prstGeom>
          <a:noFill/>
        </p:spPr>
        <p:txBody>
          <a:bodyPr wrap="none" rtlCol="0">
            <a:spAutoFit/>
          </a:bodyPr>
          <a:lstStyle/>
          <a:p>
            <a:pPr algn="ctr" defTabSz="914225">
              <a:defRPr/>
            </a:pPr>
            <a:r>
              <a:rPr lang="en-US" sz="1600" b="1">
                <a:solidFill>
                  <a:srgbClr val="0078D4"/>
                </a:solidFill>
                <a:latin typeface="Segoe UI Semibold" charset="0"/>
                <a:ea typeface="Segoe UI Semibold" charset="0"/>
                <a:cs typeface="Segoe UI Semibold" charset="0"/>
              </a:rPr>
              <a:t>Consistency</a:t>
            </a:r>
          </a:p>
        </p:txBody>
      </p:sp>
      <p:sp>
        <p:nvSpPr>
          <p:cNvPr id="144" name="TextBox 143">
            <a:extLst>
              <a:ext uri="{FF2B5EF4-FFF2-40B4-BE49-F238E27FC236}">
                <a16:creationId xmlns:a16="http://schemas.microsoft.com/office/drawing/2014/main" id="{D60F72A1-124D-4C93-9B3D-393E63A9BE27}"/>
              </a:ext>
            </a:extLst>
          </p:cNvPr>
          <p:cNvSpPr txBox="1"/>
          <p:nvPr/>
        </p:nvSpPr>
        <p:spPr>
          <a:xfrm>
            <a:off x="7285678" y="5075040"/>
            <a:ext cx="1524526" cy="343443"/>
          </a:xfrm>
          <a:prstGeom prst="rect">
            <a:avLst/>
          </a:prstGeom>
          <a:noFill/>
        </p:spPr>
        <p:txBody>
          <a:bodyPr wrap="square" rtlCol="0">
            <a:spAutoFit/>
          </a:bodyPr>
          <a:lstStyle/>
          <a:p>
            <a:pPr algn="ctr" defTabSz="914225">
              <a:defRPr/>
            </a:pPr>
            <a:r>
              <a:rPr lang="en-US" sz="1600">
                <a:solidFill>
                  <a:prstClr val="black"/>
                </a:solidFill>
                <a:latin typeface="Segoe UI"/>
                <a:ea typeface="Segoe UI Black" panose="020B0A02040204020203" pitchFamily="34" charset="0"/>
                <a:cs typeface="Segoe UI Black" panose="020B0A02040204020203" pitchFamily="34" charset="0"/>
              </a:rPr>
              <a:t>Guaranteed</a:t>
            </a:r>
          </a:p>
        </p:txBody>
      </p:sp>
      <p:sp>
        <p:nvSpPr>
          <p:cNvPr id="145" name="TextBox 144">
            <a:extLst>
              <a:ext uri="{FF2B5EF4-FFF2-40B4-BE49-F238E27FC236}">
                <a16:creationId xmlns:a16="http://schemas.microsoft.com/office/drawing/2014/main" id="{1DDE595D-E7AC-406E-A458-84ACD4143C97}"/>
              </a:ext>
            </a:extLst>
          </p:cNvPr>
          <p:cNvSpPr txBox="1"/>
          <p:nvPr/>
        </p:nvSpPr>
        <p:spPr>
          <a:xfrm>
            <a:off x="10036918" y="5080205"/>
            <a:ext cx="1566038" cy="343443"/>
          </a:xfrm>
          <a:prstGeom prst="rect">
            <a:avLst/>
          </a:prstGeom>
          <a:noFill/>
        </p:spPr>
        <p:txBody>
          <a:bodyPr wrap="square" rtlCol="0">
            <a:spAutoFit/>
          </a:bodyPr>
          <a:lstStyle/>
          <a:p>
            <a:pPr algn="ctr" defTabSz="914225">
              <a:defRPr/>
            </a:pPr>
            <a:r>
              <a:rPr lang="en-US" sz="1600">
                <a:solidFill>
                  <a:prstClr val="black"/>
                </a:solidFill>
                <a:latin typeface="Segoe UI"/>
                <a:ea typeface="Segoe UI Black" panose="020B0A02040204020203" pitchFamily="34" charset="0"/>
                <a:cs typeface="Segoe UI Black" panose="020B0A02040204020203" pitchFamily="34" charset="0"/>
              </a:rPr>
              <a:t>Guaranteed</a:t>
            </a:r>
          </a:p>
        </p:txBody>
      </p:sp>
      <p:cxnSp>
        <p:nvCxnSpPr>
          <p:cNvPr id="146" name="Straight Connector 145">
            <a:extLst>
              <a:ext uri="{FF2B5EF4-FFF2-40B4-BE49-F238E27FC236}">
                <a16:creationId xmlns:a16="http://schemas.microsoft.com/office/drawing/2014/main" id="{BFACAE2E-50FD-4A1E-AF57-EDD33B016D7C}"/>
              </a:ext>
            </a:extLst>
          </p:cNvPr>
          <p:cNvCxnSpPr>
            <a:cxnSpLocks/>
          </p:cNvCxnSpPr>
          <p:nvPr/>
        </p:nvCxnSpPr>
        <p:spPr>
          <a:xfrm>
            <a:off x="9490459" y="628342"/>
            <a:ext cx="0" cy="5626914"/>
          </a:xfrm>
          <a:prstGeom prst="line">
            <a:avLst/>
          </a:prstGeom>
          <a:noFill/>
          <a:ln w="12700" cap="flat" cmpd="sng" algn="ctr">
            <a:solidFill>
              <a:schemeClr val="accent1"/>
            </a:solidFill>
            <a:prstDash val="solid"/>
            <a:headEnd type="none"/>
            <a:tailEnd type="none"/>
          </a:ln>
          <a:effectLst/>
        </p:spPr>
      </p:cxnSp>
      <p:cxnSp>
        <p:nvCxnSpPr>
          <p:cNvPr id="147" name="Straight Connector 146">
            <a:extLst>
              <a:ext uri="{FF2B5EF4-FFF2-40B4-BE49-F238E27FC236}">
                <a16:creationId xmlns:a16="http://schemas.microsoft.com/office/drawing/2014/main" id="{797405D9-47C6-4BEC-9886-41230EC421D3}"/>
              </a:ext>
            </a:extLst>
          </p:cNvPr>
          <p:cNvCxnSpPr>
            <a:cxnSpLocks/>
          </p:cNvCxnSpPr>
          <p:nvPr/>
        </p:nvCxnSpPr>
        <p:spPr>
          <a:xfrm flipH="1">
            <a:off x="7030637" y="3441799"/>
            <a:ext cx="4905134" cy="0"/>
          </a:xfrm>
          <a:prstGeom prst="line">
            <a:avLst/>
          </a:prstGeom>
          <a:noFill/>
          <a:ln w="12700" cap="flat" cmpd="sng" algn="ctr">
            <a:solidFill>
              <a:schemeClr val="accent1"/>
            </a:solidFill>
            <a:prstDash val="solid"/>
            <a:headEnd type="none"/>
            <a:tailEnd type="none"/>
          </a:ln>
          <a:effectLst/>
        </p:spPr>
      </p:cxnSp>
      <p:grpSp>
        <p:nvGrpSpPr>
          <p:cNvPr id="41" name="Group 135">
            <a:extLst>
              <a:ext uri="{FF2B5EF4-FFF2-40B4-BE49-F238E27FC236}">
                <a16:creationId xmlns:a16="http://schemas.microsoft.com/office/drawing/2014/main" id="{C563BF3E-1D9B-254B-8D88-C6041CC1F6E8}"/>
              </a:ext>
            </a:extLst>
          </p:cNvPr>
          <p:cNvGrpSpPr>
            <a:grpSpLocks noChangeAspect="1"/>
          </p:cNvGrpSpPr>
          <p:nvPr/>
        </p:nvGrpSpPr>
        <p:grpSpPr bwMode="auto">
          <a:xfrm>
            <a:off x="7800325" y="1439290"/>
            <a:ext cx="495230" cy="411104"/>
            <a:chOff x="2204" y="1026"/>
            <a:chExt cx="312" cy="259"/>
          </a:xfrm>
        </p:grpSpPr>
        <p:sp>
          <p:nvSpPr>
            <p:cNvPr id="42" name="Freeform 136">
              <a:extLst>
                <a:ext uri="{FF2B5EF4-FFF2-40B4-BE49-F238E27FC236}">
                  <a16:creationId xmlns:a16="http://schemas.microsoft.com/office/drawing/2014/main" id="{267B23EB-CEF8-2B43-8E05-E9BFD3EF42A8}"/>
                </a:ext>
              </a:extLst>
            </p:cNvPr>
            <p:cNvSpPr>
              <a:spLocks/>
            </p:cNvSpPr>
            <p:nvPr/>
          </p:nvSpPr>
          <p:spPr bwMode="auto">
            <a:xfrm>
              <a:off x="2516" y="11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43" name="Freeform 137">
              <a:extLst>
                <a:ext uri="{FF2B5EF4-FFF2-40B4-BE49-F238E27FC236}">
                  <a16:creationId xmlns:a16="http://schemas.microsoft.com/office/drawing/2014/main" id="{1BBB99AF-1CE7-2C47-8C6B-E08AF4EC97AA}"/>
                </a:ext>
              </a:extLst>
            </p:cNvPr>
            <p:cNvSpPr>
              <a:spLocks/>
            </p:cNvSpPr>
            <p:nvPr/>
          </p:nvSpPr>
          <p:spPr bwMode="auto">
            <a:xfrm>
              <a:off x="2457" y="1192"/>
              <a:ext cx="59" cy="93"/>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44" name="Freeform 138">
              <a:extLst>
                <a:ext uri="{FF2B5EF4-FFF2-40B4-BE49-F238E27FC236}">
                  <a16:creationId xmlns:a16="http://schemas.microsoft.com/office/drawing/2014/main" id="{C3717405-CB9E-DE47-860A-2BA3A146C35A}"/>
                </a:ext>
              </a:extLst>
            </p:cNvPr>
            <p:cNvSpPr>
              <a:spLocks/>
            </p:cNvSpPr>
            <p:nvPr/>
          </p:nvSpPr>
          <p:spPr bwMode="auto">
            <a:xfrm>
              <a:off x="2457" y="1079"/>
              <a:ext cx="59" cy="93"/>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45" name="Freeform 139">
              <a:extLst>
                <a:ext uri="{FF2B5EF4-FFF2-40B4-BE49-F238E27FC236}">
                  <a16:creationId xmlns:a16="http://schemas.microsoft.com/office/drawing/2014/main" id="{13A18702-C8E9-C74F-9A94-5A1AB373CC8C}"/>
                </a:ext>
              </a:extLst>
            </p:cNvPr>
            <p:cNvSpPr>
              <a:spLocks/>
            </p:cNvSpPr>
            <p:nvPr/>
          </p:nvSpPr>
          <p:spPr bwMode="auto">
            <a:xfrm>
              <a:off x="2370" y="1026"/>
              <a:ext cx="93" cy="60"/>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46" name="Freeform 140">
              <a:extLst>
                <a:ext uri="{FF2B5EF4-FFF2-40B4-BE49-F238E27FC236}">
                  <a16:creationId xmlns:a16="http://schemas.microsoft.com/office/drawing/2014/main" id="{0594DDE0-3324-0548-B0B3-A989D9860DFE}"/>
                </a:ext>
              </a:extLst>
            </p:cNvPr>
            <p:cNvSpPr>
              <a:spLocks/>
            </p:cNvSpPr>
            <p:nvPr/>
          </p:nvSpPr>
          <p:spPr bwMode="auto">
            <a:xfrm>
              <a:off x="2257" y="1026"/>
              <a:ext cx="93" cy="60"/>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47" name="Freeform 141">
              <a:extLst>
                <a:ext uri="{FF2B5EF4-FFF2-40B4-BE49-F238E27FC236}">
                  <a16:creationId xmlns:a16="http://schemas.microsoft.com/office/drawing/2014/main" id="{E0C9BCFF-DB32-914D-8107-C30145AEEF69}"/>
                </a:ext>
              </a:extLst>
            </p:cNvPr>
            <p:cNvSpPr>
              <a:spLocks/>
            </p:cNvSpPr>
            <p:nvPr/>
          </p:nvSpPr>
          <p:spPr bwMode="auto">
            <a:xfrm>
              <a:off x="2204" y="1079"/>
              <a:ext cx="59" cy="93"/>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48" name="Oval 142">
              <a:extLst>
                <a:ext uri="{FF2B5EF4-FFF2-40B4-BE49-F238E27FC236}">
                  <a16:creationId xmlns:a16="http://schemas.microsoft.com/office/drawing/2014/main" id="{954D88C0-EDB4-8C43-A6BC-071D0E288C13}"/>
                </a:ext>
              </a:extLst>
            </p:cNvPr>
            <p:cNvSpPr>
              <a:spLocks noChangeArrowheads="1"/>
            </p:cNvSpPr>
            <p:nvPr/>
          </p:nvSpPr>
          <p:spPr bwMode="auto">
            <a:xfrm>
              <a:off x="2331" y="1153"/>
              <a:ext cx="58" cy="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49" name="Freeform 143">
              <a:extLst>
                <a:ext uri="{FF2B5EF4-FFF2-40B4-BE49-F238E27FC236}">
                  <a16:creationId xmlns:a16="http://schemas.microsoft.com/office/drawing/2014/main" id="{D2B43832-0B2E-384D-A248-7B16124EA19A}"/>
                </a:ext>
              </a:extLst>
            </p:cNvPr>
            <p:cNvSpPr>
              <a:spLocks/>
            </p:cNvSpPr>
            <p:nvPr/>
          </p:nvSpPr>
          <p:spPr bwMode="auto">
            <a:xfrm>
              <a:off x="2345" y="1108"/>
              <a:ext cx="89" cy="88"/>
            </a:xfrm>
            <a:custGeom>
              <a:avLst/>
              <a:gdLst>
                <a:gd name="T0" fmla="*/ 21 w 89"/>
                <a:gd name="T1" fmla="*/ 88 h 88"/>
                <a:gd name="T2" fmla="*/ 0 w 89"/>
                <a:gd name="T3" fmla="*/ 68 h 88"/>
                <a:gd name="T4" fmla="*/ 68 w 89"/>
                <a:gd name="T5" fmla="*/ 0 h 88"/>
                <a:gd name="T6" fmla="*/ 89 w 89"/>
                <a:gd name="T7" fmla="*/ 21 h 88"/>
                <a:gd name="T8" fmla="*/ 21 w 89"/>
                <a:gd name="T9" fmla="*/ 88 h 88"/>
              </a:gdLst>
              <a:ahLst/>
              <a:cxnLst>
                <a:cxn ang="0">
                  <a:pos x="T0" y="T1"/>
                </a:cxn>
                <a:cxn ang="0">
                  <a:pos x="T2" y="T3"/>
                </a:cxn>
                <a:cxn ang="0">
                  <a:pos x="T4" y="T5"/>
                </a:cxn>
                <a:cxn ang="0">
                  <a:pos x="T6" y="T7"/>
                </a:cxn>
                <a:cxn ang="0">
                  <a:pos x="T8" y="T9"/>
                </a:cxn>
              </a:cxnLst>
              <a:rect l="0" t="0" r="r" b="b"/>
              <a:pathLst>
                <a:path w="89" h="88">
                  <a:moveTo>
                    <a:pt x="21" y="88"/>
                  </a:moveTo>
                  <a:lnTo>
                    <a:pt x="0" y="68"/>
                  </a:lnTo>
                  <a:lnTo>
                    <a:pt x="68" y="0"/>
                  </a:lnTo>
                  <a:lnTo>
                    <a:pt x="89" y="21"/>
                  </a:lnTo>
                  <a:lnTo>
                    <a:pt x="21" y="8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grpSp>
      <p:grpSp>
        <p:nvGrpSpPr>
          <p:cNvPr id="50" name="Group 46">
            <a:extLst>
              <a:ext uri="{FF2B5EF4-FFF2-40B4-BE49-F238E27FC236}">
                <a16:creationId xmlns:a16="http://schemas.microsoft.com/office/drawing/2014/main" id="{3AC76683-3DBF-4049-A96F-C504901133E3}"/>
              </a:ext>
            </a:extLst>
          </p:cNvPr>
          <p:cNvGrpSpPr>
            <a:grpSpLocks noChangeAspect="1"/>
          </p:cNvGrpSpPr>
          <p:nvPr/>
        </p:nvGrpSpPr>
        <p:grpSpPr bwMode="auto">
          <a:xfrm>
            <a:off x="10604710" y="1358014"/>
            <a:ext cx="495230" cy="495230"/>
            <a:chOff x="2812" y="999"/>
            <a:chExt cx="312" cy="312"/>
          </a:xfrm>
        </p:grpSpPr>
        <p:sp>
          <p:nvSpPr>
            <p:cNvPr id="51" name="AutoShape 45">
              <a:extLst>
                <a:ext uri="{FF2B5EF4-FFF2-40B4-BE49-F238E27FC236}">
                  <a16:creationId xmlns:a16="http://schemas.microsoft.com/office/drawing/2014/main" id="{835E3E89-54E3-B442-B306-EAD5FEFDDB7D}"/>
                </a:ext>
              </a:extLst>
            </p:cNvPr>
            <p:cNvSpPr>
              <a:spLocks noChangeAspect="1" noChangeArrowheads="1" noTextEdit="1"/>
            </p:cNvSpPr>
            <p:nvPr/>
          </p:nvSpPr>
          <p:spPr bwMode="auto">
            <a:xfrm>
              <a:off x="2812" y="999"/>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52" name="Freeform 47">
              <a:extLst>
                <a:ext uri="{FF2B5EF4-FFF2-40B4-BE49-F238E27FC236}">
                  <a16:creationId xmlns:a16="http://schemas.microsoft.com/office/drawing/2014/main" id="{14ED6921-1E33-DB46-8E12-D7774BCF46B4}"/>
                </a:ext>
              </a:extLst>
            </p:cNvPr>
            <p:cNvSpPr>
              <a:spLocks/>
            </p:cNvSpPr>
            <p:nvPr/>
          </p:nvSpPr>
          <p:spPr bwMode="auto">
            <a:xfrm>
              <a:off x="2812" y="999"/>
              <a:ext cx="312" cy="312"/>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53" name="Freeform 48">
              <a:extLst>
                <a:ext uri="{FF2B5EF4-FFF2-40B4-BE49-F238E27FC236}">
                  <a16:creationId xmlns:a16="http://schemas.microsoft.com/office/drawing/2014/main" id="{269818CE-8DC4-0B46-9DF1-8DAC187E6638}"/>
                </a:ext>
              </a:extLst>
            </p:cNvPr>
            <p:cNvSpPr>
              <a:spLocks/>
            </p:cNvSpPr>
            <p:nvPr/>
          </p:nvSpPr>
          <p:spPr bwMode="auto">
            <a:xfrm>
              <a:off x="2947" y="1068"/>
              <a:ext cx="135" cy="135"/>
            </a:xfrm>
            <a:custGeom>
              <a:avLst/>
              <a:gdLst>
                <a:gd name="T0" fmla="*/ 0 w 135"/>
                <a:gd name="T1" fmla="*/ 115 h 135"/>
                <a:gd name="T2" fmla="*/ 20 w 135"/>
                <a:gd name="T3" fmla="*/ 135 h 135"/>
                <a:gd name="T4" fmla="*/ 135 w 135"/>
                <a:gd name="T5" fmla="*/ 21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1"/>
                  </a:lnTo>
                  <a:lnTo>
                    <a:pt x="115" y="0"/>
                  </a:lnTo>
                  <a:lnTo>
                    <a:pt x="0" y="1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54" name="Freeform 49">
              <a:extLst>
                <a:ext uri="{FF2B5EF4-FFF2-40B4-BE49-F238E27FC236}">
                  <a16:creationId xmlns:a16="http://schemas.microsoft.com/office/drawing/2014/main" id="{673DF927-E0B9-2A4A-9DD1-A9CC3577D9AB}"/>
                </a:ext>
              </a:extLst>
            </p:cNvPr>
            <p:cNvSpPr>
              <a:spLocks/>
            </p:cNvSpPr>
            <p:nvPr/>
          </p:nvSpPr>
          <p:spPr bwMode="auto">
            <a:xfrm>
              <a:off x="2902" y="1117"/>
              <a:ext cx="86" cy="86"/>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grpSp>
        <p:nvGrpSpPr>
          <p:cNvPr id="55" name="Group 100">
            <a:extLst>
              <a:ext uri="{FF2B5EF4-FFF2-40B4-BE49-F238E27FC236}">
                <a16:creationId xmlns:a16="http://schemas.microsoft.com/office/drawing/2014/main" id="{92F159BE-B5A0-CB46-8580-DDEED67185D3}"/>
              </a:ext>
            </a:extLst>
          </p:cNvPr>
          <p:cNvGrpSpPr>
            <a:grpSpLocks noChangeAspect="1"/>
          </p:cNvGrpSpPr>
          <p:nvPr/>
        </p:nvGrpSpPr>
        <p:grpSpPr bwMode="auto">
          <a:xfrm>
            <a:off x="7784453" y="4070535"/>
            <a:ext cx="495230" cy="495230"/>
            <a:chOff x="7014" y="999"/>
            <a:chExt cx="312" cy="312"/>
          </a:xfrm>
        </p:grpSpPr>
        <p:sp>
          <p:nvSpPr>
            <p:cNvPr id="56" name="AutoShape 99">
              <a:extLst>
                <a:ext uri="{FF2B5EF4-FFF2-40B4-BE49-F238E27FC236}">
                  <a16:creationId xmlns:a16="http://schemas.microsoft.com/office/drawing/2014/main" id="{EA4AC4FC-7AC0-E942-A5E6-C4BE7F298E27}"/>
                </a:ext>
              </a:extLst>
            </p:cNvPr>
            <p:cNvSpPr>
              <a:spLocks noChangeAspect="1" noChangeArrowheads="1" noTextEdit="1"/>
            </p:cNvSpPr>
            <p:nvPr/>
          </p:nvSpPr>
          <p:spPr bwMode="auto">
            <a:xfrm>
              <a:off x="7014" y="999"/>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57" name="Freeform 101">
              <a:extLst>
                <a:ext uri="{FF2B5EF4-FFF2-40B4-BE49-F238E27FC236}">
                  <a16:creationId xmlns:a16="http://schemas.microsoft.com/office/drawing/2014/main" id="{56D421C6-5685-744E-95BD-FF400BC882A5}"/>
                </a:ext>
              </a:extLst>
            </p:cNvPr>
            <p:cNvSpPr>
              <a:spLocks/>
            </p:cNvSpPr>
            <p:nvPr/>
          </p:nvSpPr>
          <p:spPr bwMode="auto">
            <a:xfrm>
              <a:off x="7238" y="999"/>
              <a:ext cx="31" cy="27"/>
            </a:xfrm>
            <a:custGeom>
              <a:avLst/>
              <a:gdLst>
                <a:gd name="T0" fmla="*/ 24 w 31"/>
                <a:gd name="T1" fmla="*/ 27 h 27"/>
                <a:gd name="T2" fmla="*/ 0 w 31"/>
                <a:gd name="T3" fmla="*/ 18 h 27"/>
                <a:gd name="T4" fmla="*/ 7 w 31"/>
                <a:gd name="T5" fmla="*/ 0 h 27"/>
                <a:gd name="T6" fmla="*/ 31 w 31"/>
                <a:gd name="T7" fmla="*/ 10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10"/>
                  </a:lnTo>
                  <a:lnTo>
                    <a:pt x="2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58" name="Freeform 102">
              <a:extLst>
                <a:ext uri="{FF2B5EF4-FFF2-40B4-BE49-F238E27FC236}">
                  <a16:creationId xmlns:a16="http://schemas.microsoft.com/office/drawing/2014/main" id="{0ACE67EF-BDDF-7040-9935-784EA34684B8}"/>
                </a:ext>
              </a:extLst>
            </p:cNvPr>
            <p:cNvSpPr>
              <a:spLocks/>
            </p:cNvSpPr>
            <p:nvPr/>
          </p:nvSpPr>
          <p:spPr bwMode="auto">
            <a:xfrm>
              <a:off x="7156" y="1000"/>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59" name="Rectangle 103">
              <a:extLst>
                <a:ext uri="{FF2B5EF4-FFF2-40B4-BE49-F238E27FC236}">
                  <a16:creationId xmlns:a16="http://schemas.microsoft.com/office/drawing/2014/main" id="{DB2962A8-F9B5-C94A-AE64-96EE0C2EDE73}"/>
                </a:ext>
              </a:extLst>
            </p:cNvPr>
            <p:cNvSpPr>
              <a:spLocks noChangeArrowheads="1"/>
            </p:cNvSpPr>
            <p:nvPr/>
          </p:nvSpPr>
          <p:spPr bwMode="auto">
            <a:xfrm>
              <a:off x="7076" y="1299"/>
              <a:ext cx="15" cy="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0" name="Rectangle 104">
              <a:extLst>
                <a:ext uri="{FF2B5EF4-FFF2-40B4-BE49-F238E27FC236}">
                  <a16:creationId xmlns:a16="http://schemas.microsoft.com/office/drawing/2014/main" id="{739E804E-7334-0F45-8903-299EE205B206}"/>
                </a:ext>
              </a:extLst>
            </p:cNvPr>
            <p:cNvSpPr>
              <a:spLocks noChangeArrowheads="1"/>
            </p:cNvSpPr>
            <p:nvPr/>
          </p:nvSpPr>
          <p:spPr bwMode="auto">
            <a:xfrm>
              <a:off x="7014" y="1236"/>
              <a:ext cx="12"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1" name="Freeform 105">
              <a:extLst>
                <a:ext uri="{FF2B5EF4-FFF2-40B4-BE49-F238E27FC236}">
                  <a16:creationId xmlns:a16="http://schemas.microsoft.com/office/drawing/2014/main" id="{EC108B78-C808-EE4A-B564-6D5FE969C1B0}"/>
                </a:ext>
              </a:extLst>
            </p:cNvPr>
            <p:cNvSpPr>
              <a:spLocks/>
            </p:cNvSpPr>
            <p:nvPr/>
          </p:nvSpPr>
          <p:spPr bwMode="auto">
            <a:xfrm>
              <a:off x="7029" y="1278"/>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2" name="Freeform 106">
              <a:extLst>
                <a:ext uri="{FF2B5EF4-FFF2-40B4-BE49-F238E27FC236}">
                  <a16:creationId xmlns:a16="http://schemas.microsoft.com/office/drawing/2014/main" id="{E3366A9F-D526-634C-BA15-0BEE9D395C96}"/>
                </a:ext>
              </a:extLst>
            </p:cNvPr>
            <p:cNvSpPr>
              <a:spLocks noEditPoints="1"/>
            </p:cNvSpPr>
            <p:nvPr/>
          </p:nvSpPr>
          <p:spPr bwMode="auto">
            <a:xfrm>
              <a:off x="7098" y="1009"/>
              <a:ext cx="232" cy="20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1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1"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3" name="Freeform 107">
              <a:extLst>
                <a:ext uri="{FF2B5EF4-FFF2-40B4-BE49-F238E27FC236}">
                  <a16:creationId xmlns:a16="http://schemas.microsoft.com/office/drawing/2014/main" id="{8622F978-4AC3-644B-8FDC-273CB33F0A15}"/>
                </a:ext>
              </a:extLst>
            </p:cNvPr>
            <p:cNvSpPr>
              <a:spLocks/>
            </p:cNvSpPr>
            <p:nvPr/>
          </p:nvSpPr>
          <p:spPr bwMode="auto">
            <a:xfrm>
              <a:off x="7159" y="1196"/>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4" name="Freeform 108">
              <a:extLst>
                <a:ext uri="{FF2B5EF4-FFF2-40B4-BE49-F238E27FC236}">
                  <a16:creationId xmlns:a16="http://schemas.microsoft.com/office/drawing/2014/main" id="{ACF3D5B5-4655-3B40-BAD6-B0C9C5B3B8FB}"/>
                </a:ext>
              </a:extLst>
            </p:cNvPr>
            <p:cNvSpPr>
              <a:spLocks/>
            </p:cNvSpPr>
            <p:nvPr/>
          </p:nvSpPr>
          <p:spPr bwMode="auto">
            <a:xfrm>
              <a:off x="7299" y="1135"/>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5" name="Freeform 109">
              <a:extLst>
                <a:ext uri="{FF2B5EF4-FFF2-40B4-BE49-F238E27FC236}">
                  <a16:creationId xmlns:a16="http://schemas.microsoft.com/office/drawing/2014/main" id="{B0C19F8C-A1DA-624D-A63E-9A8236C8D2B1}"/>
                </a:ext>
              </a:extLst>
            </p:cNvPr>
            <p:cNvSpPr>
              <a:spLocks/>
            </p:cNvSpPr>
            <p:nvPr/>
          </p:nvSpPr>
          <p:spPr bwMode="auto">
            <a:xfrm>
              <a:off x="7102" y="1056"/>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6" name="Freeform 110">
              <a:extLst>
                <a:ext uri="{FF2B5EF4-FFF2-40B4-BE49-F238E27FC236}">
                  <a16:creationId xmlns:a16="http://schemas.microsoft.com/office/drawing/2014/main" id="{3782311C-41C9-8547-BF6C-74576960ACD8}"/>
                </a:ext>
              </a:extLst>
            </p:cNvPr>
            <p:cNvSpPr>
              <a:spLocks/>
            </p:cNvSpPr>
            <p:nvPr/>
          </p:nvSpPr>
          <p:spPr bwMode="auto">
            <a:xfrm>
              <a:off x="7103" y="1138"/>
              <a:ext cx="28" cy="31"/>
            </a:xfrm>
            <a:custGeom>
              <a:avLst/>
              <a:gdLst>
                <a:gd name="T0" fmla="*/ 17 w 28"/>
                <a:gd name="T1" fmla="*/ 0 h 31"/>
                <a:gd name="T2" fmla="*/ 28 w 28"/>
                <a:gd name="T3" fmla="*/ 23 h 31"/>
                <a:gd name="T4" fmla="*/ 10 w 28"/>
                <a:gd name="T5" fmla="*/ 31 h 31"/>
                <a:gd name="T6" fmla="*/ 0 w 28"/>
                <a:gd name="T7" fmla="*/ 7 h 31"/>
                <a:gd name="T8" fmla="*/ 17 w 28"/>
                <a:gd name="T9" fmla="*/ 0 h 31"/>
              </a:gdLst>
              <a:ahLst/>
              <a:cxnLst>
                <a:cxn ang="0">
                  <a:pos x="T0" y="T1"/>
                </a:cxn>
                <a:cxn ang="0">
                  <a:pos x="T2" y="T3"/>
                </a:cxn>
                <a:cxn ang="0">
                  <a:pos x="T4" y="T5"/>
                </a:cxn>
                <a:cxn ang="0">
                  <a:pos x="T6" y="T7"/>
                </a:cxn>
                <a:cxn ang="0">
                  <a:pos x="T8" y="T9"/>
                </a:cxn>
              </a:cxnLst>
              <a:rect l="0" t="0" r="r" b="b"/>
              <a:pathLst>
                <a:path w="28" h="31">
                  <a:moveTo>
                    <a:pt x="17" y="0"/>
                  </a:moveTo>
                  <a:lnTo>
                    <a:pt x="28" y="23"/>
                  </a:lnTo>
                  <a:lnTo>
                    <a:pt x="10" y="31"/>
                  </a:lnTo>
                  <a:lnTo>
                    <a:pt x="0" y="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7" name="Freeform 111">
              <a:extLst>
                <a:ext uri="{FF2B5EF4-FFF2-40B4-BE49-F238E27FC236}">
                  <a16:creationId xmlns:a16="http://schemas.microsoft.com/office/drawing/2014/main" id="{F0AF420A-252F-8844-8D26-74EB46932A98}"/>
                </a:ext>
              </a:extLst>
            </p:cNvPr>
            <p:cNvSpPr>
              <a:spLocks/>
            </p:cNvSpPr>
            <p:nvPr/>
          </p:nvSpPr>
          <p:spPr bwMode="auto">
            <a:xfrm>
              <a:off x="7297" y="1054"/>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8" name="Freeform 112">
              <a:extLst>
                <a:ext uri="{FF2B5EF4-FFF2-40B4-BE49-F238E27FC236}">
                  <a16:creationId xmlns:a16="http://schemas.microsoft.com/office/drawing/2014/main" id="{570C9B63-6E4F-F846-9FC8-75E253B9CBD7}"/>
                </a:ext>
              </a:extLst>
            </p:cNvPr>
            <p:cNvSpPr>
              <a:spLocks/>
            </p:cNvSpPr>
            <p:nvPr/>
          </p:nvSpPr>
          <p:spPr bwMode="auto">
            <a:xfrm>
              <a:off x="7240" y="1195"/>
              <a:ext cx="31" cy="28"/>
            </a:xfrm>
            <a:custGeom>
              <a:avLst/>
              <a:gdLst>
                <a:gd name="T0" fmla="*/ 0 w 31"/>
                <a:gd name="T1" fmla="*/ 10 h 28"/>
                <a:gd name="T2" fmla="*/ 24 w 31"/>
                <a:gd name="T3" fmla="*/ 0 h 28"/>
                <a:gd name="T4" fmla="*/ 31 w 31"/>
                <a:gd name="T5" fmla="*/ 17 h 28"/>
                <a:gd name="T6" fmla="*/ 8 w 31"/>
                <a:gd name="T7" fmla="*/ 28 h 28"/>
                <a:gd name="T8" fmla="*/ 0 w 31"/>
                <a:gd name="T9" fmla="*/ 10 h 28"/>
              </a:gdLst>
              <a:ahLst/>
              <a:cxnLst>
                <a:cxn ang="0">
                  <a:pos x="T0" y="T1"/>
                </a:cxn>
                <a:cxn ang="0">
                  <a:pos x="T2" y="T3"/>
                </a:cxn>
                <a:cxn ang="0">
                  <a:pos x="T4" y="T5"/>
                </a:cxn>
                <a:cxn ang="0">
                  <a:pos x="T6" y="T7"/>
                </a:cxn>
                <a:cxn ang="0">
                  <a:pos x="T8" y="T9"/>
                </a:cxn>
              </a:cxnLst>
              <a:rect l="0" t="0" r="r" b="b"/>
              <a:pathLst>
                <a:path w="31" h="28">
                  <a:moveTo>
                    <a:pt x="0" y="10"/>
                  </a:moveTo>
                  <a:lnTo>
                    <a:pt x="24" y="0"/>
                  </a:lnTo>
                  <a:lnTo>
                    <a:pt x="31" y="17"/>
                  </a:lnTo>
                  <a:lnTo>
                    <a:pt x="8" y="28"/>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9" name="Freeform 113">
              <a:extLst>
                <a:ext uri="{FF2B5EF4-FFF2-40B4-BE49-F238E27FC236}">
                  <a16:creationId xmlns:a16="http://schemas.microsoft.com/office/drawing/2014/main" id="{B580CE9C-D717-0843-B1CE-745B44CB0916}"/>
                </a:ext>
              </a:extLst>
            </p:cNvPr>
            <p:cNvSpPr>
              <a:spLocks noEditPoints="1"/>
            </p:cNvSpPr>
            <p:nvPr/>
          </p:nvSpPr>
          <p:spPr bwMode="auto">
            <a:xfrm>
              <a:off x="7023" y="1185"/>
              <a:ext cx="118" cy="117"/>
            </a:xfrm>
            <a:custGeom>
              <a:avLst/>
              <a:gdLst>
                <a:gd name="T0" fmla="*/ 257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7 w 515"/>
                <a:gd name="T13" fmla="*/ 347 h 512"/>
                <a:gd name="T14" fmla="*/ 129 w 515"/>
                <a:gd name="T15" fmla="*/ 258 h 512"/>
                <a:gd name="T16" fmla="*/ 166 w 515"/>
                <a:gd name="T17" fmla="*/ 167 h 512"/>
                <a:gd name="T18" fmla="*/ 256 w 515"/>
                <a:gd name="T19" fmla="*/ 128 h 512"/>
                <a:gd name="T20" fmla="*/ 257 w 515"/>
                <a:gd name="T21" fmla="*/ 128 h 512"/>
                <a:gd name="T22" fmla="*/ 257 w 515"/>
                <a:gd name="T23" fmla="*/ 128 h 512"/>
                <a:gd name="T24" fmla="*/ 257 w 515"/>
                <a:gd name="T25" fmla="*/ 128 h 512"/>
                <a:gd name="T26" fmla="*/ 257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7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7"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8" y="384"/>
                    <a:pt x="258" y="384"/>
                    <a:pt x="257" y="384"/>
                  </a:cubicBezTo>
                  <a:cubicBezTo>
                    <a:pt x="224" y="384"/>
                    <a:pt x="192" y="371"/>
                    <a:pt x="167" y="347"/>
                  </a:cubicBezTo>
                  <a:cubicBezTo>
                    <a:pt x="143" y="324"/>
                    <a:pt x="130" y="292"/>
                    <a:pt x="129" y="258"/>
                  </a:cubicBezTo>
                  <a:cubicBezTo>
                    <a:pt x="129" y="224"/>
                    <a:pt x="142" y="192"/>
                    <a:pt x="166" y="167"/>
                  </a:cubicBezTo>
                  <a:cubicBezTo>
                    <a:pt x="190" y="143"/>
                    <a:pt x="222" y="129"/>
                    <a:pt x="256" y="128"/>
                  </a:cubicBezTo>
                  <a:cubicBezTo>
                    <a:pt x="256" y="128"/>
                    <a:pt x="257" y="128"/>
                    <a:pt x="257" y="128"/>
                  </a:cubicBezTo>
                  <a:cubicBezTo>
                    <a:pt x="257" y="128"/>
                    <a:pt x="257" y="128"/>
                    <a:pt x="257" y="128"/>
                  </a:cubicBezTo>
                  <a:cubicBezTo>
                    <a:pt x="257" y="128"/>
                    <a:pt x="257" y="128"/>
                    <a:pt x="257" y="128"/>
                  </a:cubicBezTo>
                  <a:moveTo>
                    <a:pt x="257" y="0"/>
                  </a:moveTo>
                  <a:cubicBezTo>
                    <a:pt x="256" y="0"/>
                    <a:pt x="255" y="0"/>
                    <a:pt x="254" y="0"/>
                  </a:cubicBezTo>
                  <a:cubicBezTo>
                    <a:pt x="113" y="2"/>
                    <a:pt x="0" y="118"/>
                    <a:pt x="1" y="260"/>
                  </a:cubicBezTo>
                  <a:cubicBezTo>
                    <a:pt x="3" y="400"/>
                    <a:pt x="117" y="512"/>
                    <a:pt x="257" y="512"/>
                  </a:cubicBezTo>
                  <a:cubicBezTo>
                    <a:pt x="258" y="512"/>
                    <a:pt x="260" y="512"/>
                    <a:pt x="261" y="512"/>
                  </a:cubicBezTo>
                  <a:cubicBezTo>
                    <a:pt x="402" y="511"/>
                    <a:pt x="515" y="394"/>
                    <a:pt x="513" y="253"/>
                  </a:cubicBezTo>
                  <a:cubicBezTo>
                    <a:pt x="512" y="113"/>
                    <a:pt x="397" y="0"/>
                    <a:pt x="257"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0" name="Freeform 114">
              <a:extLst>
                <a:ext uri="{FF2B5EF4-FFF2-40B4-BE49-F238E27FC236}">
                  <a16:creationId xmlns:a16="http://schemas.microsoft.com/office/drawing/2014/main" id="{33D4BF5F-FDED-EE40-BF1F-C9AE95B1F9BA}"/>
                </a:ext>
              </a:extLst>
            </p:cNvPr>
            <p:cNvSpPr>
              <a:spLocks/>
            </p:cNvSpPr>
            <p:nvPr/>
          </p:nvSpPr>
          <p:spPr bwMode="auto">
            <a:xfrm>
              <a:off x="7074" y="1175"/>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1" name="Rectangle 115">
              <a:extLst>
                <a:ext uri="{FF2B5EF4-FFF2-40B4-BE49-F238E27FC236}">
                  <a16:creationId xmlns:a16="http://schemas.microsoft.com/office/drawing/2014/main" id="{87473417-F86E-064D-9834-874BDBD9E17A}"/>
                </a:ext>
              </a:extLst>
            </p:cNvPr>
            <p:cNvSpPr>
              <a:spLocks noChangeArrowheads="1"/>
            </p:cNvSpPr>
            <p:nvPr/>
          </p:nvSpPr>
          <p:spPr bwMode="auto">
            <a:xfrm>
              <a:off x="7138" y="1236"/>
              <a:ext cx="12"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2" name="Freeform 116">
              <a:extLst>
                <a:ext uri="{FF2B5EF4-FFF2-40B4-BE49-F238E27FC236}">
                  <a16:creationId xmlns:a16="http://schemas.microsoft.com/office/drawing/2014/main" id="{C351F6A8-B9C4-D943-8D2F-1CC16E5C8BCA}"/>
                </a:ext>
              </a:extLst>
            </p:cNvPr>
            <p:cNvSpPr>
              <a:spLocks/>
            </p:cNvSpPr>
            <p:nvPr/>
          </p:nvSpPr>
          <p:spPr bwMode="auto">
            <a:xfrm>
              <a:off x="7117" y="1190"/>
              <a:ext cx="18" cy="18"/>
            </a:xfrm>
            <a:custGeom>
              <a:avLst/>
              <a:gdLst>
                <a:gd name="T0" fmla="*/ 8 w 18"/>
                <a:gd name="T1" fmla="*/ 0 h 18"/>
                <a:gd name="T2" fmla="*/ 18 w 18"/>
                <a:gd name="T3" fmla="*/ 10 h 18"/>
                <a:gd name="T4" fmla="*/ 11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1" y="18"/>
                  </a:lnTo>
                  <a:lnTo>
                    <a:pt x="0" y="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3" name="Freeform 117">
              <a:extLst>
                <a:ext uri="{FF2B5EF4-FFF2-40B4-BE49-F238E27FC236}">
                  <a16:creationId xmlns:a16="http://schemas.microsoft.com/office/drawing/2014/main" id="{186C1C7A-B6AA-684A-B46C-14B75F66D4A4}"/>
                </a:ext>
              </a:extLst>
            </p:cNvPr>
            <p:cNvSpPr>
              <a:spLocks/>
            </p:cNvSpPr>
            <p:nvPr/>
          </p:nvSpPr>
          <p:spPr bwMode="auto">
            <a:xfrm>
              <a:off x="7118" y="1277"/>
              <a:ext cx="19" cy="18"/>
            </a:xfrm>
            <a:custGeom>
              <a:avLst/>
              <a:gdLst>
                <a:gd name="T0" fmla="*/ 0 w 19"/>
                <a:gd name="T1" fmla="*/ 10 h 18"/>
                <a:gd name="T2" fmla="*/ 11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1" y="0"/>
                  </a:lnTo>
                  <a:lnTo>
                    <a:pt x="19" y="8"/>
                  </a:lnTo>
                  <a:lnTo>
                    <a:pt x="8" y="18"/>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4" name="Freeform 118">
              <a:extLst>
                <a:ext uri="{FF2B5EF4-FFF2-40B4-BE49-F238E27FC236}">
                  <a16:creationId xmlns:a16="http://schemas.microsoft.com/office/drawing/2014/main" id="{3EC79FA4-0860-1A40-B4F4-ACC964639608}"/>
                </a:ext>
              </a:extLst>
            </p:cNvPr>
            <p:cNvSpPr>
              <a:spLocks/>
            </p:cNvSpPr>
            <p:nvPr/>
          </p:nvSpPr>
          <p:spPr bwMode="auto">
            <a:xfrm>
              <a:off x="7028" y="1191"/>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5" name="Freeform 119">
              <a:extLst>
                <a:ext uri="{FF2B5EF4-FFF2-40B4-BE49-F238E27FC236}">
                  <a16:creationId xmlns:a16="http://schemas.microsoft.com/office/drawing/2014/main" id="{213677F8-EA43-1A4E-AB10-73F29495B899}"/>
                </a:ext>
              </a:extLst>
            </p:cNvPr>
            <p:cNvSpPr>
              <a:spLocks noEditPoints="1"/>
            </p:cNvSpPr>
            <p:nvPr/>
          </p:nvSpPr>
          <p:spPr bwMode="auto">
            <a:xfrm>
              <a:off x="7019" y="1093"/>
              <a:ext cx="68" cy="66"/>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7 w 295"/>
                <a:gd name="T11" fmla="*/ 220 h 293"/>
                <a:gd name="T12" fmla="*/ 96 w 295"/>
                <a:gd name="T13" fmla="*/ 199 h 293"/>
                <a:gd name="T14" fmla="*/ 74 w 295"/>
                <a:gd name="T15" fmla="*/ 148 h 293"/>
                <a:gd name="T16" fmla="*/ 147 w 295"/>
                <a:gd name="T17" fmla="*/ 74 h 293"/>
                <a:gd name="T18" fmla="*/ 148 w 295"/>
                <a:gd name="T19" fmla="*/ 74 h 293"/>
                <a:gd name="T20" fmla="*/ 148 w 295"/>
                <a:gd name="T21" fmla="*/ 74 h 293"/>
                <a:gd name="T22" fmla="*/ 148 w 295"/>
                <a:gd name="T23" fmla="*/ 74 h 293"/>
                <a:gd name="T24" fmla="*/ 148 w 295"/>
                <a:gd name="T25" fmla="*/ 0 h 293"/>
                <a:gd name="T26" fmla="*/ 146 w 295"/>
                <a:gd name="T27" fmla="*/ 0 h 293"/>
                <a:gd name="T28" fmla="*/ 1 w 295"/>
                <a:gd name="T29" fmla="*/ 149 h 293"/>
                <a:gd name="T30" fmla="*/ 147 w 295"/>
                <a:gd name="T31" fmla="*/ 293 h 293"/>
                <a:gd name="T32" fmla="*/ 149 w 295"/>
                <a:gd name="T33" fmla="*/ 293 h 293"/>
                <a:gd name="T34" fmla="*/ 294 w 295"/>
                <a:gd name="T35" fmla="*/ 145 h 293"/>
                <a:gd name="T36" fmla="*/ 148 w 295"/>
                <a:gd name="T3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7" y="220"/>
                  </a:cubicBezTo>
                  <a:cubicBezTo>
                    <a:pt x="128" y="220"/>
                    <a:pt x="110" y="212"/>
                    <a:pt x="96" y="199"/>
                  </a:cubicBezTo>
                  <a:cubicBezTo>
                    <a:pt x="82" y="185"/>
                    <a:pt x="75" y="167"/>
                    <a:pt x="74" y="148"/>
                  </a:cubicBezTo>
                  <a:cubicBezTo>
                    <a:pt x="74" y="107"/>
                    <a:pt x="106"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7" y="293"/>
                  </a:cubicBezTo>
                  <a:cubicBezTo>
                    <a:pt x="148" y="293"/>
                    <a:pt x="149" y="293"/>
                    <a:pt x="149" y="293"/>
                  </a:cubicBezTo>
                  <a:cubicBezTo>
                    <a:pt x="230" y="292"/>
                    <a:pt x="295" y="226"/>
                    <a:pt x="294" y="145"/>
                  </a:cubicBezTo>
                  <a:cubicBezTo>
                    <a:pt x="293" y="65"/>
                    <a:pt x="227" y="0"/>
                    <a:pt x="14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6" name="Rectangle 120">
              <a:extLst>
                <a:ext uri="{FF2B5EF4-FFF2-40B4-BE49-F238E27FC236}">
                  <a16:creationId xmlns:a16="http://schemas.microsoft.com/office/drawing/2014/main" id="{5E80081C-F13C-C346-A2C4-65C9804E98B4}"/>
                </a:ext>
              </a:extLst>
            </p:cNvPr>
            <p:cNvSpPr>
              <a:spLocks noChangeArrowheads="1"/>
            </p:cNvSpPr>
            <p:nvPr/>
          </p:nvSpPr>
          <p:spPr bwMode="auto">
            <a:xfrm>
              <a:off x="7048" y="1087"/>
              <a:ext cx="9" cy="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7" name="Freeform 121">
              <a:extLst>
                <a:ext uri="{FF2B5EF4-FFF2-40B4-BE49-F238E27FC236}">
                  <a16:creationId xmlns:a16="http://schemas.microsoft.com/office/drawing/2014/main" id="{D9B3A010-9FF9-A54F-A95E-01DE45512580}"/>
                </a:ext>
              </a:extLst>
            </p:cNvPr>
            <p:cNvSpPr>
              <a:spLocks/>
            </p:cNvSpPr>
            <p:nvPr/>
          </p:nvSpPr>
          <p:spPr bwMode="auto">
            <a:xfrm>
              <a:off x="7049" y="1158"/>
              <a:ext cx="9" cy="7"/>
            </a:xfrm>
            <a:custGeom>
              <a:avLst/>
              <a:gdLst>
                <a:gd name="T0" fmla="*/ 9 w 9"/>
                <a:gd name="T1" fmla="*/ 7 h 7"/>
                <a:gd name="T2" fmla="*/ 1 w 9"/>
                <a:gd name="T3" fmla="*/ 7 h 7"/>
                <a:gd name="T4" fmla="*/ 0 w 9"/>
                <a:gd name="T5" fmla="*/ 0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1" y="7"/>
                  </a:lnTo>
                  <a:lnTo>
                    <a:pt x="0" y="0"/>
                  </a:lnTo>
                  <a:lnTo>
                    <a:pt x="9" y="0"/>
                  </a:lnTo>
                  <a:lnTo>
                    <a:pt x="9"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8" name="Rectangle 122">
              <a:extLst>
                <a:ext uri="{FF2B5EF4-FFF2-40B4-BE49-F238E27FC236}">
                  <a16:creationId xmlns:a16="http://schemas.microsoft.com/office/drawing/2014/main" id="{CDC52B85-D218-B74B-A535-1BF997ACE1CC}"/>
                </a:ext>
              </a:extLst>
            </p:cNvPr>
            <p:cNvSpPr>
              <a:spLocks noChangeArrowheads="1"/>
            </p:cNvSpPr>
            <p:nvPr/>
          </p:nvSpPr>
          <p:spPr bwMode="auto">
            <a:xfrm>
              <a:off x="7085" y="1122"/>
              <a:ext cx="7" cy="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9" name="Rectangle 123">
              <a:extLst>
                <a:ext uri="{FF2B5EF4-FFF2-40B4-BE49-F238E27FC236}">
                  <a16:creationId xmlns:a16="http://schemas.microsoft.com/office/drawing/2014/main" id="{30AEF95E-4187-FB4E-BC3F-0BD3EE86E83F}"/>
                </a:ext>
              </a:extLst>
            </p:cNvPr>
            <p:cNvSpPr>
              <a:spLocks noChangeArrowheads="1"/>
            </p:cNvSpPr>
            <p:nvPr/>
          </p:nvSpPr>
          <p:spPr bwMode="auto">
            <a:xfrm>
              <a:off x="7014" y="1122"/>
              <a:ext cx="7" cy="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80" name="Freeform 124">
              <a:extLst>
                <a:ext uri="{FF2B5EF4-FFF2-40B4-BE49-F238E27FC236}">
                  <a16:creationId xmlns:a16="http://schemas.microsoft.com/office/drawing/2014/main" id="{D18D9566-F835-EC4F-9BE7-40779628CC0E}"/>
                </a:ext>
              </a:extLst>
            </p:cNvPr>
            <p:cNvSpPr>
              <a:spLocks/>
            </p:cNvSpPr>
            <p:nvPr/>
          </p:nvSpPr>
          <p:spPr bwMode="auto">
            <a:xfrm>
              <a:off x="7023" y="1146"/>
              <a:ext cx="10" cy="10"/>
            </a:xfrm>
            <a:custGeom>
              <a:avLst/>
              <a:gdLst>
                <a:gd name="T0" fmla="*/ 4 w 10"/>
                <a:gd name="T1" fmla="*/ 0 h 10"/>
                <a:gd name="T2" fmla="*/ 10 w 10"/>
                <a:gd name="T3" fmla="*/ 6 h 10"/>
                <a:gd name="T4" fmla="*/ 6 w 10"/>
                <a:gd name="T5" fmla="*/ 10 h 10"/>
                <a:gd name="T6" fmla="*/ 0 w 10"/>
                <a:gd name="T7" fmla="*/ 4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6" y="10"/>
                  </a:lnTo>
                  <a:lnTo>
                    <a:pt x="0" y="4"/>
                  </a:lnTo>
                  <a:lnTo>
                    <a:pt x="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81" name="Freeform 125">
              <a:extLst>
                <a:ext uri="{FF2B5EF4-FFF2-40B4-BE49-F238E27FC236}">
                  <a16:creationId xmlns:a16="http://schemas.microsoft.com/office/drawing/2014/main" id="{05413989-F393-9B4D-8043-2D2E31AF0544}"/>
                </a:ext>
              </a:extLst>
            </p:cNvPr>
            <p:cNvSpPr>
              <a:spLocks/>
            </p:cNvSpPr>
            <p:nvPr/>
          </p:nvSpPr>
          <p:spPr bwMode="auto">
            <a:xfrm>
              <a:off x="7073" y="1095"/>
              <a:ext cx="11" cy="11"/>
            </a:xfrm>
            <a:custGeom>
              <a:avLst/>
              <a:gdLst>
                <a:gd name="T0" fmla="*/ 4 w 11"/>
                <a:gd name="T1" fmla="*/ 0 h 11"/>
                <a:gd name="T2" fmla="*/ 11 w 11"/>
                <a:gd name="T3" fmla="*/ 6 h 11"/>
                <a:gd name="T4" fmla="*/ 6 w 11"/>
                <a:gd name="T5" fmla="*/ 11 h 11"/>
                <a:gd name="T6" fmla="*/ 0 w 11"/>
                <a:gd name="T7" fmla="*/ 5 h 11"/>
                <a:gd name="T8" fmla="*/ 4 w 11"/>
                <a:gd name="T9" fmla="*/ 0 h 11"/>
              </a:gdLst>
              <a:ahLst/>
              <a:cxnLst>
                <a:cxn ang="0">
                  <a:pos x="T0" y="T1"/>
                </a:cxn>
                <a:cxn ang="0">
                  <a:pos x="T2" y="T3"/>
                </a:cxn>
                <a:cxn ang="0">
                  <a:pos x="T4" y="T5"/>
                </a:cxn>
                <a:cxn ang="0">
                  <a:pos x="T6" y="T7"/>
                </a:cxn>
                <a:cxn ang="0">
                  <a:pos x="T8" y="T9"/>
                </a:cxn>
              </a:cxnLst>
              <a:rect l="0" t="0" r="r" b="b"/>
              <a:pathLst>
                <a:path w="11" h="11">
                  <a:moveTo>
                    <a:pt x="4" y="0"/>
                  </a:moveTo>
                  <a:lnTo>
                    <a:pt x="11" y="6"/>
                  </a:lnTo>
                  <a:lnTo>
                    <a:pt x="6" y="11"/>
                  </a:lnTo>
                  <a:lnTo>
                    <a:pt x="0" y="5"/>
                  </a:lnTo>
                  <a:lnTo>
                    <a:pt x="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82" name="Freeform 126">
              <a:extLst>
                <a:ext uri="{FF2B5EF4-FFF2-40B4-BE49-F238E27FC236}">
                  <a16:creationId xmlns:a16="http://schemas.microsoft.com/office/drawing/2014/main" id="{405BB36D-DD11-0047-99BE-01794C2B6D36}"/>
                </a:ext>
              </a:extLst>
            </p:cNvPr>
            <p:cNvSpPr>
              <a:spLocks/>
            </p:cNvSpPr>
            <p:nvPr/>
          </p:nvSpPr>
          <p:spPr bwMode="auto">
            <a:xfrm>
              <a:off x="7073" y="1145"/>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83" name="Freeform 127">
              <a:extLst>
                <a:ext uri="{FF2B5EF4-FFF2-40B4-BE49-F238E27FC236}">
                  <a16:creationId xmlns:a16="http://schemas.microsoft.com/office/drawing/2014/main" id="{03B69CBC-8E97-6F40-B1B9-C0863AC904E1}"/>
                </a:ext>
              </a:extLst>
            </p:cNvPr>
            <p:cNvSpPr>
              <a:spLocks/>
            </p:cNvSpPr>
            <p:nvPr/>
          </p:nvSpPr>
          <p:spPr bwMode="auto">
            <a:xfrm>
              <a:off x="7022" y="1096"/>
              <a:ext cx="11" cy="11"/>
            </a:xfrm>
            <a:custGeom>
              <a:avLst/>
              <a:gdLst>
                <a:gd name="T0" fmla="*/ 0 w 11"/>
                <a:gd name="T1" fmla="*/ 6 h 11"/>
                <a:gd name="T2" fmla="*/ 6 w 11"/>
                <a:gd name="T3" fmla="*/ 0 h 11"/>
                <a:gd name="T4" fmla="*/ 11 w 11"/>
                <a:gd name="T5" fmla="*/ 5 h 11"/>
                <a:gd name="T6" fmla="*/ 5 w 11"/>
                <a:gd name="T7" fmla="*/ 11 h 11"/>
                <a:gd name="T8" fmla="*/ 0 w 11"/>
                <a:gd name="T9" fmla="*/ 6 h 11"/>
              </a:gdLst>
              <a:ahLst/>
              <a:cxnLst>
                <a:cxn ang="0">
                  <a:pos x="T0" y="T1"/>
                </a:cxn>
                <a:cxn ang="0">
                  <a:pos x="T2" y="T3"/>
                </a:cxn>
                <a:cxn ang="0">
                  <a:pos x="T4" y="T5"/>
                </a:cxn>
                <a:cxn ang="0">
                  <a:pos x="T6" y="T7"/>
                </a:cxn>
                <a:cxn ang="0">
                  <a:pos x="T8" y="T9"/>
                </a:cxn>
              </a:cxnLst>
              <a:rect l="0" t="0" r="r" b="b"/>
              <a:pathLst>
                <a:path w="11" h="11">
                  <a:moveTo>
                    <a:pt x="0" y="6"/>
                  </a:moveTo>
                  <a:lnTo>
                    <a:pt x="6" y="0"/>
                  </a:lnTo>
                  <a:lnTo>
                    <a:pt x="11" y="5"/>
                  </a:lnTo>
                  <a:lnTo>
                    <a:pt x="5" y="11"/>
                  </a:lnTo>
                  <a:lnTo>
                    <a:pt x="0" y="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grpSp>
        <p:nvGrpSpPr>
          <p:cNvPr id="84" name="Group 47">
            <a:extLst>
              <a:ext uri="{FF2B5EF4-FFF2-40B4-BE49-F238E27FC236}">
                <a16:creationId xmlns:a16="http://schemas.microsoft.com/office/drawing/2014/main" id="{72ABF5B5-F8E2-D448-9507-112719FA76B4}"/>
              </a:ext>
            </a:extLst>
          </p:cNvPr>
          <p:cNvGrpSpPr>
            <a:grpSpLocks noChangeAspect="1"/>
          </p:cNvGrpSpPr>
          <p:nvPr/>
        </p:nvGrpSpPr>
        <p:grpSpPr bwMode="auto">
          <a:xfrm>
            <a:off x="10604710" y="4076884"/>
            <a:ext cx="495230" cy="495230"/>
            <a:chOff x="3411" y="999"/>
            <a:chExt cx="312" cy="312"/>
          </a:xfrm>
        </p:grpSpPr>
        <p:sp>
          <p:nvSpPr>
            <p:cNvPr id="85" name="AutoShape 46">
              <a:extLst>
                <a:ext uri="{FF2B5EF4-FFF2-40B4-BE49-F238E27FC236}">
                  <a16:creationId xmlns:a16="http://schemas.microsoft.com/office/drawing/2014/main" id="{6235DFF8-97C4-AF49-AB2E-A36AA2EE06C1}"/>
                </a:ext>
              </a:extLst>
            </p:cNvPr>
            <p:cNvSpPr>
              <a:spLocks noChangeAspect="1" noChangeArrowheads="1" noTextEdit="1"/>
            </p:cNvSpPr>
            <p:nvPr/>
          </p:nvSpPr>
          <p:spPr bwMode="auto">
            <a:xfrm>
              <a:off x="3411" y="999"/>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86" name="Freeform 48">
              <a:extLst>
                <a:ext uri="{FF2B5EF4-FFF2-40B4-BE49-F238E27FC236}">
                  <a16:creationId xmlns:a16="http://schemas.microsoft.com/office/drawing/2014/main" id="{D2411175-5696-0749-8DFA-FF6D1BB34C1B}"/>
                </a:ext>
              </a:extLst>
            </p:cNvPr>
            <p:cNvSpPr>
              <a:spLocks noEditPoints="1"/>
            </p:cNvSpPr>
            <p:nvPr/>
          </p:nvSpPr>
          <p:spPr bwMode="auto">
            <a:xfrm>
              <a:off x="3411" y="999"/>
              <a:ext cx="312" cy="312"/>
            </a:xfrm>
            <a:custGeom>
              <a:avLst/>
              <a:gdLst>
                <a:gd name="T0" fmla="*/ 683 w 1366"/>
                <a:gd name="T1" fmla="*/ 128 h 1365"/>
                <a:gd name="T2" fmla="*/ 899 w 1366"/>
                <a:gd name="T3" fmla="*/ 171 h 1365"/>
                <a:gd name="T4" fmla="*/ 1075 w 1366"/>
                <a:gd name="T5" fmla="*/ 290 h 1365"/>
                <a:gd name="T6" fmla="*/ 1194 w 1366"/>
                <a:gd name="T7" fmla="*/ 466 h 1365"/>
                <a:gd name="T8" fmla="*/ 1238 w 1366"/>
                <a:gd name="T9" fmla="*/ 682 h 1365"/>
                <a:gd name="T10" fmla="*/ 1194 w 1366"/>
                <a:gd name="T11" fmla="*/ 898 h 1365"/>
                <a:gd name="T12" fmla="*/ 1075 w 1366"/>
                <a:gd name="T13" fmla="*/ 1075 h 1365"/>
                <a:gd name="T14" fmla="*/ 899 w 1366"/>
                <a:gd name="T15" fmla="*/ 1193 h 1365"/>
                <a:gd name="T16" fmla="*/ 683 w 1366"/>
                <a:gd name="T17" fmla="*/ 1237 h 1365"/>
                <a:gd name="T18" fmla="*/ 467 w 1366"/>
                <a:gd name="T19" fmla="*/ 1193 h 1365"/>
                <a:gd name="T20" fmla="*/ 291 w 1366"/>
                <a:gd name="T21" fmla="*/ 1075 h 1365"/>
                <a:gd name="T22" fmla="*/ 172 w 1366"/>
                <a:gd name="T23" fmla="*/ 898 h 1365"/>
                <a:gd name="T24" fmla="*/ 128 w 1366"/>
                <a:gd name="T25" fmla="*/ 682 h 1365"/>
                <a:gd name="T26" fmla="*/ 172 w 1366"/>
                <a:gd name="T27" fmla="*/ 466 h 1365"/>
                <a:gd name="T28" fmla="*/ 291 w 1366"/>
                <a:gd name="T29" fmla="*/ 290 h 1365"/>
                <a:gd name="T30" fmla="*/ 467 w 1366"/>
                <a:gd name="T31" fmla="*/ 171 h 1365"/>
                <a:gd name="T32" fmla="*/ 683 w 1366"/>
                <a:gd name="T33" fmla="*/ 128 h 1365"/>
                <a:gd name="T34" fmla="*/ 683 w 1366"/>
                <a:gd name="T35" fmla="*/ 0 h 1365"/>
                <a:gd name="T36" fmla="*/ 0 w 1366"/>
                <a:gd name="T37" fmla="*/ 682 h 1365"/>
                <a:gd name="T38" fmla="*/ 683 w 1366"/>
                <a:gd name="T39" fmla="*/ 1365 h 1365"/>
                <a:gd name="T40" fmla="*/ 1366 w 1366"/>
                <a:gd name="T41" fmla="*/ 682 h 1365"/>
                <a:gd name="T42" fmla="*/ 683 w 1366"/>
                <a:gd name="T43" fmla="*/ 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6" h="1365">
                  <a:moveTo>
                    <a:pt x="683" y="128"/>
                  </a:moveTo>
                  <a:cubicBezTo>
                    <a:pt x="758" y="128"/>
                    <a:pt x="831" y="142"/>
                    <a:pt x="899" y="171"/>
                  </a:cubicBezTo>
                  <a:cubicBezTo>
                    <a:pt x="965" y="199"/>
                    <a:pt x="1024" y="239"/>
                    <a:pt x="1075" y="290"/>
                  </a:cubicBezTo>
                  <a:cubicBezTo>
                    <a:pt x="1126" y="341"/>
                    <a:pt x="1166" y="400"/>
                    <a:pt x="1194" y="466"/>
                  </a:cubicBezTo>
                  <a:cubicBezTo>
                    <a:pt x="1223" y="535"/>
                    <a:pt x="1238" y="607"/>
                    <a:pt x="1238" y="682"/>
                  </a:cubicBezTo>
                  <a:cubicBezTo>
                    <a:pt x="1238" y="757"/>
                    <a:pt x="1223" y="830"/>
                    <a:pt x="1194" y="898"/>
                  </a:cubicBezTo>
                  <a:cubicBezTo>
                    <a:pt x="1166" y="964"/>
                    <a:pt x="1126" y="1024"/>
                    <a:pt x="1075" y="1075"/>
                  </a:cubicBezTo>
                  <a:cubicBezTo>
                    <a:pt x="1024" y="1126"/>
                    <a:pt x="965" y="1166"/>
                    <a:pt x="899" y="1193"/>
                  </a:cubicBezTo>
                  <a:cubicBezTo>
                    <a:pt x="831" y="1222"/>
                    <a:pt x="758" y="1237"/>
                    <a:pt x="683" y="1237"/>
                  </a:cubicBezTo>
                  <a:cubicBezTo>
                    <a:pt x="608" y="1237"/>
                    <a:pt x="535" y="1222"/>
                    <a:pt x="467" y="1193"/>
                  </a:cubicBezTo>
                  <a:cubicBezTo>
                    <a:pt x="401" y="1166"/>
                    <a:pt x="342" y="1126"/>
                    <a:pt x="291" y="1075"/>
                  </a:cubicBezTo>
                  <a:cubicBezTo>
                    <a:pt x="240" y="1024"/>
                    <a:pt x="200" y="964"/>
                    <a:pt x="172" y="898"/>
                  </a:cubicBezTo>
                  <a:cubicBezTo>
                    <a:pt x="143" y="830"/>
                    <a:pt x="128" y="757"/>
                    <a:pt x="128" y="682"/>
                  </a:cubicBezTo>
                  <a:cubicBezTo>
                    <a:pt x="128" y="607"/>
                    <a:pt x="143" y="535"/>
                    <a:pt x="172" y="466"/>
                  </a:cubicBezTo>
                  <a:cubicBezTo>
                    <a:pt x="200" y="400"/>
                    <a:pt x="240" y="341"/>
                    <a:pt x="291" y="290"/>
                  </a:cubicBezTo>
                  <a:cubicBezTo>
                    <a:pt x="342" y="239"/>
                    <a:pt x="401" y="199"/>
                    <a:pt x="467" y="171"/>
                  </a:cubicBezTo>
                  <a:cubicBezTo>
                    <a:pt x="535" y="142"/>
                    <a:pt x="608" y="128"/>
                    <a:pt x="683" y="128"/>
                  </a:cubicBezTo>
                  <a:moveTo>
                    <a:pt x="683" y="0"/>
                  </a:moveTo>
                  <a:cubicBezTo>
                    <a:pt x="306" y="0"/>
                    <a:pt x="0" y="305"/>
                    <a:pt x="0" y="682"/>
                  </a:cubicBezTo>
                  <a:cubicBezTo>
                    <a:pt x="0" y="1059"/>
                    <a:pt x="306" y="1365"/>
                    <a:pt x="683" y="1365"/>
                  </a:cubicBezTo>
                  <a:cubicBezTo>
                    <a:pt x="1060" y="1365"/>
                    <a:pt x="1366" y="1059"/>
                    <a:pt x="1366" y="682"/>
                  </a:cubicBezTo>
                  <a:cubicBezTo>
                    <a:pt x="1366" y="305"/>
                    <a:pt x="1060" y="0"/>
                    <a:pt x="68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87" name="Freeform 49">
              <a:extLst>
                <a:ext uri="{FF2B5EF4-FFF2-40B4-BE49-F238E27FC236}">
                  <a16:creationId xmlns:a16="http://schemas.microsoft.com/office/drawing/2014/main" id="{151A780B-FD18-7947-A833-2CB721A2C0C5}"/>
                </a:ext>
              </a:extLst>
            </p:cNvPr>
            <p:cNvSpPr>
              <a:spLocks noEditPoints="1"/>
            </p:cNvSpPr>
            <p:nvPr/>
          </p:nvSpPr>
          <p:spPr bwMode="auto">
            <a:xfrm>
              <a:off x="3479" y="1077"/>
              <a:ext cx="176" cy="156"/>
            </a:xfrm>
            <a:custGeom>
              <a:avLst/>
              <a:gdLst>
                <a:gd name="T0" fmla="*/ 387 w 774"/>
                <a:gd name="T1" fmla="*/ 128 h 683"/>
                <a:gd name="T2" fmla="*/ 466 w 774"/>
                <a:gd name="T3" fmla="*/ 143 h 683"/>
                <a:gd name="T4" fmla="*/ 583 w 774"/>
                <a:gd name="T5" fmla="*/ 257 h 683"/>
                <a:gd name="T6" fmla="*/ 585 w 774"/>
                <a:gd name="T7" fmla="*/ 420 h 683"/>
                <a:gd name="T8" fmla="*/ 505 w 774"/>
                <a:gd name="T9" fmla="*/ 519 h 683"/>
                <a:gd name="T10" fmla="*/ 387 w 774"/>
                <a:gd name="T11" fmla="*/ 555 h 683"/>
                <a:gd name="T12" fmla="*/ 308 w 774"/>
                <a:gd name="T13" fmla="*/ 539 h 683"/>
                <a:gd name="T14" fmla="*/ 191 w 774"/>
                <a:gd name="T15" fmla="*/ 426 h 683"/>
                <a:gd name="T16" fmla="*/ 189 w 774"/>
                <a:gd name="T17" fmla="*/ 262 h 683"/>
                <a:gd name="T18" fmla="*/ 269 w 774"/>
                <a:gd name="T19" fmla="*/ 164 h 683"/>
                <a:gd name="T20" fmla="*/ 387 w 774"/>
                <a:gd name="T21" fmla="*/ 128 h 683"/>
                <a:gd name="T22" fmla="*/ 387 w 774"/>
                <a:gd name="T23" fmla="*/ 128 h 683"/>
                <a:gd name="T24" fmla="*/ 387 w 774"/>
                <a:gd name="T25" fmla="*/ 0 h 683"/>
                <a:gd name="T26" fmla="*/ 70 w 774"/>
                <a:gd name="T27" fmla="*/ 215 h 683"/>
                <a:gd name="T28" fmla="*/ 261 w 774"/>
                <a:gd name="T29" fmla="*/ 658 h 683"/>
                <a:gd name="T30" fmla="*/ 387 w 774"/>
                <a:gd name="T31" fmla="*/ 683 h 683"/>
                <a:gd name="T32" fmla="*/ 704 w 774"/>
                <a:gd name="T33" fmla="*/ 468 h 683"/>
                <a:gd name="T34" fmla="*/ 513 w 774"/>
                <a:gd name="T35" fmla="*/ 24 h 683"/>
                <a:gd name="T36" fmla="*/ 387 w 774"/>
                <a:gd name="T37" fmla="*/ 0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4" h="683">
                  <a:moveTo>
                    <a:pt x="387" y="128"/>
                  </a:moveTo>
                  <a:cubicBezTo>
                    <a:pt x="414" y="128"/>
                    <a:pt x="441" y="133"/>
                    <a:pt x="466" y="143"/>
                  </a:cubicBezTo>
                  <a:cubicBezTo>
                    <a:pt x="519" y="164"/>
                    <a:pt x="560" y="205"/>
                    <a:pt x="583" y="257"/>
                  </a:cubicBezTo>
                  <a:cubicBezTo>
                    <a:pt x="605" y="309"/>
                    <a:pt x="606" y="367"/>
                    <a:pt x="585" y="420"/>
                  </a:cubicBezTo>
                  <a:cubicBezTo>
                    <a:pt x="569" y="461"/>
                    <a:pt x="541" y="495"/>
                    <a:pt x="505" y="519"/>
                  </a:cubicBezTo>
                  <a:cubicBezTo>
                    <a:pt x="470" y="542"/>
                    <a:pt x="429" y="555"/>
                    <a:pt x="387" y="555"/>
                  </a:cubicBezTo>
                  <a:cubicBezTo>
                    <a:pt x="360" y="555"/>
                    <a:pt x="333" y="550"/>
                    <a:pt x="308" y="539"/>
                  </a:cubicBezTo>
                  <a:cubicBezTo>
                    <a:pt x="255" y="518"/>
                    <a:pt x="214" y="478"/>
                    <a:pt x="191" y="426"/>
                  </a:cubicBezTo>
                  <a:cubicBezTo>
                    <a:pt x="169" y="373"/>
                    <a:pt x="168" y="315"/>
                    <a:pt x="189" y="262"/>
                  </a:cubicBezTo>
                  <a:cubicBezTo>
                    <a:pt x="205" y="222"/>
                    <a:pt x="233" y="188"/>
                    <a:pt x="269" y="164"/>
                  </a:cubicBezTo>
                  <a:cubicBezTo>
                    <a:pt x="304" y="140"/>
                    <a:pt x="345" y="128"/>
                    <a:pt x="387" y="128"/>
                  </a:cubicBezTo>
                  <a:cubicBezTo>
                    <a:pt x="387" y="128"/>
                    <a:pt x="387" y="128"/>
                    <a:pt x="387" y="128"/>
                  </a:cubicBezTo>
                  <a:moveTo>
                    <a:pt x="387" y="0"/>
                  </a:moveTo>
                  <a:cubicBezTo>
                    <a:pt x="252" y="0"/>
                    <a:pt x="123" y="81"/>
                    <a:pt x="70" y="215"/>
                  </a:cubicBezTo>
                  <a:cubicBezTo>
                    <a:pt x="0" y="390"/>
                    <a:pt x="86" y="588"/>
                    <a:pt x="261" y="658"/>
                  </a:cubicBezTo>
                  <a:cubicBezTo>
                    <a:pt x="302" y="675"/>
                    <a:pt x="345" y="683"/>
                    <a:pt x="387" y="683"/>
                  </a:cubicBezTo>
                  <a:cubicBezTo>
                    <a:pt x="522" y="683"/>
                    <a:pt x="651" y="601"/>
                    <a:pt x="704" y="468"/>
                  </a:cubicBezTo>
                  <a:cubicBezTo>
                    <a:pt x="774" y="293"/>
                    <a:pt x="688" y="94"/>
                    <a:pt x="513" y="24"/>
                  </a:cubicBezTo>
                  <a:cubicBezTo>
                    <a:pt x="472" y="8"/>
                    <a:pt x="429" y="0"/>
                    <a:pt x="387"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88" name="Freeform 50">
              <a:extLst>
                <a:ext uri="{FF2B5EF4-FFF2-40B4-BE49-F238E27FC236}">
                  <a16:creationId xmlns:a16="http://schemas.microsoft.com/office/drawing/2014/main" id="{820696F4-E6A3-B148-8509-6472CF3639EB}"/>
                </a:ext>
              </a:extLst>
            </p:cNvPr>
            <p:cNvSpPr>
              <a:spLocks/>
            </p:cNvSpPr>
            <p:nvPr/>
          </p:nvSpPr>
          <p:spPr bwMode="auto">
            <a:xfrm>
              <a:off x="3479" y="1112"/>
              <a:ext cx="22" cy="24"/>
            </a:xfrm>
            <a:custGeom>
              <a:avLst/>
              <a:gdLst>
                <a:gd name="T0" fmla="*/ 22 w 22"/>
                <a:gd name="T1" fmla="*/ 6 h 24"/>
                <a:gd name="T2" fmla="*/ 14 w 22"/>
                <a:gd name="T3" fmla="*/ 24 h 24"/>
                <a:gd name="T4" fmla="*/ 0 w 22"/>
                <a:gd name="T5" fmla="*/ 19 h 24"/>
                <a:gd name="T6" fmla="*/ 8 w 22"/>
                <a:gd name="T7" fmla="*/ 0 h 24"/>
                <a:gd name="T8" fmla="*/ 22 w 22"/>
                <a:gd name="T9" fmla="*/ 6 h 24"/>
              </a:gdLst>
              <a:ahLst/>
              <a:cxnLst>
                <a:cxn ang="0">
                  <a:pos x="T0" y="T1"/>
                </a:cxn>
                <a:cxn ang="0">
                  <a:pos x="T2" y="T3"/>
                </a:cxn>
                <a:cxn ang="0">
                  <a:pos x="T4" y="T5"/>
                </a:cxn>
                <a:cxn ang="0">
                  <a:pos x="T6" y="T7"/>
                </a:cxn>
                <a:cxn ang="0">
                  <a:pos x="T8" y="T9"/>
                </a:cxn>
              </a:cxnLst>
              <a:rect l="0" t="0" r="r" b="b"/>
              <a:pathLst>
                <a:path w="22" h="24">
                  <a:moveTo>
                    <a:pt x="22" y="6"/>
                  </a:moveTo>
                  <a:lnTo>
                    <a:pt x="14" y="24"/>
                  </a:lnTo>
                  <a:lnTo>
                    <a:pt x="0" y="19"/>
                  </a:lnTo>
                  <a:lnTo>
                    <a:pt x="8" y="0"/>
                  </a:lnTo>
                  <a:lnTo>
                    <a:pt x="22" y="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89" name="Freeform 51">
              <a:extLst>
                <a:ext uri="{FF2B5EF4-FFF2-40B4-BE49-F238E27FC236}">
                  <a16:creationId xmlns:a16="http://schemas.microsoft.com/office/drawing/2014/main" id="{FAC17F1D-9B19-0E4C-BAE8-B9B5BB82D70A}"/>
                </a:ext>
              </a:extLst>
            </p:cNvPr>
            <p:cNvSpPr>
              <a:spLocks/>
            </p:cNvSpPr>
            <p:nvPr/>
          </p:nvSpPr>
          <p:spPr bwMode="auto">
            <a:xfrm>
              <a:off x="3633" y="1174"/>
              <a:ext cx="22" cy="24"/>
            </a:xfrm>
            <a:custGeom>
              <a:avLst/>
              <a:gdLst>
                <a:gd name="T0" fmla="*/ 22 w 22"/>
                <a:gd name="T1" fmla="*/ 5 h 24"/>
                <a:gd name="T2" fmla="*/ 14 w 22"/>
                <a:gd name="T3" fmla="*/ 24 h 24"/>
                <a:gd name="T4" fmla="*/ 0 w 22"/>
                <a:gd name="T5" fmla="*/ 18 h 24"/>
                <a:gd name="T6" fmla="*/ 8 w 22"/>
                <a:gd name="T7" fmla="*/ 0 h 24"/>
                <a:gd name="T8" fmla="*/ 22 w 22"/>
                <a:gd name="T9" fmla="*/ 5 h 24"/>
              </a:gdLst>
              <a:ahLst/>
              <a:cxnLst>
                <a:cxn ang="0">
                  <a:pos x="T0" y="T1"/>
                </a:cxn>
                <a:cxn ang="0">
                  <a:pos x="T2" y="T3"/>
                </a:cxn>
                <a:cxn ang="0">
                  <a:pos x="T4" y="T5"/>
                </a:cxn>
                <a:cxn ang="0">
                  <a:pos x="T6" y="T7"/>
                </a:cxn>
                <a:cxn ang="0">
                  <a:pos x="T8" y="T9"/>
                </a:cxn>
              </a:cxnLst>
              <a:rect l="0" t="0" r="r" b="b"/>
              <a:pathLst>
                <a:path w="22" h="24">
                  <a:moveTo>
                    <a:pt x="22" y="5"/>
                  </a:moveTo>
                  <a:lnTo>
                    <a:pt x="14" y="24"/>
                  </a:lnTo>
                  <a:lnTo>
                    <a:pt x="0" y="18"/>
                  </a:lnTo>
                  <a:lnTo>
                    <a:pt x="8" y="0"/>
                  </a:lnTo>
                  <a:lnTo>
                    <a:pt x="22" y="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90" name="Freeform 52">
              <a:extLst>
                <a:ext uri="{FF2B5EF4-FFF2-40B4-BE49-F238E27FC236}">
                  <a16:creationId xmlns:a16="http://schemas.microsoft.com/office/drawing/2014/main" id="{C2820AD9-75BA-5640-A262-344ECC903B48}"/>
                </a:ext>
              </a:extLst>
            </p:cNvPr>
            <p:cNvSpPr>
              <a:spLocks/>
            </p:cNvSpPr>
            <p:nvPr/>
          </p:nvSpPr>
          <p:spPr bwMode="auto">
            <a:xfrm>
              <a:off x="3586" y="1067"/>
              <a:ext cx="24" cy="22"/>
            </a:xfrm>
            <a:custGeom>
              <a:avLst/>
              <a:gdLst>
                <a:gd name="T0" fmla="*/ 5 w 24"/>
                <a:gd name="T1" fmla="*/ 0 h 22"/>
                <a:gd name="T2" fmla="*/ 24 w 24"/>
                <a:gd name="T3" fmla="*/ 8 h 22"/>
                <a:gd name="T4" fmla="*/ 18 w 24"/>
                <a:gd name="T5" fmla="*/ 22 h 22"/>
                <a:gd name="T6" fmla="*/ 0 w 24"/>
                <a:gd name="T7" fmla="*/ 14 h 22"/>
                <a:gd name="T8" fmla="*/ 5 w 24"/>
                <a:gd name="T9" fmla="*/ 0 h 22"/>
              </a:gdLst>
              <a:ahLst/>
              <a:cxnLst>
                <a:cxn ang="0">
                  <a:pos x="T0" y="T1"/>
                </a:cxn>
                <a:cxn ang="0">
                  <a:pos x="T2" y="T3"/>
                </a:cxn>
                <a:cxn ang="0">
                  <a:pos x="T4" y="T5"/>
                </a:cxn>
                <a:cxn ang="0">
                  <a:pos x="T6" y="T7"/>
                </a:cxn>
                <a:cxn ang="0">
                  <a:pos x="T8" y="T9"/>
                </a:cxn>
              </a:cxnLst>
              <a:rect l="0" t="0" r="r" b="b"/>
              <a:pathLst>
                <a:path w="24" h="22">
                  <a:moveTo>
                    <a:pt x="5" y="0"/>
                  </a:moveTo>
                  <a:lnTo>
                    <a:pt x="24" y="8"/>
                  </a:lnTo>
                  <a:lnTo>
                    <a:pt x="18" y="22"/>
                  </a:lnTo>
                  <a:lnTo>
                    <a:pt x="0" y="14"/>
                  </a:lnTo>
                  <a:lnTo>
                    <a:pt x="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91" name="Freeform 53">
              <a:extLst>
                <a:ext uri="{FF2B5EF4-FFF2-40B4-BE49-F238E27FC236}">
                  <a16:creationId xmlns:a16="http://schemas.microsoft.com/office/drawing/2014/main" id="{B9D6579B-D4DA-5742-AC57-61D2EBAFC47C}"/>
                </a:ext>
              </a:extLst>
            </p:cNvPr>
            <p:cNvSpPr>
              <a:spLocks/>
            </p:cNvSpPr>
            <p:nvPr/>
          </p:nvSpPr>
          <p:spPr bwMode="auto">
            <a:xfrm>
              <a:off x="3524" y="1221"/>
              <a:ext cx="25" cy="22"/>
            </a:xfrm>
            <a:custGeom>
              <a:avLst/>
              <a:gdLst>
                <a:gd name="T0" fmla="*/ 6 w 25"/>
                <a:gd name="T1" fmla="*/ 0 h 22"/>
                <a:gd name="T2" fmla="*/ 25 w 25"/>
                <a:gd name="T3" fmla="*/ 8 h 22"/>
                <a:gd name="T4" fmla="*/ 19 w 25"/>
                <a:gd name="T5" fmla="*/ 22 h 22"/>
                <a:gd name="T6" fmla="*/ 0 w 25"/>
                <a:gd name="T7" fmla="*/ 14 h 22"/>
                <a:gd name="T8" fmla="*/ 6 w 25"/>
                <a:gd name="T9" fmla="*/ 0 h 22"/>
              </a:gdLst>
              <a:ahLst/>
              <a:cxnLst>
                <a:cxn ang="0">
                  <a:pos x="T0" y="T1"/>
                </a:cxn>
                <a:cxn ang="0">
                  <a:pos x="T2" y="T3"/>
                </a:cxn>
                <a:cxn ang="0">
                  <a:pos x="T4" y="T5"/>
                </a:cxn>
                <a:cxn ang="0">
                  <a:pos x="T6" y="T7"/>
                </a:cxn>
                <a:cxn ang="0">
                  <a:pos x="T8" y="T9"/>
                </a:cxn>
              </a:cxnLst>
              <a:rect l="0" t="0" r="r" b="b"/>
              <a:pathLst>
                <a:path w="25" h="22">
                  <a:moveTo>
                    <a:pt x="6" y="0"/>
                  </a:moveTo>
                  <a:lnTo>
                    <a:pt x="25" y="8"/>
                  </a:lnTo>
                  <a:lnTo>
                    <a:pt x="19" y="22"/>
                  </a:lnTo>
                  <a:lnTo>
                    <a:pt x="0" y="14"/>
                  </a:lnTo>
                  <a:lnTo>
                    <a:pt x="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92" name="Freeform 54">
              <a:extLst>
                <a:ext uri="{FF2B5EF4-FFF2-40B4-BE49-F238E27FC236}">
                  <a16:creationId xmlns:a16="http://schemas.microsoft.com/office/drawing/2014/main" id="{3764BB13-739D-2646-AAED-E86E3337A16D}"/>
                </a:ext>
              </a:extLst>
            </p:cNvPr>
            <p:cNvSpPr>
              <a:spLocks/>
            </p:cNvSpPr>
            <p:nvPr/>
          </p:nvSpPr>
          <p:spPr bwMode="auto">
            <a:xfrm>
              <a:off x="3588" y="1220"/>
              <a:ext cx="24" cy="22"/>
            </a:xfrm>
            <a:custGeom>
              <a:avLst/>
              <a:gdLst>
                <a:gd name="T0" fmla="*/ 0 w 24"/>
                <a:gd name="T1" fmla="*/ 8 h 22"/>
                <a:gd name="T2" fmla="*/ 18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8" y="0"/>
                  </a:lnTo>
                  <a:lnTo>
                    <a:pt x="24" y="14"/>
                  </a:lnTo>
                  <a:lnTo>
                    <a:pt x="6" y="22"/>
                  </a:lnTo>
                  <a:lnTo>
                    <a:pt x="0"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93" name="Freeform 55">
              <a:extLst>
                <a:ext uri="{FF2B5EF4-FFF2-40B4-BE49-F238E27FC236}">
                  <a16:creationId xmlns:a16="http://schemas.microsoft.com/office/drawing/2014/main" id="{DD5B0A93-E7D3-854E-9565-A91326C0CF82}"/>
                </a:ext>
              </a:extLst>
            </p:cNvPr>
            <p:cNvSpPr>
              <a:spLocks/>
            </p:cNvSpPr>
            <p:nvPr/>
          </p:nvSpPr>
          <p:spPr bwMode="auto">
            <a:xfrm>
              <a:off x="3522" y="1068"/>
              <a:ext cx="24" cy="22"/>
            </a:xfrm>
            <a:custGeom>
              <a:avLst/>
              <a:gdLst>
                <a:gd name="T0" fmla="*/ 0 w 24"/>
                <a:gd name="T1" fmla="*/ 8 h 22"/>
                <a:gd name="T2" fmla="*/ 19 w 24"/>
                <a:gd name="T3" fmla="*/ 0 h 22"/>
                <a:gd name="T4" fmla="*/ 24 w 24"/>
                <a:gd name="T5" fmla="*/ 14 h 22"/>
                <a:gd name="T6" fmla="*/ 6 w 24"/>
                <a:gd name="T7" fmla="*/ 22 h 22"/>
                <a:gd name="T8" fmla="*/ 0 w 24"/>
                <a:gd name="T9" fmla="*/ 8 h 22"/>
              </a:gdLst>
              <a:ahLst/>
              <a:cxnLst>
                <a:cxn ang="0">
                  <a:pos x="T0" y="T1"/>
                </a:cxn>
                <a:cxn ang="0">
                  <a:pos x="T2" y="T3"/>
                </a:cxn>
                <a:cxn ang="0">
                  <a:pos x="T4" y="T5"/>
                </a:cxn>
                <a:cxn ang="0">
                  <a:pos x="T6" y="T7"/>
                </a:cxn>
                <a:cxn ang="0">
                  <a:pos x="T8" y="T9"/>
                </a:cxn>
              </a:cxnLst>
              <a:rect l="0" t="0" r="r" b="b"/>
              <a:pathLst>
                <a:path w="24" h="22">
                  <a:moveTo>
                    <a:pt x="0" y="8"/>
                  </a:moveTo>
                  <a:lnTo>
                    <a:pt x="19" y="0"/>
                  </a:lnTo>
                  <a:lnTo>
                    <a:pt x="24" y="14"/>
                  </a:lnTo>
                  <a:lnTo>
                    <a:pt x="6" y="22"/>
                  </a:lnTo>
                  <a:lnTo>
                    <a:pt x="0"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94" name="Freeform 56">
              <a:extLst>
                <a:ext uri="{FF2B5EF4-FFF2-40B4-BE49-F238E27FC236}">
                  <a16:creationId xmlns:a16="http://schemas.microsoft.com/office/drawing/2014/main" id="{B84C0CAA-5F91-F442-8AD0-DD1886E25F47}"/>
                </a:ext>
              </a:extLst>
            </p:cNvPr>
            <p:cNvSpPr>
              <a:spLocks/>
            </p:cNvSpPr>
            <p:nvPr/>
          </p:nvSpPr>
          <p:spPr bwMode="auto">
            <a:xfrm>
              <a:off x="3632" y="1110"/>
              <a:ext cx="22" cy="24"/>
            </a:xfrm>
            <a:custGeom>
              <a:avLst/>
              <a:gdLst>
                <a:gd name="T0" fmla="*/ 8 w 22"/>
                <a:gd name="T1" fmla="*/ 24 h 24"/>
                <a:gd name="T2" fmla="*/ 0 w 22"/>
                <a:gd name="T3" fmla="*/ 6 h 24"/>
                <a:gd name="T4" fmla="*/ 14 w 22"/>
                <a:gd name="T5" fmla="*/ 0 h 24"/>
                <a:gd name="T6" fmla="*/ 22 w 22"/>
                <a:gd name="T7" fmla="*/ 18 h 24"/>
                <a:gd name="T8" fmla="*/ 8 w 22"/>
                <a:gd name="T9" fmla="*/ 24 h 24"/>
              </a:gdLst>
              <a:ahLst/>
              <a:cxnLst>
                <a:cxn ang="0">
                  <a:pos x="T0" y="T1"/>
                </a:cxn>
                <a:cxn ang="0">
                  <a:pos x="T2" y="T3"/>
                </a:cxn>
                <a:cxn ang="0">
                  <a:pos x="T4" y="T5"/>
                </a:cxn>
                <a:cxn ang="0">
                  <a:pos x="T6" y="T7"/>
                </a:cxn>
                <a:cxn ang="0">
                  <a:pos x="T8" y="T9"/>
                </a:cxn>
              </a:cxnLst>
              <a:rect l="0" t="0" r="r" b="b"/>
              <a:pathLst>
                <a:path w="22" h="24">
                  <a:moveTo>
                    <a:pt x="8" y="24"/>
                  </a:moveTo>
                  <a:lnTo>
                    <a:pt x="0" y="6"/>
                  </a:lnTo>
                  <a:lnTo>
                    <a:pt x="14" y="0"/>
                  </a:lnTo>
                  <a:lnTo>
                    <a:pt x="22" y="18"/>
                  </a:lnTo>
                  <a:lnTo>
                    <a:pt x="8" y="2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95" name="Freeform 57">
              <a:extLst>
                <a:ext uri="{FF2B5EF4-FFF2-40B4-BE49-F238E27FC236}">
                  <a16:creationId xmlns:a16="http://schemas.microsoft.com/office/drawing/2014/main" id="{8446A44A-CE68-1E4A-BAF4-CF30F50DA60A}"/>
                </a:ext>
              </a:extLst>
            </p:cNvPr>
            <p:cNvSpPr>
              <a:spLocks/>
            </p:cNvSpPr>
            <p:nvPr/>
          </p:nvSpPr>
          <p:spPr bwMode="auto">
            <a:xfrm>
              <a:off x="3480" y="1175"/>
              <a:ext cx="22" cy="25"/>
            </a:xfrm>
            <a:custGeom>
              <a:avLst/>
              <a:gdLst>
                <a:gd name="T0" fmla="*/ 8 w 22"/>
                <a:gd name="T1" fmla="*/ 25 h 25"/>
                <a:gd name="T2" fmla="*/ 0 w 22"/>
                <a:gd name="T3" fmla="*/ 6 h 25"/>
                <a:gd name="T4" fmla="*/ 14 w 22"/>
                <a:gd name="T5" fmla="*/ 0 h 25"/>
                <a:gd name="T6" fmla="*/ 22 w 22"/>
                <a:gd name="T7" fmla="*/ 19 h 25"/>
                <a:gd name="T8" fmla="*/ 8 w 22"/>
                <a:gd name="T9" fmla="*/ 25 h 25"/>
              </a:gdLst>
              <a:ahLst/>
              <a:cxnLst>
                <a:cxn ang="0">
                  <a:pos x="T0" y="T1"/>
                </a:cxn>
                <a:cxn ang="0">
                  <a:pos x="T2" y="T3"/>
                </a:cxn>
                <a:cxn ang="0">
                  <a:pos x="T4" y="T5"/>
                </a:cxn>
                <a:cxn ang="0">
                  <a:pos x="T6" y="T7"/>
                </a:cxn>
                <a:cxn ang="0">
                  <a:pos x="T8" y="T9"/>
                </a:cxn>
              </a:cxnLst>
              <a:rect l="0" t="0" r="r" b="b"/>
              <a:pathLst>
                <a:path w="22" h="25">
                  <a:moveTo>
                    <a:pt x="8" y="25"/>
                  </a:moveTo>
                  <a:lnTo>
                    <a:pt x="0" y="6"/>
                  </a:lnTo>
                  <a:lnTo>
                    <a:pt x="14" y="0"/>
                  </a:lnTo>
                  <a:lnTo>
                    <a:pt x="22" y="19"/>
                  </a:lnTo>
                  <a:lnTo>
                    <a:pt x="8" y="2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grpSp>
        <p:nvGrpSpPr>
          <p:cNvPr id="107" name="Group 331">
            <a:extLst>
              <a:ext uri="{FF2B5EF4-FFF2-40B4-BE49-F238E27FC236}">
                <a16:creationId xmlns:a16="http://schemas.microsoft.com/office/drawing/2014/main" id="{CE75F76F-F37B-E749-85D4-C25F238F0E6F}"/>
              </a:ext>
            </a:extLst>
          </p:cNvPr>
          <p:cNvGrpSpPr>
            <a:grpSpLocks noChangeAspect="1"/>
          </p:cNvGrpSpPr>
          <p:nvPr/>
        </p:nvGrpSpPr>
        <p:grpSpPr bwMode="auto">
          <a:xfrm>
            <a:off x="589044" y="286504"/>
            <a:ext cx="495230" cy="411104"/>
            <a:chOff x="2204" y="2803"/>
            <a:chExt cx="312" cy="259"/>
          </a:xfrm>
        </p:grpSpPr>
        <p:sp>
          <p:nvSpPr>
            <p:cNvPr id="108" name="Freeform 332">
              <a:extLst>
                <a:ext uri="{FF2B5EF4-FFF2-40B4-BE49-F238E27FC236}">
                  <a16:creationId xmlns:a16="http://schemas.microsoft.com/office/drawing/2014/main" id="{AF9E8D5F-9A71-6E4F-B04A-E1E1A9C4455D}"/>
                </a:ext>
              </a:extLst>
            </p:cNvPr>
            <p:cNvSpPr>
              <a:spLocks/>
            </p:cNvSpPr>
            <p:nvPr/>
          </p:nvSpPr>
          <p:spPr bwMode="auto">
            <a:xfrm>
              <a:off x="2516" y="29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09" name="Freeform 333">
              <a:extLst>
                <a:ext uri="{FF2B5EF4-FFF2-40B4-BE49-F238E27FC236}">
                  <a16:creationId xmlns:a16="http://schemas.microsoft.com/office/drawing/2014/main" id="{4C1F512D-F9B3-4E46-A0C2-63903DECEA57}"/>
                </a:ext>
              </a:extLst>
            </p:cNvPr>
            <p:cNvSpPr>
              <a:spLocks/>
            </p:cNvSpPr>
            <p:nvPr/>
          </p:nvSpPr>
          <p:spPr bwMode="auto">
            <a:xfrm>
              <a:off x="2457" y="2969"/>
              <a:ext cx="59" cy="93"/>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5" y="231"/>
                    <a:pt x="0" y="318"/>
                  </a:cubicBezTo>
                  <a:cubicBezTo>
                    <a:pt x="91" y="409"/>
                    <a:pt x="91" y="409"/>
                    <a:pt x="91" y="409"/>
                  </a:cubicBezTo>
                  <a:cubicBezTo>
                    <a:pt x="188" y="299"/>
                    <a:pt x="251" y="157"/>
                    <a:pt x="260" y="0"/>
                  </a:cubicBezTo>
                  <a:lnTo>
                    <a:pt x="1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10" name="Freeform 334">
              <a:extLst>
                <a:ext uri="{FF2B5EF4-FFF2-40B4-BE49-F238E27FC236}">
                  <a16:creationId xmlns:a16="http://schemas.microsoft.com/office/drawing/2014/main" id="{025143F5-C4E6-4C4A-A4E6-66FCF044A7F8}"/>
                </a:ext>
              </a:extLst>
            </p:cNvPr>
            <p:cNvSpPr>
              <a:spLocks/>
            </p:cNvSpPr>
            <p:nvPr/>
          </p:nvSpPr>
          <p:spPr bwMode="auto">
            <a:xfrm>
              <a:off x="2457" y="2856"/>
              <a:ext cx="59" cy="93"/>
            </a:xfrm>
            <a:custGeom>
              <a:avLst/>
              <a:gdLst>
                <a:gd name="T0" fmla="*/ 0 w 260"/>
                <a:gd name="T1" fmla="*/ 91 h 409"/>
                <a:gd name="T2" fmla="*/ 132 w 260"/>
                <a:gd name="T3" fmla="*/ 409 h 409"/>
                <a:gd name="T4" fmla="*/ 260 w 260"/>
                <a:gd name="T5" fmla="*/ 409 h 409"/>
                <a:gd name="T6" fmla="*/ 91 w 260"/>
                <a:gd name="T7" fmla="*/ 0 h 409"/>
                <a:gd name="T8" fmla="*/ 0 w 260"/>
                <a:gd name="T9" fmla="*/ 91 h 409"/>
              </a:gdLst>
              <a:ahLst/>
              <a:cxnLst>
                <a:cxn ang="0">
                  <a:pos x="T0" y="T1"/>
                </a:cxn>
                <a:cxn ang="0">
                  <a:pos x="T2" y="T3"/>
                </a:cxn>
                <a:cxn ang="0">
                  <a:pos x="T4" y="T5"/>
                </a:cxn>
                <a:cxn ang="0">
                  <a:pos x="T6" y="T7"/>
                </a:cxn>
                <a:cxn ang="0">
                  <a:pos x="T8" y="T9"/>
                </a:cxn>
              </a:cxnLst>
              <a:rect l="0" t="0" r="r" b="b"/>
              <a:pathLst>
                <a:path w="260" h="409">
                  <a:moveTo>
                    <a:pt x="0" y="91"/>
                  </a:moveTo>
                  <a:cubicBezTo>
                    <a:pt x="79" y="183"/>
                    <a:pt x="123" y="295"/>
                    <a:pt x="132" y="409"/>
                  </a:cubicBezTo>
                  <a:cubicBezTo>
                    <a:pt x="260" y="409"/>
                    <a:pt x="260" y="409"/>
                    <a:pt x="260" y="409"/>
                  </a:cubicBezTo>
                  <a:cubicBezTo>
                    <a:pt x="251" y="262"/>
                    <a:pt x="195" y="118"/>
                    <a:pt x="91" y="0"/>
                  </a:cubicBezTo>
                  <a:lnTo>
                    <a:pt x="0" y="9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11" name="Freeform 335">
              <a:extLst>
                <a:ext uri="{FF2B5EF4-FFF2-40B4-BE49-F238E27FC236}">
                  <a16:creationId xmlns:a16="http://schemas.microsoft.com/office/drawing/2014/main" id="{BB2B6AF1-3445-DD47-AD59-5BB193D94E9E}"/>
                </a:ext>
              </a:extLst>
            </p:cNvPr>
            <p:cNvSpPr>
              <a:spLocks/>
            </p:cNvSpPr>
            <p:nvPr/>
          </p:nvSpPr>
          <p:spPr bwMode="auto">
            <a:xfrm>
              <a:off x="2370" y="2803"/>
              <a:ext cx="93" cy="59"/>
            </a:xfrm>
            <a:custGeom>
              <a:avLst/>
              <a:gdLst>
                <a:gd name="T0" fmla="*/ 0 w 409"/>
                <a:gd name="T1" fmla="*/ 128 h 260"/>
                <a:gd name="T2" fmla="*/ 318 w 409"/>
                <a:gd name="T3" fmla="*/ 260 h 260"/>
                <a:gd name="T4" fmla="*/ 409 w 409"/>
                <a:gd name="T5" fmla="*/ 169 h 260"/>
                <a:gd name="T6" fmla="*/ 0 w 409"/>
                <a:gd name="T7" fmla="*/ 0 h 260"/>
                <a:gd name="T8" fmla="*/ 0 w 409"/>
                <a:gd name="T9" fmla="*/ 128 h 260"/>
              </a:gdLst>
              <a:ahLst/>
              <a:cxnLst>
                <a:cxn ang="0">
                  <a:pos x="T0" y="T1"/>
                </a:cxn>
                <a:cxn ang="0">
                  <a:pos x="T2" y="T3"/>
                </a:cxn>
                <a:cxn ang="0">
                  <a:pos x="T4" y="T5"/>
                </a:cxn>
                <a:cxn ang="0">
                  <a:pos x="T6" y="T7"/>
                </a:cxn>
                <a:cxn ang="0">
                  <a:pos x="T8" y="T9"/>
                </a:cxn>
              </a:cxnLst>
              <a:rect l="0" t="0" r="r" b="b"/>
              <a:pathLst>
                <a:path w="409" h="260">
                  <a:moveTo>
                    <a:pt x="0" y="128"/>
                  </a:moveTo>
                  <a:cubicBezTo>
                    <a:pt x="121" y="138"/>
                    <a:pt x="231" y="186"/>
                    <a:pt x="318" y="260"/>
                  </a:cubicBezTo>
                  <a:cubicBezTo>
                    <a:pt x="409" y="169"/>
                    <a:pt x="409" y="169"/>
                    <a:pt x="409" y="169"/>
                  </a:cubicBezTo>
                  <a:cubicBezTo>
                    <a:pt x="299" y="72"/>
                    <a:pt x="157" y="10"/>
                    <a:pt x="0" y="0"/>
                  </a:cubicBezTo>
                  <a:lnTo>
                    <a:pt x="0" y="12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12" name="Freeform 336">
              <a:extLst>
                <a:ext uri="{FF2B5EF4-FFF2-40B4-BE49-F238E27FC236}">
                  <a16:creationId xmlns:a16="http://schemas.microsoft.com/office/drawing/2014/main" id="{7FCF6A37-CF69-C74A-9D1A-1A8179FC315E}"/>
                </a:ext>
              </a:extLst>
            </p:cNvPr>
            <p:cNvSpPr>
              <a:spLocks/>
            </p:cNvSpPr>
            <p:nvPr/>
          </p:nvSpPr>
          <p:spPr bwMode="auto">
            <a:xfrm>
              <a:off x="2257" y="2803"/>
              <a:ext cx="93" cy="59"/>
            </a:xfrm>
            <a:custGeom>
              <a:avLst/>
              <a:gdLst>
                <a:gd name="T0" fmla="*/ 91 w 409"/>
                <a:gd name="T1" fmla="*/ 260 h 260"/>
                <a:gd name="T2" fmla="*/ 409 w 409"/>
                <a:gd name="T3" fmla="*/ 129 h 260"/>
                <a:gd name="T4" fmla="*/ 409 w 409"/>
                <a:gd name="T5" fmla="*/ 0 h 260"/>
                <a:gd name="T6" fmla="*/ 0 w 409"/>
                <a:gd name="T7" fmla="*/ 169 h 260"/>
                <a:gd name="T8" fmla="*/ 91 w 409"/>
                <a:gd name="T9" fmla="*/ 260 h 260"/>
              </a:gdLst>
              <a:ahLst/>
              <a:cxnLst>
                <a:cxn ang="0">
                  <a:pos x="T0" y="T1"/>
                </a:cxn>
                <a:cxn ang="0">
                  <a:pos x="T2" y="T3"/>
                </a:cxn>
                <a:cxn ang="0">
                  <a:pos x="T4" y="T5"/>
                </a:cxn>
                <a:cxn ang="0">
                  <a:pos x="T6" y="T7"/>
                </a:cxn>
                <a:cxn ang="0">
                  <a:pos x="T8" y="T9"/>
                </a:cxn>
              </a:cxnLst>
              <a:rect l="0" t="0" r="r" b="b"/>
              <a:pathLst>
                <a:path w="409" h="260">
                  <a:moveTo>
                    <a:pt x="91" y="260"/>
                  </a:moveTo>
                  <a:cubicBezTo>
                    <a:pt x="183" y="181"/>
                    <a:pt x="295" y="137"/>
                    <a:pt x="409" y="129"/>
                  </a:cubicBezTo>
                  <a:cubicBezTo>
                    <a:pt x="409" y="0"/>
                    <a:pt x="409" y="0"/>
                    <a:pt x="409" y="0"/>
                  </a:cubicBezTo>
                  <a:cubicBezTo>
                    <a:pt x="262" y="9"/>
                    <a:pt x="117" y="66"/>
                    <a:pt x="0" y="169"/>
                  </a:cubicBezTo>
                  <a:lnTo>
                    <a:pt x="91" y="26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13" name="Freeform 337">
              <a:extLst>
                <a:ext uri="{FF2B5EF4-FFF2-40B4-BE49-F238E27FC236}">
                  <a16:creationId xmlns:a16="http://schemas.microsoft.com/office/drawing/2014/main" id="{D5B5746F-F694-674E-96C8-8F5D4D9FEF37}"/>
                </a:ext>
              </a:extLst>
            </p:cNvPr>
            <p:cNvSpPr>
              <a:spLocks/>
            </p:cNvSpPr>
            <p:nvPr/>
          </p:nvSpPr>
          <p:spPr bwMode="auto">
            <a:xfrm>
              <a:off x="2204" y="2856"/>
              <a:ext cx="59" cy="93"/>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6" y="178"/>
                    <a:pt x="260" y="91"/>
                  </a:cubicBezTo>
                  <a:cubicBezTo>
                    <a:pt x="169" y="0"/>
                    <a:pt x="169" y="0"/>
                    <a:pt x="169" y="0"/>
                  </a:cubicBezTo>
                  <a:cubicBezTo>
                    <a:pt x="72" y="111"/>
                    <a:pt x="10" y="253"/>
                    <a:pt x="0" y="409"/>
                  </a:cubicBezTo>
                  <a:lnTo>
                    <a:pt x="128" y="40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14" name="Oval 338">
              <a:extLst>
                <a:ext uri="{FF2B5EF4-FFF2-40B4-BE49-F238E27FC236}">
                  <a16:creationId xmlns:a16="http://schemas.microsoft.com/office/drawing/2014/main" id="{84362BF7-CA8A-E545-A2F4-3570FC231CD6}"/>
                </a:ext>
              </a:extLst>
            </p:cNvPr>
            <p:cNvSpPr>
              <a:spLocks noChangeArrowheads="1"/>
            </p:cNvSpPr>
            <p:nvPr/>
          </p:nvSpPr>
          <p:spPr bwMode="auto">
            <a:xfrm>
              <a:off x="2331" y="2930"/>
              <a:ext cx="58" cy="5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15" name="Freeform 339">
              <a:extLst>
                <a:ext uri="{FF2B5EF4-FFF2-40B4-BE49-F238E27FC236}">
                  <a16:creationId xmlns:a16="http://schemas.microsoft.com/office/drawing/2014/main" id="{D678AE38-254B-4740-9668-1F9484BB1127}"/>
                </a:ext>
              </a:extLst>
            </p:cNvPr>
            <p:cNvSpPr>
              <a:spLocks/>
            </p:cNvSpPr>
            <p:nvPr/>
          </p:nvSpPr>
          <p:spPr bwMode="auto">
            <a:xfrm>
              <a:off x="2345" y="2885"/>
              <a:ext cx="89" cy="88"/>
            </a:xfrm>
            <a:custGeom>
              <a:avLst/>
              <a:gdLst>
                <a:gd name="T0" fmla="*/ 21 w 89"/>
                <a:gd name="T1" fmla="*/ 88 h 88"/>
                <a:gd name="T2" fmla="*/ 0 w 89"/>
                <a:gd name="T3" fmla="*/ 68 h 88"/>
                <a:gd name="T4" fmla="*/ 68 w 89"/>
                <a:gd name="T5" fmla="*/ 0 h 88"/>
                <a:gd name="T6" fmla="*/ 89 w 89"/>
                <a:gd name="T7" fmla="*/ 21 h 88"/>
                <a:gd name="T8" fmla="*/ 21 w 89"/>
                <a:gd name="T9" fmla="*/ 88 h 88"/>
              </a:gdLst>
              <a:ahLst/>
              <a:cxnLst>
                <a:cxn ang="0">
                  <a:pos x="T0" y="T1"/>
                </a:cxn>
                <a:cxn ang="0">
                  <a:pos x="T2" y="T3"/>
                </a:cxn>
                <a:cxn ang="0">
                  <a:pos x="T4" y="T5"/>
                </a:cxn>
                <a:cxn ang="0">
                  <a:pos x="T6" y="T7"/>
                </a:cxn>
                <a:cxn ang="0">
                  <a:pos x="T8" y="T9"/>
                </a:cxn>
              </a:cxnLst>
              <a:rect l="0" t="0" r="r" b="b"/>
              <a:pathLst>
                <a:path w="89" h="88">
                  <a:moveTo>
                    <a:pt x="21" y="88"/>
                  </a:moveTo>
                  <a:lnTo>
                    <a:pt x="0" y="68"/>
                  </a:lnTo>
                  <a:lnTo>
                    <a:pt x="68" y="0"/>
                  </a:lnTo>
                  <a:lnTo>
                    <a:pt x="89" y="21"/>
                  </a:lnTo>
                  <a:lnTo>
                    <a:pt x="21" y="8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spTree>
    <p:extLst>
      <p:ext uri="{BB962C8B-B14F-4D97-AF65-F5344CB8AC3E}">
        <p14:creationId xmlns:p14="http://schemas.microsoft.com/office/powerpoint/2010/main" val="350518174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C2F48F8-1CAF-4891-A81C-87381DE4D1F6}"/>
              </a:ext>
            </a:extLst>
          </p:cNvPr>
          <p:cNvSpPr txBox="1"/>
          <p:nvPr/>
        </p:nvSpPr>
        <p:spPr>
          <a:xfrm>
            <a:off x="7357709" y="1993918"/>
            <a:ext cx="1937456" cy="406208"/>
          </a:xfrm>
          <a:prstGeom prst="rect">
            <a:avLst/>
          </a:prstGeom>
          <a:noFill/>
        </p:spPr>
        <p:txBody>
          <a:bodyPr wrap="square" rtlCol="0" anchor="ctr">
            <a:spAutoFit/>
          </a:bodyPr>
          <a:lstStyle/>
          <a:p>
            <a:pPr algn="ctr" defTabSz="914225">
              <a:defRPr/>
            </a:pPr>
            <a:r>
              <a:rPr lang="en-US" sz="2000">
                <a:solidFill>
                  <a:srgbClr val="0078D4"/>
                </a:solidFill>
                <a:latin typeface="Segoe UI Semibold"/>
                <a:cs typeface="Segoe UI Semilight" panose="020B0402040204020203" pitchFamily="34" charset="0"/>
              </a:rPr>
              <a:t>Core (SQL) API</a:t>
            </a:r>
          </a:p>
        </p:txBody>
      </p:sp>
      <p:sp>
        <p:nvSpPr>
          <p:cNvPr id="26" name="TextBox 25">
            <a:extLst>
              <a:ext uri="{FF2B5EF4-FFF2-40B4-BE49-F238E27FC236}">
                <a16:creationId xmlns:a16="http://schemas.microsoft.com/office/drawing/2014/main" id="{4C01F0B7-7A58-42A6-807C-06F538F088F2}"/>
              </a:ext>
            </a:extLst>
          </p:cNvPr>
          <p:cNvSpPr txBox="1"/>
          <p:nvPr/>
        </p:nvSpPr>
        <p:spPr>
          <a:xfrm>
            <a:off x="9577566" y="5232266"/>
            <a:ext cx="1453504" cy="374793"/>
          </a:xfrm>
          <a:prstGeom prst="rect">
            <a:avLst/>
          </a:prstGeom>
          <a:noFill/>
          <a:ln>
            <a:noFill/>
          </a:ln>
        </p:spPr>
        <p:txBody>
          <a:bodyPr wrap="square" rtlCol="0" anchor="ctr">
            <a:spAutoFit/>
          </a:bodyPr>
          <a:lstStyle/>
          <a:p>
            <a:pPr defTabSz="914225">
              <a:defRPr/>
            </a:pPr>
            <a:r>
              <a:rPr lang="en-US" kern="0">
                <a:solidFill>
                  <a:srgbClr val="0078D4"/>
                </a:solidFill>
                <a:latin typeface="Segoe UI Semibold"/>
              </a:rPr>
              <a:t>Table API</a:t>
            </a:r>
          </a:p>
        </p:txBody>
      </p:sp>
      <p:grpSp>
        <p:nvGrpSpPr>
          <p:cNvPr id="27" name="Group 26">
            <a:extLst>
              <a:ext uri="{FF2B5EF4-FFF2-40B4-BE49-F238E27FC236}">
                <a16:creationId xmlns:a16="http://schemas.microsoft.com/office/drawing/2014/main" id="{9EF58F61-2D17-40DD-A655-067AF4CF2E19}"/>
              </a:ext>
            </a:extLst>
          </p:cNvPr>
          <p:cNvGrpSpPr/>
          <p:nvPr/>
        </p:nvGrpSpPr>
        <p:grpSpPr>
          <a:xfrm>
            <a:off x="8617230" y="5020954"/>
            <a:ext cx="894232" cy="797413"/>
            <a:chOff x="8276702" y="3303923"/>
            <a:chExt cx="657427" cy="586247"/>
          </a:xfrm>
        </p:grpSpPr>
        <p:sp>
          <p:nvSpPr>
            <p:cNvPr id="28" name="Hexagon 27">
              <a:extLst>
                <a:ext uri="{FF2B5EF4-FFF2-40B4-BE49-F238E27FC236}">
                  <a16:creationId xmlns:a16="http://schemas.microsoft.com/office/drawing/2014/main" id="{C84223F2-9304-4426-B919-2052A4F7E67E}"/>
                </a:ext>
              </a:extLst>
            </p:cNvPr>
            <p:cNvSpPr/>
            <p:nvPr/>
          </p:nvSpPr>
          <p:spPr bwMode="auto">
            <a:xfrm>
              <a:off x="8276702" y="3303923"/>
              <a:ext cx="657427" cy="586247"/>
            </a:xfrm>
            <a:prstGeom prst="hexagon">
              <a:avLst/>
            </a:prstGeom>
            <a:noFill/>
            <a:ln w="25400" cap="flat" cmpd="sng" algn="ctr">
              <a:solidFill>
                <a:srgbClr val="0078D4"/>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4A75D92B-7A1F-42EE-A561-C42CB28E6BD7}"/>
                </a:ext>
              </a:extLst>
            </p:cNvPr>
            <p:cNvGrpSpPr/>
            <p:nvPr/>
          </p:nvGrpSpPr>
          <p:grpSpPr>
            <a:xfrm>
              <a:off x="8435042" y="3437010"/>
              <a:ext cx="340743" cy="339628"/>
              <a:chOff x="9378226" y="3437014"/>
              <a:chExt cx="340743" cy="339628"/>
            </a:xfrm>
          </p:grpSpPr>
          <p:sp>
            <p:nvSpPr>
              <p:cNvPr id="30" name="Freeform: Shape 111">
                <a:extLst>
                  <a:ext uri="{FF2B5EF4-FFF2-40B4-BE49-F238E27FC236}">
                    <a16:creationId xmlns:a16="http://schemas.microsoft.com/office/drawing/2014/main" id="{68FC7FF0-DD92-4420-BE9A-8728FAAED8E8}"/>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25400" cap="flat" cmpd="sng" algn="ctr">
                <a:solidFill>
                  <a:srgbClr val="0078D4"/>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cs typeface="Segoe UI" pitchFamily="34" charset="0"/>
                </a:endParaRPr>
              </a:p>
            </p:txBody>
          </p:sp>
          <p:sp>
            <p:nvSpPr>
              <p:cNvPr id="31" name="Freeform: Shape 112">
                <a:extLst>
                  <a:ext uri="{FF2B5EF4-FFF2-40B4-BE49-F238E27FC236}">
                    <a16:creationId xmlns:a16="http://schemas.microsoft.com/office/drawing/2014/main" id="{30E62944-A5D9-4E94-90CA-1FFE5BFBEEE9}"/>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25400" cap="flat" cmpd="sng" algn="ctr">
                <a:solidFill>
                  <a:srgbClr val="0078D4"/>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cs typeface="Segoe UI" pitchFamily="34" charset="0"/>
                </a:endParaRPr>
              </a:p>
            </p:txBody>
          </p:sp>
          <p:sp>
            <p:nvSpPr>
              <p:cNvPr id="32" name="Freeform: Shape 113">
                <a:extLst>
                  <a:ext uri="{FF2B5EF4-FFF2-40B4-BE49-F238E27FC236}">
                    <a16:creationId xmlns:a16="http://schemas.microsoft.com/office/drawing/2014/main" id="{A8FED457-B7A9-45D8-B6C6-C80AB6DC8C74}"/>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25400" cap="flat" cmpd="sng" algn="ctr">
                <a:solidFill>
                  <a:srgbClr val="0078D4"/>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cs typeface="Segoe UI" pitchFamily="34" charset="0"/>
                </a:endParaRPr>
              </a:p>
            </p:txBody>
          </p:sp>
          <p:sp>
            <p:nvSpPr>
              <p:cNvPr id="33" name="Freeform: Shape 119">
                <a:extLst>
                  <a:ext uri="{FF2B5EF4-FFF2-40B4-BE49-F238E27FC236}">
                    <a16:creationId xmlns:a16="http://schemas.microsoft.com/office/drawing/2014/main" id="{5CD08233-FC18-4515-9F6D-2976E54DDDF4}"/>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25400" cap="flat" cmpd="sng" algn="ctr">
                <a:solidFill>
                  <a:srgbClr val="0078D4"/>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cs typeface="Segoe UI" pitchFamily="34" charset="0"/>
                </a:endParaRPr>
              </a:p>
            </p:txBody>
          </p:sp>
          <p:sp>
            <p:nvSpPr>
              <p:cNvPr id="34" name="Freeform: Shape 120">
                <a:extLst>
                  <a:ext uri="{FF2B5EF4-FFF2-40B4-BE49-F238E27FC236}">
                    <a16:creationId xmlns:a16="http://schemas.microsoft.com/office/drawing/2014/main" id="{7D669BB6-9D93-474F-93C4-2D15B680EC5E}"/>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25400" cap="flat" cmpd="sng" algn="ctr">
                <a:solidFill>
                  <a:srgbClr val="0078D4"/>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cs typeface="Segoe UI" pitchFamily="34" charset="0"/>
                </a:endParaRPr>
              </a:p>
            </p:txBody>
          </p:sp>
          <p:sp>
            <p:nvSpPr>
              <p:cNvPr id="35" name="Freeform: Shape 121">
                <a:extLst>
                  <a:ext uri="{FF2B5EF4-FFF2-40B4-BE49-F238E27FC236}">
                    <a16:creationId xmlns:a16="http://schemas.microsoft.com/office/drawing/2014/main" id="{C876844B-0061-425D-A199-A99D74B45352}"/>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25400" cap="flat" cmpd="sng" algn="ctr">
                <a:solidFill>
                  <a:srgbClr val="0078D4"/>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cs typeface="Segoe UI" pitchFamily="34" charset="0"/>
                </a:endParaRPr>
              </a:p>
            </p:txBody>
          </p:sp>
          <p:sp>
            <p:nvSpPr>
              <p:cNvPr id="36" name="Freeform: Shape 122">
                <a:extLst>
                  <a:ext uri="{FF2B5EF4-FFF2-40B4-BE49-F238E27FC236}">
                    <a16:creationId xmlns:a16="http://schemas.microsoft.com/office/drawing/2014/main" id="{6465801D-EEFA-4E76-B151-47ED74B930B0}"/>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25400" cap="flat" cmpd="sng" algn="ctr">
                <a:solidFill>
                  <a:srgbClr val="0078D4"/>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cs typeface="Segoe UI" pitchFamily="34" charset="0"/>
                </a:endParaRPr>
              </a:p>
            </p:txBody>
          </p:sp>
          <p:sp>
            <p:nvSpPr>
              <p:cNvPr id="37" name="Freeform: Shape 123">
                <a:extLst>
                  <a:ext uri="{FF2B5EF4-FFF2-40B4-BE49-F238E27FC236}">
                    <a16:creationId xmlns:a16="http://schemas.microsoft.com/office/drawing/2014/main" id="{F4257E4C-5CCF-4A32-B05E-F5D68E80C847}"/>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25400" cap="flat" cmpd="sng" algn="ctr">
                <a:solidFill>
                  <a:srgbClr val="0078D4"/>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cs typeface="Segoe UI" pitchFamily="34" charset="0"/>
                </a:endParaRPr>
              </a:p>
            </p:txBody>
          </p:sp>
          <p:sp>
            <p:nvSpPr>
              <p:cNvPr id="38" name="Freeform: Shape 124">
                <a:extLst>
                  <a:ext uri="{FF2B5EF4-FFF2-40B4-BE49-F238E27FC236}">
                    <a16:creationId xmlns:a16="http://schemas.microsoft.com/office/drawing/2014/main" id="{64C12124-524E-4B9D-8522-C6AEFD1D0556}"/>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25400" cap="flat" cmpd="sng" algn="ctr">
                <a:solidFill>
                  <a:srgbClr val="0078D4"/>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cs typeface="Segoe UI" pitchFamily="34" charset="0"/>
                </a:endParaRPr>
              </a:p>
            </p:txBody>
          </p:sp>
          <p:sp>
            <p:nvSpPr>
              <p:cNvPr id="39" name="Freeform: Shape 125">
                <a:extLst>
                  <a:ext uri="{FF2B5EF4-FFF2-40B4-BE49-F238E27FC236}">
                    <a16:creationId xmlns:a16="http://schemas.microsoft.com/office/drawing/2014/main" id="{B31E40C3-397C-42E7-A3B9-2B4CA9228009}"/>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25400" cap="flat" cmpd="sng" algn="ctr">
                <a:solidFill>
                  <a:srgbClr val="0078D4"/>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50" kern="0">
                  <a:gradFill>
                    <a:gsLst>
                      <a:gs pos="0">
                        <a:srgbClr val="FFFFFF"/>
                      </a:gs>
                      <a:gs pos="100000">
                        <a:srgbClr val="FFFFFF"/>
                      </a:gs>
                    </a:gsLst>
                    <a:lin ang="5400000" scaled="0"/>
                  </a:gradFill>
                  <a:latin typeface="Segoe UI"/>
                  <a:cs typeface="Segoe UI" pitchFamily="34" charset="0"/>
                </a:endParaRPr>
              </a:p>
            </p:txBody>
          </p:sp>
        </p:grpSp>
      </p:grpSp>
      <p:sp>
        <p:nvSpPr>
          <p:cNvPr id="22" name="Rectangle 21">
            <a:extLst>
              <a:ext uri="{FF2B5EF4-FFF2-40B4-BE49-F238E27FC236}">
                <a16:creationId xmlns:a16="http://schemas.microsoft.com/office/drawing/2014/main" id="{66761C3E-D8D0-1D49-83BA-275AC3A1607F}"/>
              </a:ext>
            </a:extLst>
          </p:cNvPr>
          <p:cNvSpPr/>
          <p:nvPr/>
        </p:nvSpPr>
        <p:spPr bwMode="auto">
          <a:xfrm>
            <a:off x="863" y="487"/>
            <a:ext cx="6768664"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Text Placeholder 2">
            <a:extLst>
              <a:ext uri="{FF2B5EF4-FFF2-40B4-BE49-F238E27FC236}">
                <a16:creationId xmlns:a16="http://schemas.microsoft.com/office/drawing/2014/main" id="{05D7C39C-EEBB-E04E-8231-1B9C24A66B01}"/>
              </a:ext>
            </a:extLst>
          </p:cNvPr>
          <p:cNvSpPr txBox="1">
            <a:spLocks/>
          </p:cNvSpPr>
          <p:nvPr/>
        </p:nvSpPr>
        <p:spPr>
          <a:xfrm>
            <a:off x="568500" y="1543122"/>
            <a:ext cx="6005650" cy="507284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8870" indent="-288870" defTabSz="932563">
              <a:spcAft>
                <a:spcPts val="600"/>
              </a:spcAft>
              <a:buFont typeface="Arial" panose="020B0604020202020204" pitchFamily="34" charset="0"/>
              <a:buChar char="•"/>
            </a:pPr>
            <a:r>
              <a:rPr lang="en-US" sz="2200">
                <a:solidFill>
                  <a:prstClr val="white"/>
                </a:solidFill>
              </a:rPr>
              <a:t>The NoSQL schema flexibility removes the impedance mismatch between application object model and the database.</a:t>
            </a:r>
          </a:p>
          <a:p>
            <a:pPr marL="288870" indent="-288870" defTabSz="932563">
              <a:spcAft>
                <a:spcPts val="600"/>
              </a:spcAft>
              <a:buFont typeface="Arial" panose="020B0604020202020204" pitchFamily="34" charset="0"/>
              <a:buChar char="•"/>
            </a:pPr>
            <a:r>
              <a:rPr lang="en-US" sz="2200">
                <a:solidFill>
                  <a:prstClr val="white"/>
                </a:solidFill>
              </a:rPr>
              <a:t>Deep integration with key Azure services used in cloud-native app development including Azure Synapse Analytics </a:t>
            </a:r>
          </a:p>
          <a:p>
            <a:pPr marL="288870" indent="-288870" defTabSz="932563">
              <a:spcAft>
                <a:spcPts val="600"/>
              </a:spcAft>
              <a:buFont typeface="Arial" panose="020B0604020202020204" pitchFamily="34" charset="0"/>
              <a:buChar char="•"/>
            </a:pPr>
            <a:r>
              <a:rPr lang="en-US" sz="2200">
                <a:solidFill>
                  <a:prstClr val="white"/>
                </a:solidFill>
              </a:rPr>
              <a:t>Multiple APIs to access and query data, including Core (SQL), MongoDB, Cassandra, Gremlin, and Table</a:t>
            </a:r>
          </a:p>
          <a:p>
            <a:pPr marL="288870" indent="-288870" defTabSz="932563">
              <a:spcAft>
                <a:spcPts val="600"/>
              </a:spcAft>
              <a:buFont typeface="Arial" panose="020B0604020202020204" pitchFamily="34" charset="0"/>
              <a:buChar char="•"/>
            </a:pPr>
            <a:r>
              <a:rPr lang="en-US" sz="2200">
                <a:solidFill>
                  <a:prstClr val="white"/>
                </a:solidFill>
              </a:rPr>
              <a:t>Languages of your choice with SDKs for .NET, Java, and Python</a:t>
            </a:r>
          </a:p>
          <a:p>
            <a:pPr marL="288870" indent="-288870" defTabSz="932563">
              <a:spcAft>
                <a:spcPts val="600"/>
              </a:spcAft>
              <a:buFont typeface="Arial" panose="020B0604020202020204" pitchFamily="34" charset="0"/>
              <a:buChar char="•"/>
            </a:pPr>
            <a:r>
              <a:rPr lang="en-US" sz="2200">
                <a:solidFill>
                  <a:prstClr val="white"/>
                </a:solidFill>
              </a:rPr>
              <a:t>Change feed makes it easy to track and manage changes to database containers </a:t>
            </a:r>
          </a:p>
        </p:txBody>
      </p:sp>
      <p:grpSp>
        <p:nvGrpSpPr>
          <p:cNvPr id="43" name="Group 342">
            <a:extLst>
              <a:ext uri="{FF2B5EF4-FFF2-40B4-BE49-F238E27FC236}">
                <a16:creationId xmlns:a16="http://schemas.microsoft.com/office/drawing/2014/main" id="{BCDB52E3-2F0B-FA49-8CE1-F66AFBA42D63}"/>
              </a:ext>
            </a:extLst>
          </p:cNvPr>
          <p:cNvGrpSpPr>
            <a:grpSpLocks noChangeAspect="1"/>
          </p:cNvGrpSpPr>
          <p:nvPr/>
        </p:nvGrpSpPr>
        <p:grpSpPr bwMode="auto">
          <a:xfrm>
            <a:off x="589045" y="233371"/>
            <a:ext cx="506341" cy="495230"/>
            <a:chOff x="2805" y="2777"/>
            <a:chExt cx="319" cy="312"/>
          </a:xfrm>
        </p:grpSpPr>
        <p:sp>
          <p:nvSpPr>
            <p:cNvPr id="44" name="Freeform 343">
              <a:extLst>
                <a:ext uri="{FF2B5EF4-FFF2-40B4-BE49-F238E27FC236}">
                  <a16:creationId xmlns:a16="http://schemas.microsoft.com/office/drawing/2014/main" id="{7334F02A-2901-404F-BD7C-73F82279C947}"/>
                </a:ext>
              </a:extLst>
            </p:cNvPr>
            <p:cNvSpPr>
              <a:spLocks noEditPoints="1"/>
            </p:cNvSpPr>
            <p:nvPr/>
          </p:nvSpPr>
          <p:spPr bwMode="auto">
            <a:xfrm>
              <a:off x="2805" y="2777"/>
              <a:ext cx="319" cy="312"/>
            </a:xfrm>
            <a:custGeom>
              <a:avLst/>
              <a:gdLst>
                <a:gd name="T0" fmla="*/ 715 w 1396"/>
                <a:gd name="T1" fmla="*/ 0 h 1365"/>
                <a:gd name="T2" fmla="*/ 125 w 1396"/>
                <a:gd name="T3" fmla="*/ 341 h 1365"/>
                <a:gd name="T4" fmla="*/ 125 w 1396"/>
                <a:gd name="T5" fmla="*/ 1024 h 1365"/>
                <a:gd name="T6" fmla="*/ 715 w 1396"/>
                <a:gd name="T7" fmla="*/ 1365 h 1365"/>
                <a:gd name="T8" fmla="*/ 1396 w 1396"/>
                <a:gd name="T9" fmla="*/ 682 h 1365"/>
                <a:gd name="T10" fmla="*/ 715 w 1396"/>
                <a:gd name="T11" fmla="*/ 0 h 1365"/>
                <a:gd name="T12" fmla="*/ 714 w 1396"/>
                <a:gd name="T13" fmla="*/ 1237 h 1365"/>
                <a:gd name="T14" fmla="*/ 159 w 1396"/>
                <a:gd name="T15" fmla="*/ 683 h 1365"/>
                <a:gd name="T16" fmla="*/ 714 w 1396"/>
                <a:gd name="T17" fmla="*/ 128 h 1365"/>
                <a:gd name="T18" fmla="*/ 1268 w 1396"/>
                <a:gd name="T19" fmla="*/ 683 h 1365"/>
                <a:gd name="T20" fmla="*/ 714 w 1396"/>
                <a:gd name="T21" fmla="*/ 1237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6" h="1365">
                  <a:moveTo>
                    <a:pt x="715" y="0"/>
                  </a:moveTo>
                  <a:cubicBezTo>
                    <a:pt x="464" y="0"/>
                    <a:pt x="250" y="124"/>
                    <a:pt x="125" y="341"/>
                  </a:cubicBezTo>
                  <a:cubicBezTo>
                    <a:pt x="0" y="559"/>
                    <a:pt x="0" y="806"/>
                    <a:pt x="125" y="1024"/>
                  </a:cubicBezTo>
                  <a:cubicBezTo>
                    <a:pt x="250" y="1241"/>
                    <a:pt x="464" y="1365"/>
                    <a:pt x="715" y="1365"/>
                  </a:cubicBezTo>
                  <a:cubicBezTo>
                    <a:pt x="1091" y="1365"/>
                    <a:pt x="1396" y="1059"/>
                    <a:pt x="1396" y="682"/>
                  </a:cubicBezTo>
                  <a:cubicBezTo>
                    <a:pt x="1396" y="305"/>
                    <a:pt x="1091" y="0"/>
                    <a:pt x="715" y="0"/>
                  </a:cubicBezTo>
                  <a:close/>
                  <a:moveTo>
                    <a:pt x="714" y="1237"/>
                  </a:moveTo>
                  <a:cubicBezTo>
                    <a:pt x="407" y="1237"/>
                    <a:pt x="159" y="989"/>
                    <a:pt x="159" y="683"/>
                  </a:cubicBezTo>
                  <a:cubicBezTo>
                    <a:pt x="159" y="376"/>
                    <a:pt x="407" y="128"/>
                    <a:pt x="714" y="128"/>
                  </a:cubicBezTo>
                  <a:cubicBezTo>
                    <a:pt x="1020" y="128"/>
                    <a:pt x="1268" y="376"/>
                    <a:pt x="1268" y="683"/>
                  </a:cubicBezTo>
                  <a:cubicBezTo>
                    <a:pt x="1268" y="989"/>
                    <a:pt x="1020" y="1237"/>
                    <a:pt x="714" y="123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45" name="Freeform 344">
              <a:extLst>
                <a:ext uri="{FF2B5EF4-FFF2-40B4-BE49-F238E27FC236}">
                  <a16:creationId xmlns:a16="http://schemas.microsoft.com/office/drawing/2014/main" id="{40671834-27FC-2740-949B-6C6E1F570490}"/>
                </a:ext>
              </a:extLst>
            </p:cNvPr>
            <p:cNvSpPr>
              <a:spLocks noEditPoints="1"/>
            </p:cNvSpPr>
            <p:nvPr/>
          </p:nvSpPr>
          <p:spPr bwMode="auto">
            <a:xfrm>
              <a:off x="2871" y="2835"/>
              <a:ext cx="195" cy="195"/>
            </a:xfrm>
            <a:custGeom>
              <a:avLst/>
              <a:gdLst>
                <a:gd name="T0" fmla="*/ 853 w 853"/>
                <a:gd name="T1" fmla="*/ 471 h 854"/>
                <a:gd name="T2" fmla="*/ 852 w 853"/>
                <a:gd name="T3" fmla="*/ 382 h 854"/>
                <a:gd name="T4" fmla="*/ 789 w 853"/>
                <a:gd name="T5" fmla="*/ 383 h 854"/>
                <a:gd name="T6" fmla="*/ 715 w 853"/>
                <a:gd name="T7" fmla="*/ 205 h 854"/>
                <a:gd name="T8" fmla="*/ 759 w 853"/>
                <a:gd name="T9" fmla="*/ 160 h 854"/>
                <a:gd name="T10" fmla="*/ 691 w 853"/>
                <a:gd name="T11" fmla="*/ 95 h 854"/>
                <a:gd name="T12" fmla="*/ 648 w 853"/>
                <a:gd name="T13" fmla="*/ 139 h 854"/>
                <a:gd name="T14" fmla="*/ 465 w 853"/>
                <a:gd name="T15" fmla="*/ 65 h 854"/>
                <a:gd name="T16" fmla="*/ 464 w 853"/>
                <a:gd name="T17" fmla="*/ 0 h 854"/>
                <a:gd name="T18" fmla="*/ 373 w 853"/>
                <a:gd name="T19" fmla="*/ 1 h 854"/>
                <a:gd name="T20" fmla="*/ 374 w 853"/>
                <a:gd name="T21" fmla="*/ 67 h 854"/>
                <a:gd name="T22" fmla="*/ 198 w 853"/>
                <a:gd name="T23" fmla="*/ 143 h 854"/>
                <a:gd name="T24" fmla="*/ 155 w 853"/>
                <a:gd name="T25" fmla="*/ 102 h 854"/>
                <a:gd name="T26" fmla="*/ 89 w 853"/>
                <a:gd name="T27" fmla="*/ 169 h 854"/>
                <a:gd name="T28" fmla="*/ 133 w 853"/>
                <a:gd name="T29" fmla="*/ 211 h 854"/>
                <a:gd name="T30" fmla="*/ 63 w 853"/>
                <a:gd name="T31" fmla="*/ 382 h 854"/>
                <a:gd name="T32" fmla="*/ 0 w 853"/>
                <a:gd name="T33" fmla="*/ 383 h 854"/>
                <a:gd name="T34" fmla="*/ 1 w 853"/>
                <a:gd name="T35" fmla="*/ 472 h 854"/>
                <a:gd name="T36" fmla="*/ 63 w 853"/>
                <a:gd name="T37" fmla="*/ 471 h 854"/>
                <a:gd name="T38" fmla="*/ 137 w 853"/>
                <a:gd name="T39" fmla="*/ 654 h 854"/>
                <a:gd name="T40" fmla="*/ 96 w 853"/>
                <a:gd name="T41" fmla="*/ 696 h 854"/>
                <a:gd name="T42" fmla="*/ 164 w 853"/>
                <a:gd name="T43" fmla="*/ 761 h 854"/>
                <a:gd name="T44" fmla="*/ 204 w 853"/>
                <a:gd name="T45" fmla="*/ 720 h 854"/>
                <a:gd name="T46" fmla="*/ 388 w 853"/>
                <a:gd name="T47" fmla="*/ 793 h 854"/>
                <a:gd name="T48" fmla="*/ 389 w 853"/>
                <a:gd name="T49" fmla="*/ 854 h 854"/>
                <a:gd name="T50" fmla="*/ 480 w 853"/>
                <a:gd name="T51" fmla="*/ 853 h 854"/>
                <a:gd name="T52" fmla="*/ 479 w 853"/>
                <a:gd name="T53" fmla="*/ 791 h 854"/>
                <a:gd name="T54" fmla="*/ 657 w 853"/>
                <a:gd name="T55" fmla="*/ 713 h 854"/>
                <a:gd name="T56" fmla="*/ 700 w 853"/>
                <a:gd name="T57" fmla="*/ 754 h 854"/>
                <a:gd name="T58" fmla="*/ 766 w 853"/>
                <a:gd name="T59" fmla="*/ 688 h 854"/>
                <a:gd name="T60" fmla="*/ 722 w 853"/>
                <a:gd name="T61" fmla="*/ 645 h 854"/>
                <a:gd name="T62" fmla="*/ 789 w 853"/>
                <a:gd name="T63" fmla="*/ 472 h 854"/>
                <a:gd name="T64" fmla="*/ 853 w 853"/>
                <a:gd name="T65" fmla="*/ 471 h 854"/>
                <a:gd name="T66" fmla="*/ 425 w 853"/>
                <a:gd name="T67" fmla="*/ 683 h 854"/>
                <a:gd name="T68" fmla="*/ 169 w 853"/>
                <a:gd name="T69" fmla="*/ 427 h 854"/>
                <a:gd name="T70" fmla="*/ 425 w 853"/>
                <a:gd name="T71" fmla="*/ 171 h 854"/>
                <a:gd name="T72" fmla="*/ 681 w 853"/>
                <a:gd name="T73" fmla="*/ 427 h 854"/>
                <a:gd name="T74" fmla="*/ 425 w 853"/>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854">
                  <a:moveTo>
                    <a:pt x="853" y="471"/>
                  </a:moveTo>
                  <a:cubicBezTo>
                    <a:pt x="852" y="382"/>
                    <a:pt x="852" y="382"/>
                    <a:pt x="852" y="382"/>
                  </a:cubicBezTo>
                  <a:cubicBezTo>
                    <a:pt x="789" y="383"/>
                    <a:pt x="789" y="383"/>
                    <a:pt x="789" y="383"/>
                  </a:cubicBezTo>
                  <a:cubicBezTo>
                    <a:pt x="781" y="316"/>
                    <a:pt x="754" y="255"/>
                    <a:pt x="715" y="205"/>
                  </a:cubicBezTo>
                  <a:cubicBezTo>
                    <a:pt x="759" y="160"/>
                    <a:pt x="759" y="160"/>
                    <a:pt x="759" y="160"/>
                  </a:cubicBezTo>
                  <a:cubicBezTo>
                    <a:pt x="691" y="95"/>
                    <a:pt x="691" y="95"/>
                    <a:pt x="691" y="95"/>
                  </a:cubicBezTo>
                  <a:cubicBezTo>
                    <a:pt x="648" y="139"/>
                    <a:pt x="648" y="139"/>
                    <a:pt x="648" y="139"/>
                  </a:cubicBezTo>
                  <a:cubicBezTo>
                    <a:pt x="596" y="99"/>
                    <a:pt x="533" y="73"/>
                    <a:pt x="465" y="65"/>
                  </a:cubicBezTo>
                  <a:cubicBezTo>
                    <a:pt x="464" y="0"/>
                    <a:pt x="464" y="0"/>
                    <a:pt x="464" y="0"/>
                  </a:cubicBezTo>
                  <a:cubicBezTo>
                    <a:pt x="373" y="1"/>
                    <a:pt x="373" y="1"/>
                    <a:pt x="373" y="1"/>
                  </a:cubicBezTo>
                  <a:cubicBezTo>
                    <a:pt x="374" y="67"/>
                    <a:pt x="374" y="67"/>
                    <a:pt x="374" y="67"/>
                  </a:cubicBezTo>
                  <a:cubicBezTo>
                    <a:pt x="308" y="76"/>
                    <a:pt x="248" y="104"/>
                    <a:pt x="198" y="143"/>
                  </a:cubicBezTo>
                  <a:cubicBezTo>
                    <a:pt x="155" y="102"/>
                    <a:pt x="155" y="102"/>
                    <a:pt x="155" y="102"/>
                  </a:cubicBezTo>
                  <a:cubicBezTo>
                    <a:pt x="89" y="169"/>
                    <a:pt x="89" y="169"/>
                    <a:pt x="89" y="169"/>
                  </a:cubicBezTo>
                  <a:cubicBezTo>
                    <a:pt x="133" y="211"/>
                    <a:pt x="133" y="211"/>
                    <a:pt x="133" y="211"/>
                  </a:cubicBezTo>
                  <a:cubicBezTo>
                    <a:pt x="96" y="260"/>
                    <a:pt x="71" y="319"/>
                    <a:pt x="63" y="382"/>
                  </a:cubicBezTo>
                  <a:cubicBezTo>
                    <a:pt x="0" y="383"/>
                    <a:pt x="0" y="383"/>
                    <a:pt x="0" y="383"/>
                  </a:cubicBezTo>
                  <a:cubicBezTo>
                    <a:pt x="1" y="472"/>
                    <a:pt x="1" y="472"/>
                    <a:pt x="1" y="472"/>
                  </a:cubicBezTo>
                  <a:cubicBezTo>
                    <a:pt x="63" y="471"/>
                    <a:pt x="63" y="471"/>
                    <a:pt x="63" y="471"/>
                  </a:cubicBezTo>
                  <a:cubicBezTo>
                    <a:pt x="70" y="540"/>
                    <a:pt x="97" y="602"/>
                    <a:pt x="137" y="654"/>
                  </a:cubicBezTo>
                  <a:cubicBezTo>
                    <a:pt x="96" y="696"/>
                    <a:pt x="96" y="696"/>
                    <a:pt x="96" y="696"/>
                  </a:cubicBezTo>
                  <a:cubicBezTo>
                    <a:pt x="164" y="761"/>
                    <a:pt x="164" y="761"/>
                    <a:pt x="164" y="761"/>
                  </a:cubicBezTo>
                  <a:cubicBezTo>
                    <a:pt x="204" y="720"/>
                    <a:pt x="204" y="720"/>
                    <a:pt x="204" y="720"/>
                  </a:cubicBezTo>
                  <a:cubicBezTo>
                    <a:pt x="256" y="760"/>
                    <a:pt x="320" y="786"/>
                    <a:pt x="388" y="793"/>
                  </a:cubicBezTo>
                  <a:cubicBezTo>
                    <a:pt x="389" y="854"/>
                    <a:pt x="389" y="854"/>
                    <a:pt x="389" y="854"/>
                  </a:cubicBezTo>
                  <a:cubicBezTo>
                    <a:pt x="480" y="853"/>
                    <a:pt x="480" y="853"/>
                    <a:pt x="480" y="853"/>
                  </a:cubicBezTo>
                  <a:cubicBezTo>
                    <a:pt x="479" y="791"/>
                    <a:pt x="479" y="791"/>
                    <a:pt x="479" y="791"/>
                  </a:cubicBezTo>
                  <a:cubicBezTo>
                    <a:pt x="546" y="782"/>
                    <a:pt x="607" y="754"/>
                    <a:pt x="657" y="713"/>
                  </a:cubicBezTo>
                  <a:cubicBezTo>
                    <a:pt x="700" y="754"/>
                    <a:pt x="700" y="754"/>
                    <a:pt x="700" y="754"/>
                  </a:cubicBezTo>
                  <a:cubicBezTo>
                    <a:pt x="766" y="688"/>
                    <a:pt x="766" y="688"/>
                    <a:pt x="766" y="688"/>
                  </a:cubicBezTo>
                  <a:cubicBezTo>
                    <a:pt x="722" y="645"/>
                    <a:pt x="722" y="645"/>
                    <a:pt x="722" y="645"/>
                  </a:cubicBezTo>
                  <a:cubicBezTo>
                    <a:pt x="758" y="595"/>
                    <a:pt x="782" y="536"/>
                    <a:pt x="789" y="472"/>
                  </a:cubicBezTo>
                  <a:lnTo>
                    <a:pt x="853" y="471"/>
                  </a:lnTo>
                  <a:close/>
                  <a:moveTo>
                    <a:pt x="425" y="683"/>
                  </a:moveTo>
                  <a:cubicBezTo>
                    <a:pt x="284" y="683"/>
                    <a:pt x="169" y="568"/>
                    <a:pt x="169" y="427"/>
                  </a:cubicBezTo>
                  <a:cubicBezTo>
                    <a:pt x="169" y="285"/>
                    <a:pt x="284" y="171"/>
                    <a:pt x="425" y="171"/>
                  </a:cubicBezTo>
                  <a:cubicBezTo>
                    <a:pt x="566" y="171"/>
                    <a:pt x="681" y="285"/>
                    <a:pt x="681" y="427"/>
                  </a:cubicBezTo>
                  <a:cubicBezTo>
                    <a:pt x="681" y="568"/>
                    <a:pt x="566" y="683"/>
                    <a:pt x="425" y="6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sp>
        <p:nvSpPr>
          <p:cNvPr id="46" name="Title 1">
            <a:extLst>
              <a:ext uri="{FF2B5EF4-FFF2-40B4-BE49-F238E27FC236}">
                <a16:creationId xmlns:a16="http://schemas.microsoft.com/office/drawing/2014/main" id="{DBB39DBC-B0CD-B343-BAD3-360F3A3DEB28}"/>
              </a:ext>
            </a:extLst>
          </p:cNvPr>
          <p:cNvSpPr>
            <a:spLocks noGrp="1"/>
          </p:cNvSpPr>
          <p:nvPr>
            <p:ph type="title"/>
          </p:nvPr>
        </p:nvSpPr>
        <p:spPr>
          <a:xfrm>
            <a:off x="589045" y="815008"/>
            <a:ext cx="6005649" cy="553982"/>
          </a:xfrm>
        </p:spPr>
        <p:txBody>
          <a:bodyPr/>
          <a:lstStyle/>
          <a:p>
            <a:r>
              <a:rPr lang="en-US">
                <a:solidFill>
                  <a:schemeClr val="accent2"/>
                </a:solidFill>
              </a:rPr>
              <a:t>Simplified app development</a:t>
            </a:r>
          </a:p>
        </p:txBody>
      </p:sp>
      <p:pic>
        <p:nvPicPr>
          <p:cNvPr id="47" name="Picture 46">
            <a:extLst>
              <a:ext uri="{FF2B5EF4-FFF2-40B4-BE49-F238E27FC236}">
                <a16:creationId xmlns:a16="http://schemas.microsoft.com/office/drawing/2014/main" id="{B70575D7-D838-4948-B768-74A3E6DC7547}"/>
              </a:ext>
            </a:extLst>
          </p:cNvPr>
          <p:cNvPicPr>
            <a:picLocks noChangeAspect="1"/>
          </p:cNvPicPr>
          <p:nvPr/>
        </p:nvPicPr>
        <p:blipFill>
          <a:blip r:embed="rId3"/>
          <a:stretch>
            <a:fillRect/>
          </a:stretch>
        </p:blipFill>
        <p:spPr>
          <a:xfrm>
            <a:off x="7591473" y="3137693"/>
            <a:ext cx="1357033" cy="900000"/>
          </a:xfrm>
          <a:prstGeom prst="rect">
            <a:avLst/>
          </a:prstGeom>
        </p:spPr>
      </p:pic>
      <p:pic>
        <p:nvPicPr>
          <p:cNvPr id="48" name="Picture 47">
            <a:extLst>
              <a:ext uri="{FF2B5EF4-FFF2-40B4-BE49-F238E27FC236}">
                <a16:creationId xmlns:a16="http://schemas.microsoft.com/office/drawing/2014/main" id="{FDB64291-75F2-4545-A19A-7B1984BA003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9927440" y="3201577"/>
            <a:ext cx="1666760" cy="653632"/>
          </a:xfrm>
          <a:prstGeom prst="rect">
            <a:avLst/>
          </a:prstGeom>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F33B2814-3C62-5D45-AC2B-85CD30647738}"/>
              </a:ext>
            </a:extLst>
          </p:cNvPr>
          <p:cNvSpPr txBox="1"/>
          <p:nvPr/>
        </p:nvSpPr>
        <p:spPr>
          <a:xfrm>
            <a:off x="10054450" y="1993918"/>
            <a:ext cx="1412739" cy="406208"/>
          </a:xfrm>
          <a:prstGeom prst="rect">
            <a:avLst/>
          </a:prstGeom>
          <a:noFill/>
        </p:spPr>
        <p:txBody>
          <a:bodyPr wrap="square" rtlCol="0" anchor="ctr">
            <a:spAutoFit/>
          </a:bodyPr>
          <a:lstStyle>
            <a:defPPr>
              <a:defRPr lang="en-US"/>
            </a:defPPr>
            <a:lvl1pPr marR="0" lvl="0" indent="0" algn="ctr" fontAlgn="auto">
              <a:lnSpc>
                <a:spcPct val="100000"/>
              </a:lnSpc>
              <a:spcBef>
                <a:spcPts val="0"/>
              </a:spcBef>
              <a:spcAft>
                <a:spcPts val="0"/>
              </a:spcAft>
              <a:buClrTx/>
              <a:buSzTx/>
              <a:buFontTx/>
              <a:buNone/>
              <a:tabLst/>
              <a:defRPr kumimoji="0" sz="2000" b="0" i="0" u="none" strike="noStrike" cap="none" spc="0" normalizeH="0" baseline="0">
                <a:ln>
                  <a:noFill/>
                </a:ln>
                <a:solidFill>
                  <a:srgbClr val="0078D4"/>
                </a:solidFill>
                <a:effectLst/>
                <a:uLnTx/>
                <a:uFillTx/>
                <a:latin typeface="+mj-lt"/>
                <a:cs typeface="Segoe UI Semilight" panose="020B0402040204020203" pitchFamily="34" charset="0"/>
              </a:defRPr>
            </a:lvl1pPr>
          </a:lstStyle>
          <a:p>
            <a:pPr defTabSz="914225"/>
            <a:r>
              <a:rPr lang="en-US">
                <a:latin typeface="Segoe UI Semibold"/>
              </a:rPr>
              <a:t>MongoDB</a:t>
            </a:r>
          </a:p>
        </p:txBody>
      </p:sp>
    </p:spTree>
    <p:extLst>
      <p:ext uri="{BB962C8B-B14F-4D97-AF65-F5344CB8AC3E}">
        <p14:creationId xmlns:p14="http://schemas.microsoft.com/office/powerpoint/2010/main" val="10449170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51AF09-620F-6A46-B26C-FC7CF6B7F384}"/>
              </a:ext>
            </a:extLst>
          </p:cNvPr>
          <p:cNvGrpSpPr/>
          <p:nvPr/>
        </p:nvGrpSpPr>
        <p:grpSpPr>
          <a:xfrm>
            <a:off x="8001683" y="1876887"/>
            <a:ext cx="3316741" cy="3345363"/>
            <a:chOff x="8419098" y="2297411"/>
            <a:chExt cx="2482920" cy="2504347"/>
          </a:xfrm>
        </p:grpSpPr>
        <p:sp>
          <p:nvSpPr>
            <p:cNvPr id="27" name="Freeform 5">
              <a:extLst>
                <a:ext uri="{FF2B5EF4-FFF2-40B4-BE49-F238E27FC236}">
                  <a16:creationId xmlns:a16="http://schemas.microsoft.com/office/drawing/2014/main" id="{3B19FE4A-A619-4192-B101-8A9E36F73499}"/>
                </a:ext>
              </a:extLst>
            </p:cNvPr>
            <p:cNvSpPr>
              <a:spLocks noEditPoints="1"/>
            </p:cNvSpPr>
            <p:nvPr/>
          </p:nvSpPr>
          <p:spPr bwMode="auto">
            <a:xfrm>
              <a:off x="9950605" y="2334362"/>
              <a:ext cx="214813" cy="343593"/>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28" name="Freeform 5">
              <a:extLst>
                <a:ext uri="{FF2B5EF4-FFF2-40B4-BE49-F238E27FC236}">
                  <a16:creationId xmlns:a16="http://schemas.microsoft.com/office/drawing/2014/main" id="{A4A3D1D7-3114-408F-9891-4A308C4D8950}"/>
                </a:ext>
              </a:extLst>
            </p:cNvPr>
            <p:cNvSpPr>
              <a:spLocks noEditPoints="1"/>
            </p:cNvSpPr>
            <p:nvPr/>
          </p:nvSpPr>
          <p:spPr bwMode="auto">
            <a:xfrm>
              <a:off x="8426605" y="2956662"/>
              <a:ext cx="214813" cy="343593"/>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29" name="Freeform 5">
              <a:extLst>
                <a:ext uri="{FF2B5EF4-FFF2-40B4-BE49-F238E27FC236}">
                  <a16:creationId xmlns:a16="http://schemas.microsoft.com/office/drawing/2014/main" id="{A9D4FFB5-8998-47FD-AAA5-0014FC1BCB25}"/>
                </a:ext>
              </a:extLst>
            </p:cNvPr>
            <p:cNvSpPr>
              <a:spLocks noEditPoints="1"/>
            </p:cNvSpPr>
            <p:nvPr/>
          </p:nvSpPr>
          <p:spPr bwMode="auto">
            <a:xfrm>
              <a:off x="10687205" y="3426562"/>
              <a:ext cx="214813" cy="343593"/>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grpSp>
          <p:nvGrpSpPr>
            <p:cNvPr id="30" name="Group 29">
              <a:extLst>
                <a:ext uri="{FF2B5EF4-FFF2-40B4-BE49-F238E27FC236}">
                  <a16:creationId xmlns:a16="http://schemas.microsoft.com/office/drawing/2014/main" id="{CE1314BC-89B6-403D-BF9E-5A71CEF891A7}"/>
                </a:ext>
              </a:extLst>
            </p:cNvPr>
            <p:cNvGrpSpPr/>
            <p:nvPr/>
          </p:nvGrpSpPr>
          <p:grpSpPr>
            <a:xfrm>
              <a:off x="8419098" y="2388752"/>
              <a:ext cx="2413000" cy="2413006"/>
              <a:chOff x="587828" y="3719272"/>
              <a:chExt cx="1442357" cy="1442360"/>
            </a:xfrm>
          </p:grpSpPr>
          <p:sp>
            <p:nvSpPr>
              <p:cNvPr id="31" name="Oval 30">
                <a:extLst>
                  <a:ext uri="{FF2B5EF4-FFF2-40B4-BE49-F238E27FC236}">
                    <a16:creationId xmlns:a16="http://schemas.microsoft.com/office/drawing/2014/main" id="{003A7CBE-9E98-4C18-A7A2-2B02E7A51EF8}"/>
                  </a:ext>
                </a:extLst>
              </p:cNvPr>
              <p:cNvSpPr/>
              <p:nvPr/>
            </p:nvSpPr>
            <p:spPr bwMode="auto">
              <a:xfrm>
                <a:off x="587828" y="3719275"/>
                <a:ext cx="1442357" cy="1442357"/>
              </a:xfrm>
              <a:prstGeom prst="ellipse">
                <a:avLst/>
              </a:prstGeom>
              <a:solidFill>
                <a:srgbClr val="0078D4"/>
              </a:solidFill>
              <a:ln w="12700" cap="rnd">
                <a:noFill/>
                <a:miter lim="800000"/>
                <a:headEnd/>
                <a:tailEnd/>
              </a:ln>
              <a:effectLst/>
            </p:spPr>
            <p:txBody>
              <a:bodyPr wrap="none" rtlCol="0" anchor="ctr"/>
              <a:lstStyle/>
              <a:p>
                <a:pPr defTabSz="914225">
                  <a:defRPr/>
                </a:pPr>
                <a:endParaRPr lang="en-US" kern="0">
                  <a:solidFill>
                    <a:prstClr val="black"/>
                  </a:solidFill>
                  <a:latin typeface="Arial" charset="0"/>
                  <a:ea typeface="Arial" charset="0"/>
                  <a:cs typeface="Arial" charset="0"/>
                </a:endParaRPr>
              </a:p>
            </p:txBody>
          </p:sp>
          <p:sp>
            <p:nvSpPr>
              <p:cNvPr id="32" name="Freeform: Shape 557">
                <a:extLst>
                  <a:ext uri="{FF2B5EF4-FFF2-40B4-BE49-F238E27FC236}">
                    <a16:creationId xmlns:a16="http://schemas.microsoft.com/office/drawing/2014/main" id="{4887CA63-5BD2-443B-95E4-AA676F3A2F5F}"/>
                  </a:ext>
                </a:extLst>
              </p:cNvPr>
              <p:cNvSpPr/>
              <p:nvPr/>
            </p:nvSpPr>
            <p:spPr>
              <a:xfrm>
                <a:off x="1351541" y="4299010"/>
                <a:ext cx="235016" cy="85461"/>
              </a:xfrm>
              <a:custGeom>
                <a:avLst/>
                <a:gdLst>
                  <a:gd name="connsiteX0" fmla="*/ 98239 w 104775"/>
                  <a:gd name="connsiteY0" fmla="*/ 23098 h 38100"/>
                  <a:gd name="connsiteX1" fmla="*/ 52519 w 104775"/>
                  <a:gd name="connsiteY1" fmla="*/ 7858 h 38100"/>
                  <a:gd name="connsiteX2" fmla="*/ 42042 w 104775"/>
                  <a:gd name="connsiteY2" fmla="*/ 7858 h 38100"/>
                  <a:gd name="connsiteX3" fmla="*/ 9657 w 104775"/>
                  <a:gd name="connsiteY3" fmla="*/ 15478 h 38100"/>
                  <a:gd name="connsiteX4" fmla="*/ 9657 w 104775"/>
                  <a:gd name="connsiteY4" fmla="*/ 25003 h 38100"/>
                  <a:gd name="connsiteX5" fmla="*/ 53472 w 104775"/>
                  <a:gd name="connsiteY5" fmla="*/ 25003 h 38100"/>
                  <a:gd name="connsiteX6" fmla="*/ 60139 w 104775"/>
                  <a:gd name="connsiteY6" fmla="*/ 25956 h 38100"/>
                  <a:gd name="connsiteX7" fmla="*/ 93477 w 104775"/>
                  <a:gd name="connsiteY7" fmla="*/ 39291 h 38100"/>
                  <a:gd name="connsiteX8" fmla="*/ 104907 w 104775"/>
                  <a:gd name="connsiteY8" fmla="*/ 31671 h 38100"/>
                  <a:gd name="connsiteX9" fmla="*/ 98239 w 104775"/>
                  <a:gd name="connsiteY9" fmla="*/ 2309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38100">
                    <a:moveTo>
                      <a:pt x="98239" y="23098"/>
                    </a:moveTo>
                    <a:lnTo>
                      <a:pt x="52519" y="7858"/>
                    </a:lnTo>
                    <a:cubicBezTo>
                      <a:pt x="48709" y="6906"/>
                      <a:pt x="45852" y="6906"/>
                      <a:pt x="42042" y="7858"/>
                    </a:cubicBezTo>
                    <a:lnTo>
                      <a:pt x="9657" y="15478"/>
                    </a:lnTo>
                    <a:cubicBezTo>
                      <a:pt x="6799" y="17383"/>
                      <a:pt x="5847" y="21193"/>
                      <a:pt x="9657" y="25003"/>
                    </a:cubicBezTo>
                    <a:lnTo>
                      <a:pt x="53472" y="25003"/>
                    </a:lnTo>
                    <a:cubicBezTo>
                      <a:pt x="56329" y="25003"/>
                      <a:pt x="58234" y="25003"/>
                      <a:pt x="60139" y="25956"/>
                    </a:cubicBezTo>
                    <a:lnTo>
                      <a:pt x="93477" y="39291"/>
                    </a:lnTo>
                    <a:cubicBezTo>
                      <a:pt x="99192" y="41196"/>
                      <a:pt x="104907" y="37386"/>
                      <a:pt x="104907" y="31671"/>
                    </a:cubicBezTo>
                    <a:cubicBezTo>
                      <a:pt x="104907" y="27861"/>
                      <a:pt x="102049" y="24051"/>
                      <a:pt x="98239" y="23098"/>
                    </a:cubicBezTo>
                    <a:close/>
                  </a:path>
                </a:pathLst>
              </a:custGeom>
              <a:solidFill>
                <a:srgbClr val="50E6FF"/>
              </a:solidFill>
              <a:ln w="9525" cap="flat">
                <a:noFill/>
                <a:prstDash val="solid"/>
                <a:miter/>
              </a:ln>
            </p:spPr>
            <p:txBody>
              <a:bodyPr rtlCol="0" anchor="ctr"/>
              <a:lstStyle/>
              <a:p>
                <a:pPr defTabSz="914225">
                  <a:defRPr/>
                </a:pPr>
                <a:endParaRPr lang="en-US" kern="0">
                  <a:solidFill>
                    <a:prstClr val="black"/>
                  </a:solidFill>
                  <a:latin typeface="Segoe UI"/>
                </a:endParaRPr>
              </a:p>
            </p:txBody>
          </p:sp>
          <p:sp>
            <p:nvSpPr>
              <p:cNvPr id="33" name="Freeform: Shape 558">
                <a:extLst>
                  <a:ext uri="{FF2B5EF4-FFF2-40B4-BE49-F238E27FC236}">
                    <a16:creationId xmlns:a16="http://schemas.microsoft.com/office/drawing/2014/main" id="{1F6C71A5-6B16-4871-86C7-62CE63FE1AEB}"/>
                  </a:ext>
                </a:extLst>
              </p:cNvPr>
              <p:cNvSpPr/>
              <p:nvPr/>
            </p:nvSpPr>
            <p:spPr bwMode="auto">
              <a:xfrm>
                <a:off x="780395" y="3719272"/>
                <a:ext cx="1148310" cy="1418351"/>
              </a:xfrm>
              <a:custGeom>
                <a:avLst/>
                <a:gdLst>
                  <a:gd name="connsiteX0" fmla="*/ 692128 w 1148301"/>
                  <a:gd name="connsiteY0" fmla="*/ 1422066 h 1442358"/>
                  <a:gd name="connsiteX1" fmla="*/ 673956 w 1148301"/>
                  <a:gd name="connsiteY1" fmla="*/ 1427706 h 1442358"/>
                  <a:gd name="connsiteX2" fmla="*/ 528613 w 1148301"/>
                  <a:gd name="connsiteY2" fmla="*/ 1442358 h 1442358"/>
                  <a:gd name="connsiteX3" fmla="*/ 454877 w 1148301"/>
                  <a:gd name="connsiteY3" fmla="*/ 1438635 h 1442358"/>
                  <a:gd name="connsiteX4" fmla="*/ 438619 w 1148301"/>
                  <a:gd name="connsiteY4" fmla="*/ 1436154 h 1442358"/>
                  <a:gd name="connsiteX5" fmla="*/ 456474 w 1148301"/>
                  <a:gd name="connsiteY5" fmla="*/ 1438642 h 1442358"/>
                  <a:gd name="connsiteX6" fmla="*/ 530848 w 1148301"/>
                  <a:gd name="connsiteY6" fmla="*/ 1441282 h 1442358"/>
                  <a:gd name="connsiteX7" fmla="*/ 618980 w 1148301"/>
                  <a:gd name="connsiteY7" fmla="*/ 1435407 h 1442358"/>
                  <a:gd name="connsiteX8" fmla="*/ 528613 w 1148301"/>
                  <a:gd name="connsiteY8" fmla="*/ 0 h 1442358"/>
                  <a:gd name="connsiteX9" fmla="*/ 673956 w 1148301"/>
                  <a:gd name="connsiteY9" fmla="*/ 14652 h 1442358"/>
                  <a:gd name="connsiteX10" fmla="*/ 742364 w 1148301"/>
                  <a:gd name="connsiteY10" fmla="*/ 35887 h 1442358"/>
                  <a:gd name="connsiteX11" fmla="*/ 742364 w 1148301"/>
                  <a:gd name="connsiteY11" fmla="*/ 37594 h 1442358"/>
                  <a:gd name="connsiteX12" fmla="*/ 720999 w 1148301"/>
                  <a:gd name="connsiteY12" fmla="*/ 58959 h 1442358"/>
                  <a:gd name="connsiteX13" fmla="*/ 667585 w 1148301"/>
                  <a:gd name="connsiteY13" fmla="*/ 58959 h 1442358"/>
                  <a:gd name="connsiteX14" fmla="*/ 652630 w 1148301"/>
                  <a:gd name="connsiteY14" fmla="*/ 52549 h 1442358"/>
                  <a:gd name="connsiteX15" fmla="*/ 631265 w 1148301"/>
                  <a:gd name="connsiteY15" fmla="*/ 16229 h 1442358"/>
                  <a:gd name="connsiteX16" fmla="*/ 494528 w 1148301"/>
                  <a:gd name="connsiteY16" fmla="*/ 73914 h 1442358"/>
                  <a:gd name="connsiteX17" fmla="*/ 485982 w 1148301"/>
                  <a:gd name="connsiteY17" fmla="*/ 91006 h 1442358"/>
                  <a:gd name="connsiteX18" fmla="*/ 485982 w 1148301"/>
                  <a:gd name="connsiteY18" fmla="*/ 144420 h 1442358"/>
                  <a:gd name="connsiteX19" fmla="*/ 507347 w 1148301"/>
                  <a:gd name="connsiteY19" fmla="*/ 165785 h 1442358"/>
                  <a:gd name="connsiteX20" fmla="*/ 571443 w 1148301"/>
                  <a:gd name="connsiteY20" fmla="*/ 165785 h 1442358"/>
                  <a:gd name="connsiteX21" fmla="*/ 592808 w 1148301"/>
                  <a:gd name="connsiteY21" fmla="*/ 187150 h 1442358"/>
                  <a:gd name="connsiteX22" fmla="*/ 614173 w 1148301"/>
                  <a:gd name="connsiteY22" fmla="*/ 187150 h 1442358"/>
                  <a:gd name="connsiteX23" fmla="*/ 635538 w 1148301"/>
                  <a:gd name="connsiteY23" fmla="*/ 165785 h 1442358"/>
                  <a:gd name="connsiteX24" fmla="*/ 635538 w 1148301"/>
                  <a:gd name="connsiteY24" fmla="*/ 144420 h 1442358"/>
                  <a:gd name="connsiteX25" fmla="*/ 678268 w 1148301"/>
                  <a:gd name="connsiteY25" fmla="*/ 101690 h 1442358"/>
                  <a:gd name="connsiteX26" fmla="*/ 714588 w 1148301"/>
                  <a:gd name="connsiteY26" fmla="*/ 101690 h 1442358"/>
                  <a:gd name="connsiteX27" fmla="*/ 725272 w 1148301"/>
                  <a:gd name="connsiteY27" fmla="*/ 103825 h 1442358"/>
                  <a:gd name="connsiteX28" fmla="*/ 906874 w 1148301"/>
                  <a:gd name="connsiteY28" fmla="*/ 212788 h 1442358"/>
                  <a:gd name="connsiteX29" fmla="*/ 926104 w 1148301"/>
                  <a:gd name="connsiteY29" fmla="*/ 259792 h 1442358"/>
                  <a:gd name="connsiteX30" fmla="*/ 913285 w 1148301"/>
                  <a:gd name="connsiteY30" fmla="*/ 315341 h 1442358"/>
                  <a:gd name="connsiteX31" fmla="*/ 891920 w 1148301"/>
                  <a:gd name="connsiteY31" fmla="*/ 315341 h 1442358"/>
                  <a:gd name="connsiteX32" fmla="*/ 870554 w 1148301"/>
                  <a:gd name="connsiteY32" fmla="*/ 293976 h 1442358"/>
                  <a:gd name="connsiteX33" fmla="*/ 849189 w 1148301"/>
                  <a:gd name="connsiteY33" fmla="*/ 272611 h 1442358"/>
                  <a:gd name="connsiteX34" fmla="*/ 836370 w 1148301"/>
                  <a:gd name="connsiteY34" fmla="*/ 272611 h 1442358"/>
                  <a:gd name="connsiteX35" fmla="*/ 821414 w 1148301"/>
                  <a:gd name="connsiteY35" fmla="*/ 308930 h 1442358"/>
                  <a:gd name="connsiteX36" fmla="*/ 827824 w 1148301"/>
                  <a:gd name="connsiteY36" fmla="*/ 315341 h 1442358"/>
                  <a:gd name="connsiteX37" fmla="*/ 827824 w 1148301"/>
                  <a:gd name="connsiteY37" fmla="*/ 336706 h 1442358"/>
                  <a:gd name="connsiteX38" fmla="*/ 806459 w 1148301"/>
                  <a:gd name="connsiteY38" fmla="*/ 358071 h 1442358"/>
                  <a:gd name="connsiteX39" fmla="*/ 750910 w 1148301"/>
                  <a:gd name="connsiteY39" fmla="*/ 358071 h 1442358"/>
                  <a:gd name="connsiteX40" fmla="*/ 701769 w 1148301"/>
                  <a:gd name="connsiteY40" fmla="*/ 381572 h 1442358"/>
                  <a:gd name="connsiteX41" fmla="*/ 641947 w 1148301"/>
                  <a:gd name="connsiteY41" fmla="*/ 456351 h 1442358"/>
                  <a:gd name="connsiteX42" fmla="*/ 633400 w 1148301"/>
                  <a:gd name="connsiteY42" fmla="*/ 475578 h 1442358"/>
                  <a:gd name="connsiteX43" fmla="*/ 618446 w 1148301"/>
                  <a:gd name="connsiteY43" fmla="*/ 554631 h 1442358"/>
                  <a:gd name="connsiteX44" fmla="*/ 597081 w 1148301"/>
                  <a:gd name="connsiteY44" fmla="*/ 571723 h 1442358"/>
                  <a:gd name="connsiteX45" fmla="*/ 588535 w 1148301"/>
                  <a:gd name="connsiteY45" fmla="*/ 571723 h 1442358"/>
                  <a:gd name="connsiteX46" fmla="*/ 567170 w 1148301"/>
                  <a:gd name="connsiteY46" fmla="*/ 554631 h 1442358"/>
                  <a:gd name="connsiteX47" fmla="*/ 554351 w 1148301"/>
                  <a:gd name="connsiteY47" fmla="*/ 501217 h 1442358"/>
                  <a:gd name="connsiteX48" fmla="*/ 532985 w 1148301"/>
                  <a:gd name="connsiteY48" fmla="*/ 484124 h 1442358"/>
                  <a:gd name="connsiteX49" fmla="*/ 485982 w 1148301"/>
                  <a:gd name="connsiteY49" fmla="*/ 484124 h 1442358"/>
                  <a:gd name="connsiteX50" fmla="*/ 379157 w 1148301"/>
                  <a:gd name="connsiteY50" fmla="*/ 569585 h 1442358"/>
                  <a:gd name="connsiteX51" fmla="*/ 400522 w 1148301"/>
                  <a:gd name="connsiteY51" fmla="*/ 612315 h 1442358"/>
                  <a:gd name="connsiteX52" fmla="*/ 462479 w 1148301"/>
                  <a:gd name="connsiteY52" fmla="*/ 629407 h 1442358"/>
                  <a:gd name="connsiteX53" fmla="*/ 485982 w 1148301"/>
                  <a:gd name="connsiteY53" fmla="*/ 614453 h 1442358"/>
                  <a:gd name="connsiteX54" fmla="*/ 507347 w 1148301"/>
                  <a:gd name="connsiteY54" fmla="*/ 614453 h 1442358"/>
                  <a:gd name="connsiteX55" fmla="*/ 528712 w 1148301"/>
                  <a:gd name="connsiteY55" fmla="*/ 635818 h 1442358"/>
                  <a:gd name="connsiteX56" fmla="*/ 528712 w 1148301"/>
                  <a:gd name="connsiteY56" fmla="*/ 699913 h 1442358"/>
                  <a:gd name="connsiteX57" fmla="*/ 571443 w 1148301"/>
                  <a:gd name="connsiteY57" fmla="*/ 699913 h 1442358"/>
                  <a:gd name="connsiteX58" fmla="*/ 592808 w 1148301"/>
                  <a:gd name="connsiteY58" fmla="*/ 721279 h 1442358"/>
                  <a:gd name="connsiteX59" fmla="*/ 592808 w 1148301"/>
                  <a:gd name="connsiteY59" fmla="*/ 785374 h 1442358"/>
                  <a:gd name="connsiteX60" fmla="*/ 635538 w 1148301"/>
                  <a:gd name="connsiteY60" fmla="*/ 806739 h 1442358"/>
                  <a:gd name="connsiteX61" fmla="*/ 742364 w 1148301"/>
                  <a:gd name="connsiteY61" fmla="*/ 764009 h 1442358"/>
                  <a:gd name="connsiteX62" fmla="*/ 998745 w 1148301"/>
                  <a:gd name="connsiteY62" fmla="*/ 892200 h 1442358"/>
                  <a:gd name="connsiteX63" fmla="*/ 1148301 w 1148301"/>
                  <a:gd name="connsiteY63" fmla="*/ 999025 h 1442358"/>
                  <a:gd name="connsiteX64" fmla="*/ 998745 w 1148301"/>
                  <a:gd name="connsiteY64" fmla="*/ 1148581 h 1442358"/>
                  <a:gd name="connsiteX65" fmla="*/ 956015 w 1148301"/>
                  <a:gd name="connsiteY65" fmla="*/ 1255407 h 1442358"/>
                  <a:gd name="connsiteX66" fmla="*/ 842145 w 1148301"/>
                  <a:gd name="connsiteY66" fmla="*/ 1359662 h 1442358"/>
                  <a:gd name="connsiteX67" fmla="*/ 816769 w 1148301"/>
                  <a:gd name="connsiteY67" fmla="*/ 1381646 h 1442358"/>
                  <a:gd name="connsiteX68" fmla="*/ 809328 w 1148301"/>
                  <a:gd name="connsiteY68" fmla="*/ 1385684 h 1442358"/>
                  <a:gd name="connsiteX69" fmla="*/ 704095 w 1148301"/>
                  <a:gd name="connsiteY69" fmla="*/ 1418351 h 1442358"/>
                  <a:gd name="connsiteX70" fmla="*/ 709614 w 1148301"/>
                  <a:gd name="connsiteY70" fmla="*/ 1372347 h 1442358"/>
                  <a:gd name="connsiteX71" fmla="*/ 723134 w 1148301"/>
                  <a:gd name="connsiteY71" fmla="*/ 1163536 h 1442358"/>
                  <a:gd name="connsiteX72" fmla="*/ 594943 w 1148301"/>
                  <a:gd name="connsiteY72" fmla="*/ 949884 h 1442358"/>
                  <a:gd name="connsiteX73" fmla="*/ 629127 w 1148301"/>
                  <a:gd name="connsiteY73" fmla="*/ 866561 h 1442358"/>
                  <a:gd name="connsiteX74" fmla="*/ 614173 w 1148301"/>
                  <a:gd name="connsiteY74" fmla="*/ 838786 h 1442358"/>
                  <a:gd name="connsiteX75" fmla="*/ 569305 w 1148301"/>
                  <a:gd name="connsiteY75" fmla="*/ 828104 h 1442358"/>
                  <a:gd name="connsiteX76" fmla="*/ 543667 w 1148301"/>
                  <a:gd name="connsiteY76" fmla="*/ 811012 h 1442358"/>
                  <a:gd name="connsiteX77" fmla="*/ 515893 w 1148301"/>
                  <a:gd name="connsiteY77" fmla="*/ 770417 h 1442358"/>
                  <a:gd name="connsiteX78" fmla="*/ 498801 w 1148301"/>
                  <a:gd name="connsiteY78" fmla="*/ 761871 h 1442358"/>
                  <a:gd name="connsiteX79" fmla="*/ 473163 w 1148301"/>
                  <a:gd name="connsiteY79" fmla="*/ 761871 h 1442358"/>
                  <a:gd name="connsiteX80" fmla="*/ 434706 w 1148301"/>
                  <a:gd name="connsiteY80" fmla="*/ 738371 h 1442358"/>
                  <a:gd name="connsiteX81" fmla="*/ 428295 w 1148301"/>
                  <a:gd name="connsiteY81" fmla="*/ 727687 h 1442358"/>
                  <a:gd name="connsiteX82" fmla="*/ 415476 w 1148301"/>
                  <a:gd name="connsiteY82" fmla="*/ 717006 h 1442358"/>
                  <a:gd name="connsiteX83" fmla="*/ 321470 w 1148301"/>
                  <a:gd name="connsiteY83" fmla="*/ 684957 h 1442358"/>
                  <a:gd name="connsiteX84" fmla="*/ 285150 w 1148301"/>
                  <a:gd name="connsiteY84" fmla="*/ 652910 h 1442358"/>
                  <a:gd name="connsiteX85" fmla="*/ 214644 w 1148301"/>
                  <a:gd name="connsiteY85" fmla="*/ 514036 h 1442358"/>
                  <a:gd name="connsiteX86" fmla="*/ 201825 w 1148301"/>
                  <a:gd name="connsiteY86" fmla="*/ 503354 h 1442358"/>
                  <a:gd name="connsiteX87" fmla="*/ 176187 w 1148301"/>
                  <a:gd name="connsiteY87" fmla="*/ 535401 h 1442358"/>
                  <a:gd name="connsiteX88" fmla="*/ 201825 w 1148301"/>
                  <a:gd name="connsiteY88" fmla="*/ 578131 h 1442358"/>
                  <a:gd name="connsiteX89" fmla="*/ 197552 w 1148301"/>
                  <a:gd name="connsiteY89" fmla="*/ 603769 h 1442358"/>
                  <a:gd name="connsiteX90" fmla="*/ 186870 w 1148301"/>
                  <a:gd name="connsiteY90" fmla="*/ 614453 h 1442358"/>
                  <a:gd name="connsiteX91" fmla="*/ 45860 w 1148301"/>
                  <a:gd name="connsiteY91" fmla="*/ 432848 h 1442358"/>
                  <a:gd name="connsiteX92" fmla="*/ 37314 w 1148301"/>
                  <a:gd name="connsiteY92" fmla="*/ 407210 h 1442358"/>
                  <a:gd name="connsiteX93" fmla="*/ 37314 w 1148301"/>
                  <a:gd name="connsiteY93" fmla="*/ 272611 h 1442358"/>
                  <a:gd name="connsiteX94" fmla="*/ 21557 w 1148301"/>
                  <a:gd name="connsiteY94" fmla="*/ 249642 h 1442358"/>
                  <a:gd name="connsiteX95" fmla="*/ 0 w 1148301"/>
                  <a:gd name="connsiteY95" fmla="*/ 233848 h 1442358"/>
                  <a:gd name="connsiteX96" fmla="*/ 18663 w 1148301"/>
                  <a:gd name="connsiteY96" fmla="*/ 211229 h 1442358"/>
                  <a:gd name="connsiteX97" fmla="*/ 528613 w 1148301"/>
                  <a:gd name="connsiteY97" fmla="*/ 0 h 1442358"/>
                  <a:gd name="connsiteX0" fmla="*/ 692128 w 1148301"/>
                  <a:gd name="connsiteY0" fmla="*/ 1422066 h 1442358"/>
                  <a:gd name="connsiteX1" fmla="*/ 673956 w 1148301"/>
                  <a:gd name="connsiteY1" fmla="*/ 1427706 h 1442358"/>
                  <a:gd name="connsiteX2" fmla="*/ 528613 w 1148301"/>
                  <a:gd name="connsiteY2" fmla="*/ 1442358 h 1442358"/>
                  <a:gd name="connsiteX3" fmla="*/ 454877 w 1148301"/>
                  <a:gd name="connsiteY3" fmla="*/ 1438635 h 1442358"/>
                  <a:gd name="connsiteX4" fmla="*/ 438619 w 1148301"/>
                  <a:gd name="connsiteY4" fmla="*/ 1436154 h 1442358"/>
                  <a:gd name="connsiteX5" fmla="*/ 456474 w 1148301"/>
                  <a:gd name="connsiteY5" fmla="*/ 1438642 h 1442358"/>
                  <a:gd name="connsiteX6" fmla="*/ 618980 w 1148301"/>
                  <a:gd name="connsiteY6" fmla="*/ 1435407 h 1442358"/>
                  <a:gd name="connsiteX7" fmla="*/ 692128 w 1148301"/>
                  <a:gd name="connsiteY7" fmla="*/ 1422066 h 1442358"/>
                  <a:gd name="connsiteX8" fmla="*/ 528613 w 1148301"/>
                  <a:gd name="connsiteY8" fmla="*/ 0 h 1442358"/>
                  <a:gd name="connsiteX9" fmla="*/ 673956 w 1148301"/>
                  <a:gd name="connsiteY9" fmla="*/ 14652 h 1442358"/>
                  <a:gd name="connsiteX10" fmla="*/ 742364 w 1148301"/>
                  <a:gd name="connsiteY10" fmla="*/ 35887 h 1442358"/>
                  <a:gd name="connsiteX11" fmla="*/ 742364 w 1148301"/>
                  <a:gd name="connsiteY11" fmla="*/ 37594 h 1442358"/>
                  <a:gd name="connsiteX12" fmla="*/ 720999 w 1148301"/>
                  <a:gd name="connsiteY12" fmla="*/ 58959 h 1442358"/>
                  <a:gd name="connsiteX13" fmla="*/ 667585 w 1148301"/>
                  <a:gd name="connsiteY13" fmla="*/ 58959 h 1442358"/>
                  <a:gd name="connsiteX14" fmla="*/ 652630 w 1148301"/>
                  <a:gd name="connsiteY14" fmla="*/ 52549 h 1442358"/>
                  <a:gd name="connsiteX15" fmla="*/ 631265 w 1148301"/>
                  <a:gd name="connsiteY15" fmla="*/ 16229 h 1442358"/>
                  <a:gd name="connsiteX16" fmla="*/ 494528 w 1148301"/>
                  <a:gd name="connsiteY16" fmla="*/ 73914 h 1442358"/>
                  <a:gd name="connsiteX17" fmla="*/ 485982 w 1148301"/>
                  <a:gd name="connsiteY17" fmla="*/ 91006 h 1442358"/>
                  <a:gd name="connsiteX18" fmla="*/ 485982 w 1148301"/>
                  <a:gd name="connsiteY18" fmla="*/ 144420 h 1442358"/>
                  <a:gd name="connsiteX19" fmla="*/ 507347 w 1148301"/>
                  <a:gd name="connsiteY19" fmla="*/ 165785 h 1442358"/>
                  <a:gd name="connsiteX20" fmla="*/ 571443 w 1148301"/>
                  <a:gd name="connsiteY20" fmla="*/ 165785 h 1442358"/>
                  <a:gd name="connsiteX21" fmla="*/ 592808 w 1148301"/>
                  <a:gd name="connsiteY21" fmla="*/ 187150 h 1442358"/>
                  <a:gd name="connsiteX22" fmla="*/ 614173 w 1148301"/>
                  <a:gd name="connsiteY22" fmla="*/ 187150 h 1442358"/>
                  <a:gd name="connsiteX23" fmla="*/ 635538 w 1148301"/>
                  <a:gd name="connsiteY23" fmla="*/ 165785 h 1442358"/>
                  <a:gd name="connsiteX24" fmla="*/ 635538 w 1148301"/>
                  <a:gd name="connsiteY24" fmla="*/ 144420 h 1442358"/>
                  <a:gd name="connsiteX25" fmla="*/ 678268 w 1148301"/>
                  <a:gd name="connsiteY25" fmla="*/ 101690 h 1442358"/>
                  <a:gd name="connsiteX26" fmla="*/ 714588 w 1148301"/>
                  <a:gd name="connsiteY26" fmla="*/ 101690 h 1442358"/>
                  <a:gd name="connsiteX27" fmla="*/ 725272 w 1148301"/>
                  <a:gd name="connsiteY27" fmla="*/ 103825 h 1442358"/>
                  <a:gd name="connsiteX28" fmla="*/ 906874 w 1148301"/>
                  <a:gd name="connsiteY28" fmla="*/ 212788 h 1442358"/>
                  <a:gd name="connsiteX29" fmla="*/ 926104 w 1148301"/>
                  <a:gd name="connsiteY29" fmla="*/ 259792 h 1442358"/>
                  <a:gd name="connsiteX30" fmla="*/ 913285 w 1148301"/>
                  <a:gd name="connsiteY30" fmla="*/ 315341 h 1442358"/>
                  <a:gd name="connsiteX31" fmla="*/ 891920 w 1148301"/>
                  <a:gd name="connsiteY31" fmla="*/ 315341 h 1442358"/>
                  <a:gd name="connsiteX32" fmla="*/ 870554 w 1148301"/>
                  <a:gd name="connsiteY32" fmla="*/ 293976 h 1442358"/>
                  <a:gd name="connsiteX33" fmla="*/ 849189 w 1148301"/>
                  <a:gd name="connsiteY33" fmla="*/ 272611 h 1442358"/>
                  <a:gd name="connsiteX34" fmla="*/ 836370 w 1148301"/>
                  <a:gd name="connsiteY34" fmla="*/ 272611 h 1442358"/>
                  <a:gd name="connsiteX35" fmla="*/ 821414 w 1148301"/>
                  <a:gd name="connsiteY35" fmla="*/ 308930 h 1442358"/>
                  <a:gd name="connsiteX36" fmla="*/ 827824 w 1148301"/>
                  <a:gd name="connsiteY36" fmla="*/ 315341 h 1442358"/>
                  <a:gd name="connsiteX37" fmla="*/ 827824 w 1148301"/>
                  <a:gd name="connsiteY37" fmla="*/ 336706 h 1442358"/>
                  <a:gd name="connsiteX38" fmla="*/ 806459 w 1148301"/>
                  <a:gd name="connsiteY38" fmla="*/ 358071 h 1442358"/>
                  <a:gd name="connsiteX39" fmla="*/ 750910 w 1148301"/>
                  <a:gd name="connsiteY39" fmla="*/ 358071 h 1442358"/>
                  <a:gd name="connsiteX40" fmla="*/ 701769 w 1148301"/>
                  <a:gd name="connsiteY40" fmla="*/ 381572 h 1442358"/>
                  <a:gd name="connsiteX41" fmla="*/ 641947 w 1148301"/>
                  <a:gd name="connsiteY41" fmla="*/ 456351 h 1442358"/>
                  <a:gd name="connsiteX42" fmla="*/ 633400 w 1148301"/>
                  <a:gd name="connsiteY42" fmla="*/ 475578 h 1442358"/>
                  <a:gd name="connsiteX43" fmla="*/ 618446 w 1148301"/>
                  <a:gd name="connsiteY43" fmla="*/ 554631 h 1442358"/>
                  <a:gd name="connsiteX44" fmla="*/ 597081 w 1148301"/>
                  <a:gd name="connsiteY44" fmla="*/ 571723 h 1442358"/>
                  <a:gd name="connsiteX45" fmla="*/ 588535 w 1148301"/>
                  <a:gd name="connsiteY45" fmla="*/ 571723 h 1442358"/>
                  <a:gd name="connsiteX46" fmla="*/ 567170 w 1148301"/>
                  <a:gd name="connsiteY46" fmla="*/ 554631 h 1442358"/>
                  <a:gd name="connsiteX47" fmla="*/ 554351 w 1148301"/>
                  <a:gd name="connsiteY47" fmla="*/ 501217 h 1442358"/>
                  <a:gd name="connsiteX48" fmla="*/ 532985 w 1148301"/>
                  <a:gd name="connsiteY48" fmla="*/ 484124 h 1442358"/>
                  <a:gd name="connsiteX49" fmla="*/ 485982 w 1148301"/>
                  <a:gd name="connsiteY49" fmla="*/ 484124 h 1442358"/>
                  <a:gd name="connsiteX50" fmla="*/ 379157 w 1148301"/>
                  <a:gd name="connsiteY50" fmla="*/ 569585 h 1442358"/>
                  <a:gd name="connsiteX51" fmla="*/ 400522 w 1148301"/>
                  <a:gd name="connsiteY51" fmla="*/ 612315 h 1442358"/>
                  <a:gd name="connsiteX52" fmla="*/ 462479 w 1148301"/>
                  <a:gd name="connsiteY52" fmla="*/ 629407 h 1442358"/>
                  <a:gd name="connsiteX53" fmla="*/ 485982 w 1148301"/>
                  <a:gd name="connsiteY53" fmla="*/ 614453 h 1442358"/>
                  <a:gd name="connsiteX54" fmla="*/ 507347 w 1148301"/>
                  <a:gd name="connsiteY54" fmla="*/ 614453 h 1442358"/>
                  <a:gd name="connsiteX55" fmla="*/ 528712 w 1148301"/>
                  <a:gd name="connsiteY55" fmla="*/ 635818 h 1442358"/>
                  <a:gd name="connsiteX56" fmla="*/ 528712 w 1148301"/>
                  <a:gd name="connsiteY56" fmla="*/ 699913 h 1442358"/>
                  <a:gd name="connsiteX57" fmla="*/ 571443 w 1148301"/>
                  <a:gd name="connsiteY57" fmla="*/ 699913 h 1442358"/>
                  <a:gd name="connsiteX58" fmla="*/ 592808 w 1148301"/>
                  <a:gd name="connsiteY58" fmla="*/ 721279 h 1442358"/>
                  <a:gd name="connsiteX59" fmla="*/ 592808 w 1148301"/>
                  <a:gd name="connsiteY59" fmla="*/ 785374 h 1442358"/>
                  <a:gd name="connsiteX60" fmla="*/ 635538 w 1148301"/>
                  <a:gd name="connsiteY60" fmla="*/ 806739 h 1442358"/>
                  <a:gd name="connsiteX61" fmla="*/ 742364 w 1148301"/>
                  <a:gd name="connsiteY61" fmla="*/ 764009 h 1442358"/>
                  <a:gd name="connsiteX62" fmla="*/ 998745 w 1148301"/>
                  <a:gd name="connsiteY62" fmla="*/ 892200 h 1442358"/>
                  <a:gd name="connsiteX63" fmla="*/ 1148301 w 1148301"/>
                  <a:gd name="connsiteY63" fmla="*/ 999025 h 1442358"/>
                  <a:gd name="connsiteX64" fmla="*/ 998745 w 1148301"/>
                  <a:gd name="connsiteY64" fmla="*/ 1148581 h 1442358"/>
                  <a:gd name="connsiteX65" fmla="*/ 956015 w 1148301"/>
                  <a:gd name="connsiteY65" fmla="*/ 1255407 h 1442358"/>
                  <a:gd name="connsiteX66" fmla="*/ 842145 w 1148301"/>
                  <a:gd name="connsiteY66" fmla="*/ 1359662 h 1442358"/>
                  <a:gd name="connsiteX67" fmla="*/ 816769 w 1148301"/>
                  <a:gd name="connsiteY67" fmla="*/ 1381646 h 1442358"/>
                  <a:gd name="connsiteX68" fmla="*/ 809328 w 1148301"/>
                  <a:gd name="connsiteY68" fmla="*/ 1385684 h 1442358"/>
                  <a:gd name="connsiteX69" fmla="*/ 704095 w 1148301"/>
                  <a:gd name="connsiteY69" fmla="*/ 1418351 h 1442358"/>
                  <a:gd name="connsiteX70" fmla="*/ 709614 w 1148301"/>
                  <a:gd name="connsiteY70" fmla="*/ 1372347 h 1442358"/>
                  <a:gd name="connsiteX71" fmla="*/ 723134 w 1148301"/>
                  <a:gd name="connsiteY71" fmla="*/ 1163536 h 1442358"/>
                  <a:gd name="connsiteX72" fmla="*/ 594943 w 1148301"/>
                  <a:gd name="connsiteY72" fmla="*/ 949884 h 1442358"/>
                  <a:gd name="connsiteX73" fmla="*/ 629127 w 1148301"/>
                  <a:gd name="connsiteY73" fmla="*/ 866561 h 1442358"/>
                  <a:gd name="connsiteX74" fmla="*/ 614173 w 1148301"/>
                  <a:gd name="connsiteY74" fmla="*/ 838786 h 1442358"/>
                  <a:gd name="connsiteX75" fmla="*/ 569305 w 1148301"/>
                  <a:gd name="connsiteY75" fmla="*/ 828104 h 1442358"/>
                  <a:gd name="connsiteX76" fmla="*/ 543667 w 1148301"/>
                  <a:gd name="connsiteY76" fmla="*/ 811012 h 1442358"/>
                  <a:gd name="connsiteX77" fmla="*/ 515893 w 1148301"/>
                  <a:gd name="connsiteY77" fmla="*/ 770417 h 1442358"/>
                  <a:gd name="connsiteX78" fmla="*/ 498801 w 1148301"/>
                  <a:gd name="connsiteY78" fmla="*/ 761871 h 1442358"/>
                  <a:gd name="connsiteX79" fmla="*/ 473163 w 1148301"/>
                  <a:gd name="connsiteY79" fmla="*/ 761871 h 1442358"/>
                  <a:gd name="connsiteX80" fmla="*/ 434706 w 1148301"/>
                  <a:gd name="connsiteY80" fmla="*/ 738371 h 1442358"/>
                  <a:gd name="connsiteX81" fmla="*/ 428295 w 1148301"/>
                  <a:gd name="connsiteY81" fmla="*/ 727687 h 1442358"/>
                  <a:gd name="connsiteX82" fmla="*/ 415476 w 1148301"/>
                  <a:gd name="connsiteY82" fmla="*/ 717006 h 1442358"/>
                  <a:gd name="connsiteX83" fmla="*/ 321470 w 1148301"/>
                  <a:gd name="connsiteY83" fmla="*/ 684957 h 1442358"/>
                  <a:gd name="connsiteX84" fmla="*/ 285150 w 1148301"/>
                  <a:gd name="connsiteY84" fmla="*/ 652910 h 1442358"/>
                  <a:gd name="connsiteX85" fmla="*/ 214644 w 1148301"/>
                  <a:gd name="connsiteY85" fmla="*/ 514036 h 1442358"/>
                  <a:gd name="connsiteX86" fmla="*/ 201825 w 1148301"/>
                  <a:gd name="connsiteY86" fmla="*/ 503354 h 1442358"/>
                  <a:gd name="connsiteX87" fmla="*/ 176187 w 1148301"/>
                  <a:gd name="connsiteY87" fmla="*/ 535401 h 1442358"/>
                  <a:gd name="connsiteX88" fmla="*/ 201825 w 1148301"/>
                  <a:gd name="connsiteY88" fmla="*/ 578131 h 1442358"/>
                  <a:gd name="connsiteX89" fmla="*/ 197552 w 1148301"/>
                  <a:gd name="connsiteY89" fmla="*/ 603769 h 1442358"/>
                  <a:gd name="connsiteX90" fmla="*/ 186870 w 1148301"/>
                  <a:gd name="connsiteY90" fmla="*/ 614453 h 1442358"/>
                  <a:gd name="connsiteX91" fmla="*/ 45860 w 1148301"/>
                  <a:gd name="connsiteY91" fmla="*/ 432848 h 1442358"/>
                  <a:gd name="connsiteX92" fmla="*/ 37314 w 1148301"/>
                  <a:gd name="connsiteY92" fmla="*/ 407210 h 1442358"/>
                  <a:gd name="connsiteX93" fmla="*/ 37314 w 1148301"/>
                  <a:gd name="connsiteY93" fmla="*/ 272611 h 1442358"/>
                  <a:gd name="connsiteX94" fmla="*/ 21557 w 1148301"/>
                  <a:gd name="connsiteY94" fmla="*/ 249642 h 1442358"/>
                  <a:gd name="connsiteX95" fmla="*/ 0 w 1148301"/>
                  <a:gd name="connsiteY95" fmla="*/ 233848 h 1442358"/>
                  <a:gd name="connsiteX96" fmla="*/ 18663 w 1148301"/>
                  <a:gd name="connsiteY96" fmla="*/ 211229 h 1442358"/>
                  <a:gd name="connsiteX97" fmla="*/ 528613 w 1148301"/>
                  <a:gd name="connsiteY97" fmla="*/ 0 h 1442358"/>
                  <a:gd name="connsiteX0" fmla="*/ 692128 w 1148301"/>
                  <a:gd name="connsiteY0" fmla="*/ 1422066 h 1438642"/>
                  <a:gd name="connsiteX1" fmla="*/ 673956 w 1148301"/>
                  <a:gd name="connsiteY1" fmla="*/ 1427706 h 1438642"/>
                  <a:gd name="connsiteX2" fmla="*/ 454877 w 1148301"/>
                  <a:gd name="connsiteY2" fmla="*/ 1438635 h 1438642"/>
                  <a:gd name="connsiteX3" fmla="*/ 438619 w 1148301"/>
                  <a:gd name="connsiteY3" fmla="*/ 1436154 h 1438642"/>
                  <a:gd name="connsiteX4" fmla="*/ 456474 w 1148301"/>
                  <a:gd name="connsiteY4" fmla="*/ 1438642 h 1438642"/>
                  <a:gd name="connsiteX5" fmla="*/ 618980 w 1148301"/>
                  <a:gd name="connsiteY5" fmla="*/ 1435407 h 1438642"/>
                  <a:gd name="connsiteX6" fmla="*/ 692128 w 1148301"/>
                  <a:gd name="connsiteY6" fmla="*/ 1422066 h 1438642"/>
                  <a:gd name="connsiteX7" fmla="*/ 528613 w 1148301"/>
                  <a:gd name="connsiteY7" fmla="*/ 0 h 1438642"/>
                  <a:gd name="connsiteX8" fmla="*/ 673956 w 1148301"/>
                  <a:gd name="connsiteY8" fmla="*/ 14652 h 1438642"/>
                  <a:gd name="connsiteX9" fmla="*/ 742364 w 1148301"/>
                  <a:gd name="connsiteY9" fmla="*/ 35887 h 1438642"/>
                  <a:gd name="connsiteX10" fmla="*/ 742364 w 1148301"/>
                  <a:gd name="connsiteY10" fmla="*/ 37594 h 1438642"/>
                  <a:gd name="connsiteX11" fmla="*/ 720999 w 1148301"/>
                  <a:gd name="connsiteY11" fmla="*/ 58959 h 1438642"/>
                  <a:gd name="connsiteX12" fmla="*/ 667585 w 1148301"/>
                  <a:gd name="connsiteY12" fmla="*/ 58959 h 1438642"/>
                  <a:gd name="connsiteX13" fmla="*/ 652630 w 1148301"/>
                  <a:gd name="connsiteY13" fmla="*/ 52549 h 1438642"/>
                  <a:gd name="connsiteX14" fmla="*/ 631265 w 1148301"/>
                  <a:gd name="connsiteY14" fmla="*/ 16229 h 1438642"/>
                  <a:gd name="connsiteX15" fmla="*/ 494528 w 1148301"/>
                  <a:gd name="connsiteY15" fmla="*/ 73914 h 1438642"/>
                  <a:gd name="connsiteX16" fmla="*/ 485982 w 1148301"/>
                  <a:gd name="connsiteY16" fmla="*/ 91006 h 1438642"/>
                  <a:gd name="connsiteX17" fmla="*/ 485982 w 1148301"/>
                  <a:gd name="connsiteY17" fmla="*/ 144420 h 1438642"/>
                  <a:gd name="connsiteX18" fmla="*/ 507347 w 1148301"/>
                  <a:gd name="connsiteY18" fmla="*/ 165785 h 1438642"/>
                  <a:gd name="connsiteX19" fmla="*/ 571443 w 1148301"/>
                  <a:gd name="connsiteY19" fmla="*/ 165785 h 1438642"/>
                  <a:gd name="connsiteX20" fmla="*/ 592808 w 1148301"/>
                  <a:gd name="connsiteY20" fmla="*/ 187150 h 1438642"/>
                  <a:gd name="connsiteX21" fmla="*/ 614173 w 1148301"/>
                  <a:gd name="connsiteY21" fmla="*/ 187150 h 1438642"/>
                  <a:gd name="connsiteX22" fmla="*/ 635538 w 1148301"/>
                  <a:gd name="connsiteY22" fmla="*/ 165785 h 1438642"/>
                  <a:gd name="connsiteX23" fmla="*/ 635538 w 1148301"/>
                  <a:gd name="connsiteY23" fmla="*/ 144420 h 1438642"/>
                  <a:gd name="connsiteX24" fmla="*/ 678268 w 1148301"/>
                  <a:gd name="connsiteY24" fmla="*/ 101690 h 1438642"/>
                  <a:gd name="connsiteX25" fmla="*/ 714588 w 1148301"/>
                  <a:gd name="connsiteY25" fmla="*/ 101690 h 1438642"/>
                  <a:gd name="connsiteX26" fmla="*/ 725272 w 1148301"/>
                  <a:gd name="connsiteY26" fmla="*/ 103825 h 1438642"/>
                  <a:gd name="connsiteX27" fmla="*/ 906874 w 1148301"/>
                  <a:gd name="connsiteY27" fmla="*/ 212788 h 1438642"/>
                  <a:gd name="connsiteX28" fmla="*/ 926104 w 1148301"/>
                  <a:gd name="connsiteY28" fmla="*/ 259792 h 1438642"/>
                  <a:gd name="connsiteX29" fmla="*/ 913285 w 1148301"/>
                  <a:gd name="connsiteY29" fmla="*/ 315341 h 1438642"/>
                  <a:gd name="connsiteX30" fmla="*/ 891920 w 1148301"/>
                  <a:gd name="connsiteY30" fmla="*/ 315341 h 1438642"/>
                  <a:gd name="connsiteX31" fmla="*/ 870554 w 1148301"/>
                  <a:gd name="connsiteY31" fmla="*/ 293976 h 1438642"/>
                  <a:gd name="connsiteX32" fmla="*/ 849189 w 1148301"/>
                  <a:gd name="connsiteY32" fmla="*/ 272611 h 1438642"/>
                  <a:gd name="connsiteX33" fmla="*/ 836370 w 1148301"/>
                  <a:gd name="connsiteY33" fmla="*/ 272611 h 1438642"/>
                  <a:gd name="connsiteX34" fmla="*/ 821414 w 1148301"/>
                  <a:gd name="connsiteY34" fmla="*/ 308930 h 1438642"/>
                  <a:gd name="connsiteX35" fmla="*/ 827824 w 1148301"/>
                  <a:gd name="connsiteY35" fmla="*/ 315341 h 1438642"/>
                  <a:gd name="connsiteX36" fmla="*/ 827824 w 1148301"/>
                  <a:gd name="connsiteY36" fmla="*/ 336706 h 1438642"/>
                  <a:gd name="connsiteX37" fmla="*/ 806459 w 1148301"/>
                  <a:gd name="connsiteY37" fmla="*/ 358071 h 1438642"/>
                  <a:gd name="connsiteX38" fmla="*/ 750910 w 1148301"/>
                  <a:gd name="connsiteY38" fmla="*/ 358071 h 1438642"/>
                  <a:gd name="connsiteX39" fmla="*/ 701769 w 1148301"/>
                  <a:gd name="connsiteY39" fmla="*/ 381572 h 1438642"/>
                  <a:gd name="connsiteX40" fmla="*/ 641947 w 1148301"/>
                  <a:gd name="connsiteY40" fmla="*/ 456351 h 1438642"/>
                  <a:gd name="connsiteX41" fmla="*/ 633400 w 1148301"/>
                  <a:gd name="connsiteY41" fmla="*/ 475578 h 1438642"/>
                  <a:gd name="connsiteX42" fmla="*/ 618446 w 1148301"/>
                  <a:gd name="connsiteY42" fmla="*/ 554631 h 1438642"/>
                  <a:gd name="connsiteX43" fmla="*/ 597081 w 1148301"/>
                  <a:gd name="connsiteY43" fmla="*/ 571723 h 1438642"/>
                  <a:gd name="connsiteX44" fmla="*/ 588535 w 1148301"/>
                  <a:gd name="connsiteY44" fmla="*/ 571723 h 1438642"/>
                  <a:gd name="connsiteX45" fmla="*/ 567170 w 1148301"/>
                  <a:gd name="connsiteY45" fmla="*/ 554631 h 1438642"/>
                  <a:gd name="connsiteX46" fmla="*/ 554351 w 1148301"/>
                  <a:gd name="connsiteY46" fmla="*/ 501217 h 1438642"/>
                  <a:gd name="connsiteX47" fmla="*/ 532985 w 1148301"/>
                  <a:gd name="connsiteY47" fmla="*/ 484124 h 1438642"/>
                  <a:gd name="connsiteX48" fmla="*/ 485982 w 1148301"/>
                  <a:gd name="connsiteY48" fmla="*/ 484124 h 1438642"/>
                  <a:gd name="connsiteX49" fmla="*/ 379157 w 1148301"/>
                  <a:gd name="connsiteY49" fmla="*/ 569585 h 1438642"/>
                  <a:gd name="connsiteX50" fmla="*/ 400522 w 1148301"/>
                  <a:gd name="connsiteY50" fmla="*/ 612315 h 1438642"/>
                  <a:gd name="connsiteX51" fmla="*/ 462479 w 1148301"/>
                  <a:gd name="connsiteY51" fmla="*/ 629407 h 1438642"/>
                  <a:gd name="connsiteX52" fmla="*/ 485982 w 1148301"/>
                  <a:gd name="connsiteY52" fmla="*/ 614453 h 1438642"/>
                  <a:gd name="connsiteX53" fmla="*/ 507347 w 1148301"/>
                  <a:gd name="connsiteY53" fmla="*/ 614453 h 1438642"/>
                  <a:gd name="connsiteX54" fmla="*/ 528712 w 1148301"/>
                  <a:gd name="connsiteY54" fmla="*/ 635818 h 1438642"/>
                  <a:gd name="connsiteX55" fmla="*/ 528712 w 1148301"/>
                  <a:gd name="connsiteY55" fmla="*/ 699913 h 1438642"/>
                  <a:gd name="connsiteX56" fmla="*/ 571443 w 1148301"/>
                  <a:gd name="connsiteY56" fmla="*/ 699913 h 1438642"/>
                  <a:gd name="connsiteX57" fmla="*/ 592808 w 1148301"/>
                  <a:gd name="connsiteY57" fmla="*/ 721279 h 1438642"/>
                  <a:gd name="connsiteX58" fmla="*/ 592808 w 1148301"/>
                  <a:gd name="connsiteY58" fmla="*/ 785374 h 1438642"/>
                  <a:gd name="connsiteX59" fmla="*/ 635538 w 1148301"/>
                  <a:gd name="connsiteY59" fmla="*/ 806739 h 1438642"/>
                  <a:gd name="connsiteX60" fmla="*/ 742364 w 1148301"/>
                  <a:gd name="connsiteY60" fmla="*/ 764009 h 1438642"/>
                  <a:gd name="connsiteX61" fmla="*/ 998745 w 1148301"/>
                  <a:gd name="connsiteY61" fmla="*/ 892200 h 1438642"/>
                  <a:gd name="connsiteX62" fmla="*/ 1148301 w 1148301"/>
                  <a:gd name="connsiteY62" fmla="*/ 999025 h 1438642"/>
                  <a:gd name="connsiteX63" fmla="*/ 998745 w 1148301"/>
                  <a:gd name="connsiteY63" fmla="*/ 1148581 h 1438642"/>
                  <a:gd name="connsiteX64" fmla="*/ 956015 w 1148301"/>
                  <a:gd name="connsiteY64" fmla="*/ 1255407 h 1438642"/>
                  <a:gd name="connsiteX65" fmla="*/ 842145 w 1148301"/>
                  <a:gd name="connsiteY65" fmla="*/ 1359662 h 1438642"/>
                  <a:gd name="connsiteX66" fmla="*/ 816769 w 1148301"/>
                  <a:gd name="connsiteY66" fmla="*/ 1381646 h 1438642"/>
                  <a:gd name="connsiteX67" fmla="*/ 809328 w 1148301"/>
                  <a:gd name="connsiteY67" fmla="*/ 1385684 h 1438642"/>
                  <a:gd name="connsiteX68" fmla="*/ 704095 w 1148301"/>
                  <a:gd name="connsiteY68" fmla="*/ 1418351 h 1438642"/>
                  <a:gd name="connsiteX69" fmla="*/ 709614 w 1148301"/>
                  <a:gd name="connsiteY69" fmla="*/ 1372347 h 1438642"/>
                  <a:gd name="connsiteX70" fmla="*/ 723134 w 1148301"/>
                  <a:gd name="connsiteY70" fmla="*/ 1163536 h 1438642"/>
                  <a:gd name="connsiteX71" fmla="*/ 594943 w 1148301"/>
                  <a:gd name="connsiteY71" fmla="*/ 949884 h 1438642"/>
                  <a:gd name="connsiteX72" fmla="*/ 629127 w 1148301"/>
                  <a:gd name="connsiteY72" fmla="*/ 866561 h 1438642"/>
                  <a:gd name="connsiteX73" fmla="*/ 614173 w 1148301"/>
                  <a:gd name="connsiteY73" fmla="*/ 838786 h 1438642"/>
                  <a:gd name="connsiteX74" fmla="*/ 569305 w 1148301"/>
                  <a:gd name="connsiteY74" fmla="*/ 828104 h 1438642"/>
                  <a:gd name="connsiteX75" fmla="*/ 543667 w 1148301"/>
                  <a:gd name="connsiteY75" fmla="*/ 811012 h 1438642"/>
                  <a:gd name="connsiteX76" fmla="*/ 515893 w 1148301"/>
                  <a:gd name="connsiteY76" fmla="*/ 770417 h 1438642"/>
                  <a:gd name="connsiteX77" fmla="*/ 498801 w 1148301"/>
                  <a:gd name="connsiteY77" fmla="*/ 761871 h 1438642"/>
                  <a:gd name="connsiteX78" fmla="*/ 473163 w 1148301"/>
                  <a:gd name="connsiteY78" fmla="*/ 761871 h 1438642"/>
                  <a:gd name="connsiteX79" fmla="*/ 434706 w 1148301"/>
                  <a:gd name="connsiteY79" fmla="*/ 738371 h 1438642"/>
                  <a:gd name="connsiteX80" fmla="*/ 428295 w 1148301"/>
                  <a:gd name="connsiteY80" fmla="*/ 727687 h 1438642"/>
                  <a:gd name="connsiteX81" fmla="*/ 415476 w 1148301"/>
                  <a:gd name="connsiteY81" fmla="*/ 717006 h 1438642"/>
                  <a:gd name="connsiteX82" fmla="*/ 321470 w 1148301"/>
                  <a:gd name="connsiteY82" fmla="*/ 684957 h 1438642"/>
                  <a:gd name="connsiteX83" fmla="*/ 285150 w 1148301"/>
                  <a:gd name="connsiteY83" fmla="*/ 652910 h 1438642"/>
                  <a:gd name="connsiteX84" fmla="*/ 214644 w 1148301"/>
                  <a:gd name="connsiteY84" fmla="*/ 514036 h 1438642"/>
                  <a:gd name="connsiteX85" fmla="*/ 201825 w 1148301"/>
                  <a:gd name="connsiteY85" fmla="*/ 503354 h 1438642"/>
                  <a:gd name="connsiteX86" fmla="*/ 176187 w 1148301"/>
                  <a:gd name="connsiteY86" fmla="*/ 535401 h 1438642"/>
                  <a:gd name="connsiteX87" fmla="*/ 201825 w 1148301"/>
                  <a:gd name="connsiteY87" fmla="*/ 578131 h 1438642"/>
                  <a:gd name="connsiteX88" fmla="*/ 197552 w 1148301"/>
                  <a:gd name="connsiteY88" fmla="*/ 603769 h 1438642"/>
                  <a:gd name="connsiteX89" fmla="*/ 186870 w 1148301"/>
                  <a:gd name="connsiteY89" fmla="*/ 614453 h 1438642"/>
                  <a:gd name="connsiteX90" fmla="*/ 45860 w 1148301"/>
                  <a:gd name="connsiteY90" fmla="*/ 432848 h 1438642"/>
                  <a:gd name="connsiteX91" fmla="*/ 37314 w 1148301"/>
                  <a:gd name="connsiteY91" fmla="*/ 407210 h 1438642"/>
                  <a:gd name="connsiteX92" fmla="*/ 37314 w 1148301"/>
                  <a:gd name="connsiteY92" fmla="*/ 272611 h 1438642"/>
                  <a:gd name="connsiteX93" fmla="*/ 21557 w 1148301"/>
                  <a:gd name="connsiteY93" fmla="*/ 249642 h 1438642"/>
                  <a:gd name="connsiteX94" fmla="*/ 0 w 1148301"/>
                  <a:gd name="connsiteY94" fmla="*/ 233848 h 1438642"/>
                  <a:gd name="connsiteX95" fmla="*/ 18663 w 1148301"/>
                  <a:gd name="connsiteY95" fmla="*/ 211229 h 1438642"/>
                  <a:gd name="connsiteX96" fmla="*/ 528613 w 1148301"/>
                  <a:gd name="connsiteY96" fmla="*/ 0 h 1438642"/>
                  <a:gd name="connsiteX0" fmla="*/ 692128 w 1148301"/>
                  <a:gd name="connsiteY0" fmla="*/ 1422066 h 1438635"/>
                  <a:gd name="connsiteX1" fmla="*/ 673956 w 1148301"/>
                  <a:gd name="connsiteY1" fmla="*/ 1427706 h 1438635"/>
                  <a:gd name="connsiteX2" fmla="*/ 454877 w 1148301"/>
                  <a:gd name="connsiteY2" fmla="*/ 1438635 h 1438635"/>
                  <a:gd name="connsiteX3" fmla="*/ 438619 w 1148301"/>
                  <a:gd name="connsiteY3" fmla="*/ 1436154 h 1438635"/>
                  <a:gd name="connsiteX4" fmla="*/ 618980 w 1148301"/>
                  <a:gd name="connsiteY4" fmla="*/ 1435407 h 1438635"/>
                  <a:gd name="connsiteX5" fmla="*/ 692128 w 1148301"/>
                  <a:gd name="connsiteY5" fmla="*/ 1422066 h 1438635"/>
                  <a:gd name="connsiteX6" fmla="*/ 528613 w 1148301"/>
                  <a:gd name="connsiteY6" fmla="*/ 0 h 1438635"/>
                  <a:gd name="connsiteX7" fmla="*/ 673956 w 1148301"/>
                  <a:gd name="connsiteY7" fmla="*/ 14652 h 1438635"/>
                  <a:gd name="connsiteX8" fmla="*/ 742364 w 1148301"/>
                  <a:gd name="connsiteY8" fmla="*/ 35887 h 1438635"/>
                  <a:gd name="connsiteX9" fmla="*/ 742364 w 1148301"/>
                  <a:gd name="connsiteY9" fmla="*/ 37594 h 1438635"/>
                  <a:gd name="connsiteX10" fmla="*/ 720999 w 1148301"/>
                  <a:gd name="connsiteY10" fmla="*/ 58959 h 1438635"/>
                  <a:gd name="connsiteX11" fmla="*/ 667585 w 1148301"/>
                  <a:gd name="connsiteY11" fmla="*/ 58959 h 1438635"/>
                  <a:gd name="connsiteX12" fmla="*/ 652630 w 1148301"/>
                  <a:gd name="connsiteY12" fmla="*/ 52549 h 1438635"/>
                  <a:gd name="connsiteX13" fmla="*/ 631265 w 1148301"/>
                  <a:gd name="connsiteY13" fmla="*/ 16229 h 1438635"/>
                  <a:gd name="connsiteX14" fmla="*/ 494528 w 1148301"/>
                  <a:gd name="connsiteY14" fmla="*/ 73914 h 1438635"/>
                  <a:gd name="connsiteX15" fmla="*/ 485982 w 1148301"/>
                  <a:gd name="connsiteY15" fmla="*/ 91006 h 1438635"/>
                  <a:gd name="connsiteX16" fmla="*/ 485982 w 1148301"/>
                  <a:gd name="connsiteY16" fmla="*/ 144420 h 1438635"/>
                  <a:gd name="connsiteX17" fmla="*/ 507347 w 1148301"/>
                  <a:gd name="connsiteY17" fmla="*/ 165785 h 1438635"/>
                  <a:gd name="connsiteX18" fmla="*/ 571443 w 1148301"/>
                  <a:gd name="connsiteY18" fmla="*/ 165785 h 1438635"/>
                  <a:gd name="connsiteX19" fmla="*/ 592808 w 1148301"/>
                  <a:gd name="connsiteY19" fmla="*/ 187150 h 1438635"/>
                  <a:gd name="connsiteX20" fmla="*/ 614173 w 1148301"/>
                  <a:gd name="connsiteY20" fmla="*/ 187150 h 1438635"/>
                  <a:gd name="connsiteX21" fmla="*/ 635538 w 1148301"/>
                  <a:gd name="connsiteY21" fmla="*/ 165785 h 1438635"/>
                  <a:gd name="connsiteX22" fmla="*/ 635538 w 1148301"/>
                  <a:gd name="connsiteY22" fmla="*/ 144420 h 1438635"/>
                  <a:gd name="connsiteX23" fmla="*/ 678268 w 1148301"/>
                  <a:gd name="connsiteY23" fmla="*/ 101690 h 1438635"/>
                  <a:gd name="connsiteX24" fmla="*/ 714588 w 1148301"/>
                  <a:gd name="connsiteY24" fmla="*/ 101690 h 1438635"/>
                  <a:gd name="connsiteX25" fmla="*/ 725272 w 1148301"/>
                  <a:gd name="connsiteY25" fmla="*/ 103825 h 1438635"/>
                  <a:gd name="connsiteX26" fmla="*/ 906874 w 1148301"/>
                  <a:gd name="connsiteY26" fmla="*/ 212788 h 1438635"/>
                  <a:gd name="connsiteX27" fmla="*/ 926104 w 1148301"/>
                  <a:gd name="connsiteY27" fmla="*/ 259792 h 1438635"/>
                  <a:gd name="connsiteX28" fmla="*/ 913285 w 1148301"/>
                  <a:gd name="connsiteY28" fmla="*/ 315341 h 1438635"/>
                  <a:gd name="connsiteX29" fmla="*/ 891920 w 1148301"/>
                  <a:gd name="connsiteY29" fmla="*/ 315341 h 1438635"/>
                  <a:gd name="connsiteX30" fmla="*/ 870554 w 1148301"/>
                  <a:gd name="connsiteY30" fmla="*/ 293976 h 1438635"/>
                  <a:gd name="connsiteX31" fmla="*/ 849189 w 1148301"/>
                  <a:gd name="connsiteY31" fmla="*/ 272611 h 1438635"/>
                  <a:gd name="connsiteX32" fmla="*/ 836370 w 1148301"/>
                  <a:gd name="connsiteY32" fmla="*/ 272611 h 1438635"/>
                  <a:gd name="connsiteX33" fmla="*/ 821414 w 1148301"/>
                  <a:gd name="connsiteY33" fmla="*/ 308930 h 1438635"/>
                  <a:gd name="connsiteX34" fmla="*/ 827824 w 1148301"/>
                  <a:gd name="connsiteY34" fmla="*/ 315341 h 1438635"/>
                  <a:gd name="connsiteX35" fmla="*/ 827824 w 1148301"/>
                  <a:gd name="connsiteY35" fmla="*/ 336706 h 1438635"/>
                  <a:gd name="connsiteX36" fmla="*/ 806459 w 1148301"/>
                  <a:gd name="connsiteY36" fmla="*/ 358071 h 1438635"/>
                  <a:gd name="connsiteX37" fmla="*/ 750910 w 1148301"/>
                  <a:gd name="connsiteY37" fmla="*/ 358071 h 1438635"/>
                  <a:gd name="connsiteX38" fmla="*/ 701769 w 1148301"/>
                  <a:gd name="connsiteY38" fmla="*/ 381572 h 1438635"/>
                  <a:gd name="connsiteX39" fmla="*/ 641947 w 1148301"/>
                  <a:gd name="connsiteY39" fmla="*/ 456351 h 1438635"/>
                  <a:gd name="connsiteX40" fmla="*/ 633400 w 1148301"/>
                  <a:gd name="connsiteY40" fmla="*/ 475578 h 1438635"/>
                  <a:gd name="connsiteX41" fmla="*/ 618446 w 1148301"/>
                  <a:gd name="connsiteY41" fmla="*/ 554631 h 1438635"/>
                  <a:gd name="connsiteX42" fmla="*/ 597081 w 1148301"/>
                  <a:gd name="connsiteY42" fmla="*/ 571723 h 1438635"/>
                  <a:gd name="connsiteX43" fmla="*/ 588535 w 1148301"/>
                  <a:gd name="connsiteY43" fmla="*/ 571723 h 1438635"/>
                  <a:gd name="connsiteX44" fmla="*/ 567170 w 1148301"/>
                  <a:gd name="connsiteY44" fmla="*/ 554631 h 1438635"/>
                  <a:gd name="connsiteX45" fmla="*/ 554351 w 1148301"/>
                  <a:gd name="connsiteY45" fmla="*/ 501217 h 1438635"/>
                  <a:gd name="connsiteX46" fmla="*/ 532985 w 1148301"/>
                  <a:gd name="connsiteY46" fmla="*/ 484124 h 1438635"/>
                  <a:gd name="connsiteX47" fmla="*/ 485982 w 1148301"/>
                  <a:gd name="connsiteY47" fmla="*/ 484124 h 1438635"/>
                  <a:gd name="connsiteX48" fmla="*/ 379157 w 1148301"/>
                  <a:gd name="connsiteY48" fmla="*/ 569585 h 1438635"/>
                  <a:gd name="connsiteX49" fmla="*/ 400522 w 1148301"/>
                  <a:gd name="connsiteY49" fmla="*/ 612315 h 1438635"/>
                  <a:gd name="connsiteX50" fmla="*/ 462479 w 1148301"/>
                  <a:gd name="connsiteY50" fmla="*/ 629407 h 1438635"/>
                  <a:gd name="connsiteX51" fmla="*/ 485982 w 1148301"/>
                  <a:gd name="connsiteY51" fmla="*/ 614453 h 1438635"/>
                  <a:gd name="connsiteX52" fmla="*/ 507347 w 1148301"/>
                  <a:gd name="connsiteY52" fmla="*/ 614453 h 1438635"/>
                  <a:gd name="connsiteX53" fmla="*/ 528712 w 1148301"/>
                  <a:gd name="connsiteY53" fmla="*/ 635818 h 1438635"/>
                  <a:gd name="connsiteX54" fmla="*/ 528712 w 1148301"/>
                  <a:gd name="connsiteY54" fmla="*/ 699913 h 1438635"/>
                  <a:gd name="connsiteX55" fmla="*/ 571443 w 1148301"/>
                  <a:gd name="connsiteY55" fmla="*/ 699913 h 1438635"/>
                  <a:gd name="connsiteX56" fmla="*/ 592808 w 1148301"/>
                  <a:gd name="connsiteY56" fmla="*/ 721279 h 1438635"/>
                  <a:gd name="connsiteX57" fmla="*/ 592808 w 1148301"/>
                  <a:gd name="connsiteY57" fmla="*/ 785374 h 1438635"/>
                  <a:gd name="connsiteX58" fmla="*/ 635538 w 1148301"/>
                  <a:gd name="connsiteY58" fmla="*/ 806739 h 1438635"/>
                  <a:gd name="connsiteX59" fmla="*/ 742364 w 1148301"/>
                  <a:gd name="connsiteY59" fmla="*/ 764009 h 1438635"/>
                  <a:gd name="connsiteX60" fmla="*/ 998745 w 1148301"/>
                  <a:gd name="connsiteY60" fmla="*/ 892200 h 1438635"/>
                  <a:gd name="connsiteX61" fmla="*/ 1148301 w 1148301"/>
                  <a:gd name="connsiteY61" fmla="*/ 999025 h 1438635"/>
                  <a:gd name="connsiteX62" fmla="*/ 998745 w 1148301"/>
                  <a:gd name="connsiteY62" fmla="*/ 1148581 h 1438635"/>
                  <a:gd name="connsiteX63" fmla="*/ 956015 w 1148301"/>
                  <a:gd name="connsiteY63" fmla="*/ 1255407 h 1438635"/>
                  <a:gd name="connsiteX64" fmla="*/ 842145 w 1148301"/>
                  <a:gd name="connsiteY64" fmla="*/ 1359662 h 1438635"/>
                  <a:gd name="connsiteX65" fmla="*/ 816769 w 1148301"/>
                  <a:gd name="connsiteY65" fmla="*/ 1381646 h 1438635"/>
                  <a:gd name="connsiteX66" fmla="*/ 809328 w 1148301"/>
                  <a:gd name="connsiteY66" fmla="*/ 1385684 h 1438635"/>
                  <a:gd name="connsiteX67" fmla="*/ 704095 w 1148301"/>
                  <a:gd name="connsiteY67" fmla="*/ 1418351 h 1438635"/>
                  <a:gd name="connsiteX68" fmla="*/ 709614 w 1148301"/>
                  <a:gd name="connsiteY68" fmla="*/ 1372347 h 1438635"/>
                  <a:gd name="connsiteX69" fmla="*/ 723134 w 1148301"/>
                  <a:gd name="connsiteY69" fmla="*/ 1163536 h 1438635"/>
                  <a:gd name="connsiteX70" fmla="*/ 594943 w 1148301"/>
                  <a:gd name="connsiteY70" fmla="*/ 949884 h 1438635"/>
                  <a:gd name="connsiteX71" fmla="*/ 629127 w 1148301"/>
                  <a:gd name="connsiteY71" fmla="*/ 866561 h 1438635"/>
                  <a:gd name="connsiteX72" fmla="*/ 614173 w 1148301"/>
                  <a:gd name="connsiteY72" fmla="*/ 838786 h 1438635"/>
                  <a:gd name="connsiteX73" fmla="*/ 569305 w 1148301"/>
                  <a:gd name="connsiteY73" fmla="*/ 828104 h 1438635"/>
                  <a:gd name="connsiteX74" fmla="*/ 543667 w 1148301"/>
                  <a:gd name="connsiteY74" fmla="*/ 811012 h 1438635"/>
                  <a:gd name="connsiteX75" fmla="*/ 515893 w 1148301"/>
                  <a:gd name="connsiteY75" fmla="*/ 770417 h 1438635"/>
                  <a:gd name="connsiteX76" fmla="*/ 498801 w 1148301"/>
                  <a:gd name="connsiteY76" fmla="*/ 761871 h 1438635"/>
                  <a:gd name="connsiteX77" fmla="*/ 473163 w 1148301"/>
                  <a:gd name="connsiteY77" fmla="*/ 761871 h 1438635"/>
                  <a:gd name="connsiteX78" fmla="*/ 434706 w 1148301"/>
                  <a:gd name="connsiteY78" fmla="*/ 738371 h 1438635"/>
                  <a:gd name="connsiteX79" fmla="*/ 428295 w 1148301"/>
                  <a:gd name="connsiteY79" fmla="*/ 727687 h 1438635"/>
                  <a:gd name="connsiteX80" fmla="*/ 415476 w 1148301"/>
                  <a:gd name="connsiteY80" fmla="*/ 717006 h 1438635"/>
                  <a:gd name="connsiteX81" fmla="*/ 321470 w 1148301"/>
                  <a:gd name="connsiteY81" fmla="*/ 684957 h 1438635"/>
                  <a:gd name="connsiteX82" fmla="*/ 285150 w 1148301"/>
                  <a:gd name="connsiteY82" fmla="*/ 652910 h 1438635"/>
                  <a:gd name="connsiteX83" fmla="*/ 214644 w 1148301"/>
                  <a:gd name="connsiteY83" fmla="*/ 514036 h 1438635"/>
                  <a:gd name="connsiteX84" fmla="*/ 201825 w 1148301"/>
                  <a:gd name="connsiteY84" fmla="*/ 503354 h 1438635"/>
                  <a:gd name="connsiteX85" fmla="*/ 176187 w 1148301"/>
                  <a:gd name="connsiteY85" fmla="*/ 535401 h 1438635"/>
                  <a:gd name="connsiteX86" fmla="*/ 201825 w 1148301"/>
                  <a:gd name="connsiteY86" fmla="*/ 578131 h 1438635"/>
                  <a:gd name="connsiteX87" fmla="*/ 197552 w 1148301"/>
                  <a:gd name="connsiteY87" fmla="*/ 603769 h 1438635"/>
                  <a:gd name="connsiteX88" fmla="*/ 186870 w 1148301"/>
                  <a:gd name="connsiteY88" fmla="*/ 614453 h 1438635"/>
                  <a:gd name="connsiteX89" fmla="*/ 45860 w 1148301"/>
                  <a:gd name="connsiteY89" fmla="*/ 432848 h 1438635"/>
                  <a:gd name="connsiteX90" fmla="*/ 37314 w 1148301"/>
                  <a:gd name="connsiteY90" fmla="*/ 407210 h 1438635"/>
                  <a:gd name="connsiteX91" fmla="*/ 37314 w 1148301"/>
                  <a:gd name="connsiteY91" fmla="*/ 272611 h 1438635"/>
                  <a:gd name="connsiteX92" fmla="*/ 21557 w 1148301"/>
                  <a:gd name="connsiteY92" fmla="*/ 249642 h 1438635"/>
                  <a:gd name="connsiteX93" fmla="*/ 0 w 1148301"/>
                  <a:gd name="connsiteY93" fmla="*/ 233848 h 1438635"/>
                  <a:gd name="connsiteX94" fmla="*/ 18663 w 1148301"/>
                  <a:gd name="connsiteY94" fmla="*/ 211229 h 1438635"/>
                  <a:gd name="connsiteX95" fmla="*/ 528613 w 1148301"/>
                  <a:gd name="connsiteY95" fmla="*/ 0 h 1438635"/>
                  <a:gd name="connsiteX0" fmla="*/ 692128 w 1148301"/>
                  <a:gd name="connsiteY0" fmla="*/ 1422066 h 1438635"/>
                  <a:gd name="connsiteX1" fmla="*/ 673956 w 1148301"/>
                  <a:gd name="connsiteY1" fmla="*/ 1427706 h 1438635"/>
                  <a:gd name="connsiteX2" fmla="*/ 454877 w 1148301"/>
                  <a:gd name="connsiteY2" fmla="*/ 1438635 h 1438635"/>
                  <a:gd name="connsiteX3" fmla="*/ 618980 w 1148301"/>
                  <a:gd name="connsiteY3" fmla="*/ 1435407 h 1438635"/>
                  <a:gd name="connsiteX4" fmla="*/ 692128 w 1148301"/>
                  <a:gd name="connsiteY4" fmla="*/ 1422066 h 1438635"/>
                  <a:gd name="connsiteX5" fmla="*/ 528613 w 1148301"/>
                  <a:gd name="connsiteY5" fmla="*/ 0 h 1438635"/>
                  <a:gd name="connsiteX6" fmla="*/ 673956 w 1148301"/>
                  <a:gd name="connsiteY6" fmla="*/ 14652 h 1438635"/>
                  <a:gd name="connsiteX7" fmla="*/ 742364 w 1148301"/>
                  <a:gd name="connsiteY7" fmla="*/ 35887 h 1438635"/>
                  <a:gd name="connsiteX8" fmla="*/ 742364 w 1148301"/>
                  <a:gd name="connsiteY8" fmla="*/ 37594 h 1438635"/>
                  <a:gd name="connsiteX9" fmla="*/ 720999 w 1148301"/>
                  <a:gd name="connsiteY9" fmla="*/ 58959 h 1438635"/>
                  <a:gd name="connsiteX10" fmla="*/ 667585 w 1148301"/>
                  <a:gd name="connsiteY10" fmla="*/ 58959 h 1438635"/>
                  <a:gd name="connsiteX11" fmla="*/ 652630 w 1148301"/>
                  <a:gd name="connsiteY11" fmla="*/ 52549 h 1438635"/>
                  <a:gd name="connsiteX12" fmla="*/ 631265 w 1148301"/>
                  <a:gd name="connsiteY12" fmla="*/ 16229 h 1438635"/>
                  <a:gd name="connsiteX13" fmla="*/ 494528 w 1148301"/>
                  <a:gd name="connsiteY13" fmla="*/ 73914 h 1438635"/>
                  <a:gd name="connsiteX14" fmla="*/ 485982 w 1148301"/>
                  <a:gd name="connsiteY14" fmla="*/ 91006 h 1438635"/>
                  <a:gd name="connsiteX15" fmla="*/ 485982 w 1148301"/>
                  <a:gd name="connsiteY15" fmla="*/ 144420 h 1438635"/>
                  <a:gd name="connsiteX16" fmla="*/ 507347 w 1148301"/>
                  <a:gd name="connsiteY16" fmla="*/ 165785 h 1438635"/>
                  <a:gd name="connsiteX17" fmla="*/ 571443 w 1148301"/>
                  <a:gd name="connsiteY17" fmla="*/ 165785 h 1438635"/>
                  <a:gd name="connsiteX18" fmla="*/ 592808 w 1148301"/>
                  <a:gd name="connsiteY18" fmla="*/ 187150 h 1438635"/>
                  <a:gd name="connsiteX19" fmla="*/ 614173 w 1148301"/>
                  <a:gd name="connsiteY19" fmla="*/ 187150 h 1438635"/>
                  <a:gd name="connsiteX20" fmla="*/ 635538 w 1148301"/>
                  <a:gd name="connsiteY20" fmla="*/ 165785 h 1438635"/>
                  <a:gd name="connsiteX21" fmla="*/ 635538 w 1148301"/>
                  <a:gd name="connsiteY21" fmla="*/ 144420 h 1438635"/>
                  <a:gd name="connsiteX22" fmla="*/ 678268 w 1148301"/>
                  <a:gd name="connsiteY22" fmla="*/ 101690 h 1438635"/>
                  <a:gd name="connsiteX23" fmla="*/ 714588 w 1148301"/>
                  <a:gd name="connsiteY23" fmla="*/ 101690 h 1438635"/>
                  <a:gd name="connsiteX24" fmla="*/ 725272 w 1148301"/>
                  <a:gd name="connsiteY24" fmla="*/ 103825 h 1438635"/>
                  <a:gd name="connsiteX25" fmla="*/ 906874 w 1148301"/>
                  <a:gd name="connsiteY25" fmla="*/ 212788 h 1438635"/>
                  <a:gd name="connsiteX26" fmla="*/ 926104 w 1148301"/>
                  <a:gd name="connsiteY26" fmla="*/ 259792 h 1438635"/>
                  <a:gd name="connsiteX27" fmla="*/ 913285 w 1148301"/>
                  <a:gd name="connsiteY27" fmla="*/ 315341 h 1438635"/>
                  <a:gd name="connsiteX28" fmla="*/ 891920 w 1148301"/>
                  <a:gd name="connsiteY28" fmla="*/ 315341 h 1438635"/>
                  <a:gd name="connsiteX29" fmla="*/ 870554 w 1148301"/>
                  <a:gd name="connsiteY29" fmla="*/ 293976 h 1438635"/>
                  <a:gd name="connsiteX30" fmla="*/ 849189 w 1148301"/>
                  <a:gd name="connsiteY30" fmla="*/ 272611 h 1438635"/>
                  <a:gd name="connsiteX31" fmla="*/ 836370 w 1148301"/>
                  <a:gd name="connsiteY31" fmla="*/ 272611 h 1438635"/>
                  <a:gd name="connsiteX32" fmla="*/ 821414 w 1148301"/>
                  <a:gd name="connsiteY32" fmla="*/ 308930 h 1438635"/>
                  <a:gd name="connsiteX33" fmla="*/ 827824 w 1148301"/>
                  <a:gd name="connsiteY33" fmla="*/ 315341 h 1438635"/>
                  <a:gd name="connsiteX34" fmla="*/ 827824 w 1148301"/>
                  <a:gd name="connsiteY34" fmla="*/ 336706 h 1438635"/>
                  <a:gd name="connsiteX35" fmla="*/ 806459 w 1148301"/>
                  <a:gd name="connsiteY35" fmla="*/ 358071 h 1438635"/>
                  <a:gd name="connsiteX36" fmla="*/ 750910 w 1148301"/>
                  <a:gd name="connsiteY36" fmla="*/ 358071 h 1438635"/>
                  <a:gd name="connsiteX37" fmla="*/ 701769 w 1148301"/>
                  <a:gd name="connsiteY37" fmla="*/ 381572 h 1438635"/>
                  <a:gd name="connsiteX38" fmla="*/ 641947 w 1148301"/>
                  <a:gd name="connsiteY38" fmla="*/ 456351 h 1438635"/>
                  <a:gd name="connsiteX39" fmla="*/ 633400 w 1148301"/>
                  <a:gd name="connsiteY39" fmla="*/ 475578 h 1438635"/>
                  <a:gd name="connsiteX40" fmla="*/ 618446 w 1148301"/>
                  <a:gd name="connsiteY40" fmla="*/ 554631 h 1438635"/>
                  <a:gd name="connsiteX41" fmla="*/ 597081 w 1148301"/>
                  <a:gd name="connsiteY41" fmla="*/ 571723 h 1438635"/>
                  <a:gd name="connsiteX42" fmla="*/ 588535 w 1148301"/>
                  <a:gd name="connsiteY42" fmla="*/ 571723 h 1438635"/>
                  <a:gd name="connsiteX43" fmla="*/ 567170 w 1148301"/>
                  <a:gd name="connsiteY43" fmla="*/ 554631 h 1438635"/>
                  <a:gd name="connsiteX44" fmla="*/ 554351 w 1148301"/>
                  <a:gd name="connsiteY44" fmla="*/ 501217 h 1438635"/>
                  <a:gd name="connsiteX45" fmla="*/ 532985 w 1148301"/>
                  <a:gd name="connsiteY45" fmla="*/ 484124 h 1438635"/>
                  <a:gd name="connsiteX46" fmla="*/ 485982 w 1148301"/>
                  <a:gd name="connsiteY46" fmla="*/ 484124 h 1438635"/>
                  <a:gd name="connsiteX47" fmla="*/ 379157 w 1148301"/>
                  <a:gd name="connsiteY47" fmla="*/ 569585 h 1438635"/>
                  <a:gd name="connsiteX48" fmla="*/ 400522 w 1148301"/>
                  <a:gd name="connsiteY48" fmla="*/ 612315 h 1438635"/>
                  <a:gd name="connsiteX49" fmla="*/ 462479 w 1148301"/>
                  <a:gd name="connsiteY49" fmla="*/ 629407 h 1438635"/>
                  <a:gd name="connsiteX50" fmla="*/ 485982 w 1148301"/>
                  <a:gd name="connsiteY50" fmla="*/ 614453 h 1438635"/>
                  <a:gd name="connsiteX51" fmla="*/ 507347 w 1148301"/>
                  <a:gd name="connsiteY51" fmla="*/ 614453 h 1438635"/>
                  <a:gd name="connsiteX52" fmla="*/ 528712 w 1148301"/>
                  <a:gd name="connsiteY52" fmla="*/ 635818 h 1438635"/>
                  <a:gd name="connsiteX53" fmla="*/ 528712 w 1148301"/>
                  <a:gd name="connsiteY53" fmla="*/ 699913 h 1438635"/>
                  <a:gd name="connsiteX54" fmla="*/ 571443 w 1148301"/>
                  <a:gd name="connsiteY54" fmla="*/ 699913 h 1438635"/>
                  <a:gd name="connsiteX55" fmla="*/ 592808 w 1148301"/>
                  <a:gd name="connsiteY55" fmla="*/ 721279 h 1438635"/>
                  <a:gd name="connsiteX56" fmla="*/ 592808 w 1148301"/>
                  <a:gd name="connsiteY56" fmla="*/ 785374 h 1438635"/>
                  <a:gd name="connsiteX57" fmla="*/ 635538 w 1148301"/>
                  <a:gd name="connsiteY57" fmla="*/ 806739 h 1438635"/>
                  <a:gd name="connsiteX58" fmla="*/ 742364 w 1148301"/>
                  <a:gd name="connsiteY58" fmla="*/ 764009 h 1438635"/>
                  <a:gd name="connsiteX59" fmla="*/ 998745 w 1148301"/>
                  <a:gd name="connsiteY59" fmla="*/ 892200 h 1438635"/>
                  <a:gd name="connsiteX60" fmla="*/ 1148301 w 1148301"/>
                  <a:gd name="connsiteY60" fmla="*/ 999025 h 1438635"/>
                  <a:gd name="connsiteX61" fmla="*/ 998745 w 1148301"/>
                  <a:gd name="connsiteY61" fmla="*/ 1148581 h 1438635"/>
                  <a:gd name="connsiteX62" fmla="*/ 956015 w 1148301"/>
                  <a:gd name="connsiteY62" fmla="*/ 1255407 h 1438635"/>
                  <a:gd name="connsiteX63" fmla="*/ 842145 w 1148301"/>
                  <a:gd name="connsiteY63" fmla="*/ 1359662 h 1438635"/>
                  <a:gd name="connsiteX64" fmla="*/ 816769 w 1148301"/>
                  <a:gd name="connsiteY64" fmla="*/ 1381646 h 1438635"/>
                  <a:gd name="connsiteX65" fmla="*/ 809328 w 1148301"/>
                  <a:gd name="connsiteY65" fmla="*/ 1385684 h 1438635"/>
                  <a:gd name="connsiteX66" fmla="*/ 704095 w 1148301"/>
                  <a:gd name="connsiteY66" fmla="*/ 1418351 h 1438635"/>
                  <a:gd name="connsiteX67" fmla="*/ 709614 w 1148301"/>
                  <a:gd name="connsiteY67" fmla="*/ 1372347 h 1438635"/>
                  <a:gd name="connsiteX68" fmla="*/ 723134 w 1148301"/>
                  <a:gd name="connsiteY68" fmla="*/ 1163536 h 1438635"/>
                  <a:gd name="connsiteX69" fmla="*/ 594943 w 1148301"/>
                  <a:gd name="connsiteY69" fmla="*/ 949884 h 1438635"/>
                  <a:gd name="connsiteX70" fmla="*/ 629127 w 1148301"/>
                  <a:gd name="connsiteY70" fmla="*/ 866561 h 1438635"/>
                  <a:gd name="connsiteX71" fmla="*/ 614173 w 1148301"/>
                  <a:gd name="connsiteY71" fmla="*/ 838786 h 1438635"/>
                  <a:gd name="connsiteX72" fmla="*/ 569305 w 1148301"/>
                  <a:gd name="connsiteY72" fmla="*/ 828104 h 1438635"/>
                  <a:gd name="connsiteX73" fmla="*/ 543667 w 1148301"/>
                  <a:gd name="connsiteY73" fmla="*/ 811012 h 1438635"/>
                  <a:gd name="connsiteX74" fmla="*/ 515893 w 1148301"/>
                  <a:gd name="connsiteY74" fmla="*/ 770417 h 1438635"/>
                  <a:gd name="connsiteX75" fmla="*/ 498801 w 1148301"/>
                  <a:gd name="connsiteY75" fmla="*/ 761871 h 1438635"/>
                  <a:gd name="connsiteX76" fmla="*/ 473163 w 1148301"/>
                  <a:gd name="connsiteY76" fmla="*/ 761871 h 1438635"/>
                  <a:gd name="connsiteX77" fmla="*/ 434706 w 1148301"/>
                  <a:gd name="connsiteY77" fmla="*/ 738371 h 1438635"/>
                  <a:gd name="connsiteX78" fmla="*/ 428295 w 1148301"/>
                  <a:gd name="connsiteY78" fmla="*/ 727687 h 1438635"/>
                  <a:gd name="connsiteX79" fmla="*/ 415476 w 1148301"/>
                  <a:gd name="connsiteY79" fmla="*/ 717006 h 1438635"/>
                  <a:gd name="connsiteX80" fmla="*/ 321470 w 1148301"/>
                  <a:gd name="connsiteY80" fmla="*/ 684957 h 1438635"/>
                  <a:gd name="connsiteX81" fmla="*/ 285150 w 1148301"/>
                  <a:gd name="connsiteY81" fmla="*/ 652910 h 1438635"/>
                  <a:gd name="connsiteX82" fmla="*/ 214644 w 1148301"/>
                  <a:gd name="connsiteY82" fmla="*/ 514036 h 1438635"/>
                  <a:gd name="connsiteX83" fmla="*/ 201825 w 1148301"/>
                  <a:gd name="connsiteY83" fmla="*/ 503354 h 1438635"/>
                  <a:gd name="connsiteX84" fmla="*/ 176187 w 1148301"/>
                  <a:gd name="connsiteY84" fmla="*/ 535401 h 1438635"/>
                  <a:gd name="connsiteX85" fmla="*/ 201825 w 1148301"/>
                  <a:gd name="connsiteY85" fmla="*/ 578131 h 1438635"/>
                  <a:gd name="connsiteX86" fmla="*/ 197552 w 1148301"/>
                  <a:gd name="connsiteY86" fmla="*/ 603769 h 1438635"/>
                  <a:gd name="connsiteX87" fmla="*/ 186870 w 1148301"/>
                  <a:gd name="connsiteY87" fmla="*/ 614453 h 1438635"/>
                  <a:gd name="connsiteX88" fmla="*/ 45860 w 1148301"/>
                  <a:gd name="connsiteY88" fmla="*/ 432848 h 1438635"/>
                  <a:gd name="connsiteX89" fmla="*/ 37314 w 1148301"/>
                  <a:gd name="connsiteY89" fmla="*/ 407210 h 1438635"/>
                  <a:gd name="connsiteX90" fmla="*/ 37314 w 1148301"/>
                  <a:gd name="connsiteY90" fmla="*/ 272611 h 1438635"/>
                  <a:gd name="connsiteX91" fmla="*/ 21557 w 1148301"/>
                  <a:gd name="connsiteY91" fmla="*/ 249642 h 1438635"/>
                  <a:gd name="connsiteX92" fmla="*/ 0 w 1148301"/>
                  <a:gd name="connsiteY92" fmla="*/ 233848 h 1438635"/>
                  <a:gd name="connsiteX93" fmla="*/ 18663 w 1148301"/>
                  <a:gd name="connsiteY93" fmla="*/ 211229 h 1438635"/>
                  <a:gd name="connsiteX94" fmla="*/ 528613 w 1148301"/>
                  <a:gd name="connsiteY94" fmla="*/ 0 h 1438635"/>
                  <a:gd name="connsiteX0" fmla="*/ 692128 w 1148301"/>
                  <a:gd name="connsiteY0" fmla="*/ 1422066 h 1435500"/>
                  <a:gd name="connsiteX1" fmla="*/ 673956 w 1148301"/>
                  <a:gd name="connsiteY1" fmla="*/ 1427706 h 1435500"/>
                  <a:gd name="connsiteX2" fmla="*/ 618980 w 1148301"/>
                  <a:gd name="connsiteY2" fmla="*/ 1435407 h 1435500"/>
                  <a:gd name="connsiteX3" fmla="*/ 692128 w 1148301"/>
                  <a:gd name="connsiteY3" fmla="*/ 1422066 h 1435500"/>
                  <a:gd name="connsiteX4" fmla="*/ 528613 w 1148301"/>
                  <a:gd name="connsiteY4" fmla="*/ 0 h 1435500"/>
                  <a:gd name="connsiteX5" fmla="*/ 673956 w 1148301"/>
                  <a:gd name="connsiteY5" fmla="*/ 14652 h 1435500"/>
                  <a:gd name="connsiteX6" fmla="*/ 742364 w 1148301"/>
                  <a:gd name="connsiteY6" fmla="*/ 35887 h 1435500"/>
                  <a:gd name="connsiteX7" fmla="*/ 742364 w 1148301"/>
                  <a:gd name="connsiteY7" fmla="*/ 37594 h 1435500"/>
                  <a:gd name="connsiteX8" fmla="*/ 720999 w 1148301"/>
                  <a:gd name="connsiteY8" fmla="*/ 58959 h 1435500"/>
                  <a:gd name="connsiteX9" fmla="*/ 667585 w 1148301"/>
                  <a:gd name="connsiteY9" fmla="*/ 58959 h 1435500"/>
                  <a:gd name="connsiteX10" fmla="*/ 652630 w 1148301"/>
                  <a:gd name="connsiteY10" fmla="*/ 52549 h 1435500"/>
                  <a:gd name="connsiteX11" fmla="*/ 631265 w 1148301"/>
                  <a:gd name="connsiteY11" fmla="*/ 16229 h 1435500"/>
                  <a:gd name="connsiteX12" fmla="*/ 494528 w 1148301"/>
                  <a:gd name="connsiteY12" fmla="*/ 73914 h 1435500"/>
                  <a:gd name="connsiteX13" fmla="*/ 485982 w 1148301"/>
                  <a:gd name="connsiteY13" fmla="*/ 91006 h 1435500"/>
                  <a:gd name="connsiteX14" fmla="*/ 485982 w 1148301"/>
                  <a:gd name="connsiteY14" fmla="*/ 144420 h 1435500"/>
                  <a:gd name="connsiteX15" fmla="*/ 507347 w 1148301"/>
                  <a:gd name="connsiteY15" fmla="*/ 165785 h 1435500"/>
                  <a:gd name="connsiteX16" fmla="*/ 571443 w 1148301"/>
                  <a:gd name="connsiteY16" fmla="*/ 165785 h 1435500"/>
                  <a:gd name="connsiteX17" fmla="*/ 592808 w 1148301"/>
                  <a:gd name="connsiteY17" fmla="*/ 187150 h 1435500"/>
                  <a:gd name="connsiteX18" fmla="*/ 614173 w 1148301"/>
                  <a:gd name="connsiteY18" fmla="*/ 187150 h 1435500"/>
                  <a:gd name="connsiteX19" fmla="*/ 635538 w 1148301"/>
                  <a:gd name="connsiteY19" fmla="*/ 165785 h 1435500"/>
                  <a:gd name="connsiteX20" fmla="*/ 635538 w 1148301"/>
                  <a:gd name="connsiteY20" fmla="*/ 144420 h 1435500"/>
                  <a:gd name="connsiteX21" fmla="*/ 678268 w 1148301"/>
                  <a:gd name="connsiteY21" fmla="*/ 101690 h 1435500"/>
                  <a:gd name="connsiteX22" fmla="*/ 714588 w 1148301"/>
                  <a:gd name="connsiteY22" fmla="*/ 101690 h 1435500"/>
                  <a:gd name="connsiteX23" fmla="*/ 725272 w 1148301"/>
                  <a:gd name="connsiteY23" fmla="*/ 103825 h 1435500"/>
                  <a:gd name="connsiteX24" fmla="*/ 906874 w 1148301"/>
                  <a:gd name="connsiteY24" fmla="*/ 212788 h 1435500"/>
                  <a:gd name="connsiteX25" fmla="*/ 926104 w 1148301"/>
                  <a:gd name="connsiteY25" fmla="*/ 259792 h 1435500"/>
                  <a:gd name="connsiteX26" fmla="*/ 913285 w 1148301"/>
                  <a:gd name="connsiteY26" fmla="*/ 315341 h 1435500"/>
                  <a:gd name="connsiteX27" fmla="*/ 891920 w 1148301"/>
                  <a:gd name="connsiteY27" fmla="*/ 315341 h 1435500"/>
                  <a:gd name="connsiteX28" fmla="*/ 870554 w 1148301"/>
                  <a:gd name="connsiteY28" fmla="*/ 293976 h 1435500"/>
                  <a:gd name="connsiteX29" fmla="*/ 849189 w 1148301"/>
                  <a:gd name="connsiteY29" fmla="*/ 272611 h 1435500"/>
                  <a:gd name="connsiteX30" fmla="*/ 836370 w 1148301"/>
                  <a:gd name="connsiteY30" fmla="*/ 272611 h 1435500"/>
                  <a:gd name="connsiteX31" fmla="*/ 821414 w 1148301"/>
                  <a:gd name="connsiteY31" fmla="*/ 308930 h 1435500"/>
                  <a:gd name="connsiteX32" fmla="*/ 827824 w 1148301"/>
                  <a:gd name="connsiteY32" fmla="*/ 315341 h 1435500"/>
                  <a:gd name="connsiteX33" fmla="*/ 827824 w 1148301"/>
                  <a:gd name="connsiteY33" fmla="*/ 336706 h 1435500"/>
                  <a:gd name="connsiteX34" fmla="*/ 806459 w 1148301"/>
                  <a:gd name="connsiteY34" fmla="*/ 358071 h 1435500"/>
                  <a:gd name="connsiteX35" fmla="*/ 750910 w 1148301"/>
                  <a:gd name="connsiteY35" fmla="*/ 358071 h 1435500"/>
                  <a:gd name="connsiteX36" fmla="*/ 701769 w 1148301"/>
                  <a:gd name="connsiteY36" fmla="*/ 381572 h 1435500"/>
                  <a:gd name="connsiteX37" fmla="*/ 641947 w 1148301"/>
                  <a:gd name="connsiteY37" fmla="*/ 456351 h 1435500"/>
                  <a:gd name="connsiteX38" fmla="*/ 633400 w 1148301"/>
                  <a:gd name="connsiteY38" fmla="*/ 475578 h 1435500"/>
                  <a:gd name="connsiteX39" fmla="*/ 618446 w 1148301"/>
                  <a:gd name="connsiteY39" fmla="*/ 554631 h 1435500"/>
                  <a:gd name="connsiteX40" fmla="*/ 597081 w 1148301"/>
                  <a:gd name="connsiteY40" fmla="*/ 571723 h 1435500"/>
                  <a:gd name="connsiteX41" fmla="*/ 588535 w 1148301"/>
                  <a:gd name="connsiteY41" fmla="*/ 571723 h 1435500"/>
                  <a:gd name="connsiteX42" fmla="*/ 567170 w 1148301"/>
                  <a:gd name="connsiteY42" fmla="*/ 554631 h 1435500"/>
                  <a:gd name="connsiteX43" fmla="*/ 554351 w 1148301"/>
                  <a:gd name="connsiteY43" fmla="*/ 501217 h 1435500"/>
                  <a:gd name="connsiteX44" fmla="*/ 532985 w 1148301"/>
                  <a:gd name="connsiteY44" fmla="*/ 484124 h 1435500"/>
                  <a:gd name="connsiteX45" fmla="*/ 485982 w 1148301"/>
                  <a:gd name="connsiteY45" fmla="*/ 484124 h 1435500"/>
                  <a:gd name="connsiteX46" fmla="*/ 379157 w 1148301"/>
                  <a:gd name="connsiteY46" fmla="*/ 569585 h 1435500"/>
                  <a:gd name="connsiteX47" fmla="*/ 400522 w 1148301"/>
                  <a:gd name="connsiteY47" fmla="*/ 612315 h 1435500"/>
                  <a:gd name="connsiteX48" fmla="*/ 462479 w 1148301"/>
                  <a:gd name="connsiteY48" fmla="*/ 629407 h 1435500"/>
                  <a:gd name="connsiteX49" fmla="*/ 485982 w 1148301"/>
                  <a:gd name="connsiteY49" fmla="*/ 614453 h 1435500"/>
                  <a:gd name="connsiteX50" fmla="*/ 507347 w 1148301"/>
                  <a:gd name="connsiteY50" fmla="*/ 614453 h 1435500"/>
                  <a:gd name="connsiteX51" fmla="*/ 528712 w 1148301"/>
                  <a:gd name="connsiteY51" fmla="*/ 635818 h 1435500"/>
                  <a:gd name="connsiteX52" fmla="*/ 528712 w 1148301"/>
                  <a:gd name="connsiteY52" fmla="*/ 699913 h 1435500"/>
                  <a:gd name="connsiteX53" fmla="*/ 571443 w 1148301"/>
                  <a:gd name="connsiteY53" fmla="*/ 699913 h 1435500"/>
                  <a:gd name="connsiteX54" fmla="*/ 592808 w 1148301"/>
                  <a:gd name="connsiteY54" fmla="*/ 721279 h 1435500"/>
                  <a:gd name="connsiteX55" fmla="*/ 592808 w 1148301"/>
                  <a:gd name="connsiteY55" fmla="*/ 785374 h 1435500"/>
                  <a:gd name="connsiteX56" fmla="*/ 635538 w 1148301"/>
                  <a:gd name="connsiteY56" fmla="*/ 806739 h 1435500"/>
                  <a:gd name="connsiteX57" fmla="*/ 742364 w 1148301"/>
                  <a:gd name="connsiteY57" fmla="*/ 764009 h 1435500"/>
                  <a:gd name="connsiteX58" fmla="*/ 998745 w 1148301"/>
                  <a:gd name="connsiteY58" fmla="*/ 892200 h 1435500"/>
                  <a:gd name="connsiteX59" fmla="*/ 1148301 w 1148301"/>
                  <a:gd name="connsiteY59" fmla="*/ 999025 h 1435500"/>
                  <a:gd name="connsiteX60" fmla="*/ 998745 w 1148301"/>
                  <a:gd name="connsiteY60" fmla="*/ 1148581 h 1435500"/>
                  <a:gd name="connsiteX61" fmla="*/ 956015 w 1148301"/>
                  <a:gd name="connsiteY61" fmla="*/ 1255407 h 1435500"/>
                  <a:gd name="connsiteX62" fmla="*/ 842145 w 1148301"/>
                  <a:gd name="connsiteY62" fmla="*/ 1359662 h 1435500"/>
                  <a:gd name="connsiteX63" fmla="*/ 816769 w 1148301"/>
                  <a:gd name="connsiteY63" fmla="*/ 1381646 h 1435500"/>
                  <a:gd name="connsiteX64" fmla="*/ 809328 w 1148301"/>
                  <a:gd name="connsiteY64" fmla="*/ 1385684 h 1435500"/>
                  <a:gd name="connsiteX65" fmla="*/ 704095 w 1148301"/>
                  <a:gd name="connsiteY65" fmla="*/ 1418351 h 1435500"/>
                  <a:gd name="connsiteX66" fmla="*/ 709614 w 1148301"/>
                  <a:gd name="connsiteY66" fmla="*/ 1372347 h 1435500"/>
                  <a:gd name="connsiteX67" fmla="*/ 723134 w 1148301"/>
                  <a:gd name="connsiteY67" fmla="*/ 1163536 h 1435500"/>
                  <a:gd name="connsiteX68" fmla="*/ 594943 w 1148301"/>
                  <a:gd name="connsiteY68" fmla="*/ 949884 h 1435500"/>
                  <a:gd name="connsiteX69" fmla="*/ 629127 w 1148301"/>
                  <a:gd name="connsiteY69" fmla="*/ 866561 h 1435500"/>
                  <a:gd name="connsiteX70" fmla="*/ 614173 w 1148301"/>
                  <a:gd name="connsiteY70" fmla="*/ 838786 h 1435500"/>
                  <a:gd name="connsiteX71" fmla="*/ 569305 w 1148301"/>
                  <a:gd name="connsiteY71" fmla="*/ 828104 h 1435500"/>
                  <a:gd name="connsiteX72" fmla="*/ 543667 w 1148301"/>
                  <a:gd name="connsiteY72" fmla="*/ 811012 h 1435500"/>
                  <a:gd name="connsiteX73" fmla="*/ 515893 w 1148301"/>
                  <a:gd name="connsiteY73" fmla="*/ 770417 h 1435500"/>
                  <a:gd name="connsiteX74" fmla="*/ 498801 w 1148301"/>
                  <a:gd name="connsiteY74" fmla="*/ 761871 h 1435500"/>
                  <a:gd name="connsiteX75" fmla="*/ 473163 w 1148301"/>
                  <a:gd name="connsiteY75" fmla="*/ 761871 h 1435500"/>
                  <a:gd name="connsiteX76" fmla="*/ 434706 w 1148301"/>
                  <a:gd name="connsiteY76" fmla="*/ 738371 h 1435500"/>
                  <a:gd name="connsiteX77" fmla="*/ 428295 w 1148301"/>
                  <a:gd name="connsiteY77" fmla="*/ 727687 h 1435500"/>
                  <a:gd name="connsiteX78" fmla="*/ 415476 w 1148301"/>
                  <a:gd name="connsiteY78" fmla="*/ 717006 h 1435500"/>
                  <a:gd name="connsiteX79" fmla="*/ 321470 w 1148301"/>
                  <a:gd name="connsiteY79" fmla="*/ 684957 h 1435500"/>
                  <a:gd name="connsiteX80" fmla="*/ 285150 w 1148301"/>
                  <a:gd name="connsiteY80" fmla="*/ 652910 h 1435500"/>
                  <a:gd name="connsiteX81" fmla="*/ 214644 w 1148301"/>
                  <a:gd name="connsiteY81" fmla="*/ 514036 h 1435500"/>
                  <a:gd name="connsiteX82" fmla="*/ 201825 w 1148301"/>
                  <a:gd name="connsiteY82" fmla="*/ 503354 h 1435500"/>
                  <a:gd name="connsiteX83" fmla="*/ 176187 w 1148301"/>
                  <a:gd name="connsiteY83" fmla="*/ 535401 h 1435500"/>
                  <a:gd name="connsiteX84" fmla="*/ 201825 w 1148301"/>
                  <a:gd name="connsiteY84" fmla="*/ 578131 h 1435500"/>
                  <a:gd name="connsiteX85" fmla="*/ 197552 w 1148301"/>
                  <a:gd name="connsiteY85" fmla="*/ 603769 h 1435500"/>
                  <a:gd name="connsiteX86" fmla="*/ 186870 w 1148301"/>
                  <a:gd name="connsiteY86" fmla="*/ 614453 h 1435500"/>
                  <a:gd name="connsiteX87" fmla="*/ 45860 w 1148301"/>
                  <a:gd name="connsiteY87" fmla="*/ 432848 h 1435500"/>
                  <a:gd name="connsiteX88" fmla="*/ 37314 w 1148301"/>
                  <a:gd name="connsiteY88" fmla="*/ 407210 h 1435500"/>
                  <a:gd name="connsiteX89" fmla="*/ 37314 w 1148301"/>
                  <a:gd name="connsiteY89" fmla="*/ 272611 h 1435500"/>
                  <a:gd name="connsiteX90" fmla="*/ 21557 w 1148301"/>
                  <a:gd name="connsiteY90" fmla="*/ 249642 h 1435500"/>
                  <a:gd name="connsiteX91" fmla="*/ 0 w 1148301"/>
                  <a:gd name="connsiteY91" fmla="*/ 233848 h 1435500"/>
                  <a:gd name="connsiteX92" fmla="*/ 18663 w 1148301"/>
                  <a:gd name="connsiteY92" fmla="*/ 211229 h 1435500"/>
                  <a:gd name="connsiteX93" fmla="*/ 528613 w 1148301"/>
                  <a:gd name="connsiteY93" fmla="*/ 0 h 1435500"/>
                  <a:gd name="connsiteX0" fmla="*/ 692128 w 1148301"/>
                  <a:gd name="connsiteY0" fmla="*/ 1422066 h 1427706"/>
                  <a:gd name="connsiteX1" fmla="*/ 673956 w 1148301"/>
                  <a:gd name="connsiteY1" fmla="*/ 1427706 h 1427706"/>
                  <a:gd name="connsiteX2" fmla="*/ 692128 w 1148301"/>
                  <a:gd name="connsiteY2" fmla="*/ 1422066 h 1427706"/>
                  <a:gd name="connsiteX3" fmla="*/ 528613 w 1148301"/>
                  <a:gd name="connsiteY3" fmla="*/ 0 h 1427706"/>
                  <a:gd name="connsiteX4" fmla="*/ 673956 w 1148301"/>
                  <a:gd name="connsiteY4" fmla="*/ 14652 h 1427706"/>
                  <a:gd name="connsiteX5" fmla="*/ 742364 w 1148301"/>
                  <a:gd name="connsiteY5" fmla="*/ 35887 h 1427706"/>
                  <a:gd name="connsiteX6" fmla="*/ 742364 w 1148301"/>
                  <a:gd name="connsiteY6" fmla="*/ 37594 h 1427706"/>
                  <a:gd name="connsiteX7" fmla="*/ 720999 w 1148301"/>
                  <a:gd name="connsiteY7" fmla="*/ 58959 h 1427706"/>
                  <a:gd name="connsiteX8" fmla="*/ 667585 w 1148301"/>
                  <a:gd name="connsiteY8" fmla="*/ 58959 h 1427706"/>
                  <a:gd name="connsiteX9" fmla="*/ 652630 w 1148301"/>
                  <a:gd name="connsiteY9" fmla="*/ 52549 h 1427706"/>
                  <a:gd name="connsiteX10" fmla="*/ 631265 w 1148301"/>
                  <a:gd name="connsiteY10" fmla="*/ 16229 h 1427706"/>
                  <a:gd name="connsiteX11" fmla="*/ 494528 w 1148301"/>
                  <a:gd name="connsiteY11" fmla="*/ 73914 h 1427706"/>
                  <a:gd name="connsiteX12" fmla="*/ 485982 w 1148301"/>
                  <a:gd name="connsiteY12" fmla="*/ 91006 h 1427706"/>
                  <a:gd name="connsiteX13" fmla="*/ 485982 w 1148301"/>
                  <a:gd name="connsiteY13" fmla="*/ 144420 h 1427706"/>
                  <a:gd name="connsiteX14" fmla="*/ 507347 w 1148301"/>
                  <a:gd name="connsiteY14" fmla="*/ 165785 h 1427706"/>
                  <a:gd name="connsiteX15" fmla="*/ 571443 w 1148301"/>
                  <a:gd name="connsiteY15" fmla="*/ 165785 h 1427706"/>
                  <a:gd name="connsiteX16" fmla="*/ 592808 w 1148301"/>
                  <a:gd name="connsiteY16" fmla="*/ 187150 h 1427706"/>
                  <a:gd name="connsiteX17" fmla="*/ 614173 w 1148301"/>
                  <a:gd name="connsiteY17" fmla="*/ 187150 h 1427706"/>
                  <a:gd name="connsiteX18" fmla="*/ 635538 w 1148301"/>
                  <a:gd name="connsiteY18" fmla="*/ 165785 h 1427706"/>
                  <a:gd name="connsiteX19" fmla="*/ 635538 w 1148301"/>
                  <a:gd name="connsiteY19" fmla="*/ 144420 h 1427706"/>
                  <a:gd name="connsiteX20" fmla="*/ 678268 w 1148301"/>
                  <a:gd name="connsiteY20" fmla="*/ 101690 h 1427706"/>
                  <a:gd name="connsiteX21" fmla="*/ 714588 w 1148301"/>
                  <a:gd name="connsiteY21" fmla="*/ 101690 h 1427706"/>
                  <a:gd name="connsiteX22" fmla="*/ 725272 w 1148301"/>
                  <a:gd name="connsiteY22" fmla="*/ 103825 h 1427706"/>
                  <a:gd name="connsiteX23" fmla="*/ 906874 w 1148301"/>
                  <a:gd name="connsiteY23" fmla="*/ 212788 h 1427706"/>
                  <a:gd name="connsiteX24" fmla="*/ 926104 w 1148301"/>
                  <a:gd name="connsiteY24" fmla="*/ 259792 h 1427706"/>
                  <a:gd name="connsiteX25" fmla="*/ 913285 w 1148301"/>
                  <a:gd name="connsiteY25" fmla="*/ 315341 h 1427706"/>
                  <a:gd name="connsiteX26" fmla="*/ 891920 w 1148301"/>
                  <a:gd name="connsiteY26" fmla="*/ 315341 h 1427706"/>
                  <a:gd name="connsiteX27" fmla="*/ 870554 w 1148301"/>
                  <a:gd name="connsiteY27" fmla="*/ 293976 h 1427706"/>
                  <a:gd name="connsiteX28" fmla="*/ 849189 w 1148301"/>
                  <a:gd name="connsiteY28" fmla="*/ 272611 h 1427706"/>
                  <a:gd name="connsiteX29" fmla="*/ 836370 w 1148301"/>
                  <a:gd name="connsiteY29" fmla="*/ 272611 h 1427706"/>
                  <a:gd name="connsiteX30" fmla="*/ 821414 w 1148301"/>
                  <a:gd name="connsiteY30" fmla="*/ 308930 h 1427706"/>
                  <a:gd name="connsiteX31" fmla="*/ 827824 w 1148301"/>
                  <a:gd name="connsiteY31" fmla="*/ 315341 h 1427706"/>
                  <a:gd name="connsiteX32" fmla="*/ 827824 w 1148301"/>
                  <a:gd name="connsiteY32" fmla="*/ 336706 h 1427706"/>
                  <a:gd name="connsiteX33" fmla="*/ 806459 w 1148301"/>
                  <a:gd name="connsiteY33" fmla="*/ 358071 h 1427706"/>
                  <a:gd name="connsiteX34" fmla="*/ 750910 w 1148301"/>
                  <a:gd name="connsiteY34" fmla="*/ 358071 h 1427706"/>
                  <a:gd name="connsiteX35" fmla="*/ 701769 w 1148301"/>
                  <a:gd name="connsiteY35" fmla="*/ 381572 h 1427706"/>
                  <a:gd name="connsiteX36" fmla="*/ 641947 w 1148301"/>
                  <a:gd name="connsiteY36" fmla="*/ 456351 h 1427706"/>
                  <a:gd name="connsiteX37" fmla="*/ 633400 w 1148301"/>
                  <a:gd name="connsiteY37" fmla="*/ 475578 h 1427706"/>
                  <a:gd name="connsiteX38" fmla="*/ 618446 w 1148301"/>
                  <a:gd name="connsiteY38" fmla="*/ 554631 h 1427706"/>
                  <a:gd name="connsiteX39" fmla="*/ 597081 w 1148301"/>
                  <a:gd name="connsiteY39" fmla="*/ 571723 h 1427706"/>
                  <a:gd name="connsiteX40" fmla="*/ 588535 w 1148301"/>
                  <a:gd name="connsiteY40" fmla="*/ 571723 h 1427706"/>
                  <a:gd name="connsiteX41" fmla="*/ 567170 w 1148301"/>
                  <a:gd name="connsiteY41" fmla="*/ 554631 h 1427706"/>
                  <a:gd name="connsiteX42" fmla="*/ 554351 w 1148301"/>
                  <a:gd name="connsiteY42" fmla="*/ 501217 h 1427706"/>
                  <a:gd name="connsiteX43" fmla="*/ 532985 w 1148301"/>
                  <a:gd name="connsiteY43" fmla="*/ 484124 h 1427706"/>
                  <a:gd name="connsiteX44" fmla="*/ 485982 w 1148301"/>
                  <a:gd name="connsiteY44" fmla="*/ 484124 h 1427706"/>
                  <a:gd name="connsiteX45" fmla="*/ 379157 w 1148301"/>
                  <a:gd name="connsiteY45" fmla="*/ 569585 h 1427706"/>
                  <a:gd name="connsiteX46" fmla="*/ 400522 w 1148301"/>
                  <a:gd name="connsiteY46" fmla="*/ 612315 h 1427706"/>
                  <a:gd name="connsiteX47" fmla="*/ 462479 w 1148301"/>
                  <a:gd name="connsiteY47" fmla="*/ 629407 h 1427706"/>
                  <a:gd name="connsiteX48" fmla="*/ 485982 w 1148301"/>
                  <a:gd name="connsiteY48" fmla="*/ 614453 h 1427706"/>
                  <a:gd name="connsiteX49" fmla="*/ 507347 w 1148301"/>
                  <a:gd name="connsiteY49" fmla="*/ 614453 h 1427706"/>
                  <a:gd name="connsiteX50" fmla="*/ 528712 w 1148301"/>
                  <a:gd name="connsiteY50" fmla="*/ 635818 h 1427706"/>
                  <a:gd name="connsiteX51" fmla="*/ 528712 w 1148301"/>
                  <a:gd name="connsiteY51" fmla="*/ 699913 h 1427706"/>
                  <a:gd name="connsiteX52" fmla="*/ 571443 w 1148301"/>
                  <a:gd name="connsiteY52" fmla="*/ 699913 h 1427706"/>
                  <a:gd name="connsiteX53" fmla="*/ 592808 w 1148301"/>
                  <a:gd name="connsiteY53" fmla="*/ 721279 h 1427706"/>
                  <a:gd name="connsiteX54" fmla="*/ 592808 w 1148301"/>
                  <a:gd name="connsiteY54" fmla="*/ 785374 h 1427706"/>
                  <a:gd name="connsiteX55" fmla="*/ 635538 w 1148301"/>
                  <a:gd name="connsiteY55" fmla="*/ 806739 h 1427706"/>
                  <a:gd name="connsiteX56" fmla="*/ 742364 w 1148301"/>
                  <a:gd name="connsiteY56" fmla="*/ 764009 h 1427706"/>
                  <a:gd name="connsiteX57" fmla="*/ 998745 w 1148301"/>
                  <a:gd name="connsiteY57" fmla="*/ 892200 h 1427706"/>
                  <a:gd name="connsiteX58" fmla="*/ 1148301 w 1148301"/>
                  <a:gd name="connsiteY58" fmla="*/ 999025 h 1427706"/>
                  <a:gd name="connsiteX59" fmla="*/ 998745 w 1148301"/>
                  <a:gd name="connsiteY59" fmla="*/ 1148581 h 1427706"/>
                  <a:gd name="connsiteX60" fmla="*/ 956015 w 1148301"/>
                  <a:gd name="connsiteY60" fmla="*/ 1255407 h 1427706"/>
                  <a:gd name="connsiteX61" fmla="*/ 842145 w 1148301"/>
                  <a:gd name="connsiteY61" fmla="*/ 1359662 h 1427706"/>
                  <a:gd name="connsiteX62" fmla="*/ 816769 w 1148301"/>
                  <a:gd name="connsiteY62" fmla="*/ 1381646 h 1427706"/>
                  <a:gd name="connsiteX63" fmla="*/ 809328 w 1148301"/>
                  <a:gd name="connsiteY63" fmla="*/ 1385684 h 1427706"/>
                  <a:gd name="connsiteX64" fmla="*/ 704095 w 1148301"/>
                  <a:gd name="connsiteY64" fmla="*/ 1418351 h 1427706"/>
                  <a:gd name="connsiteX65" fmla="*/ 709614 w 1148301"/>
                  <a:gd name="connsiteY65" fmla="*/ 1372347 h 1427706"/>
                  <a:gd name="connsiteX66" fmla="*/ 723134 w 1148301"/>
                  <a:gd name="connsiteY66" fmla="*/ 1163536 h 1427706"/>
                  <a:gd name="connsiteX67" fmla="*/ 594943 w 1148301"/>
                  <a:gd name="connsiteY67" fmla="*/ 949884 h 1427706"/>
                  <a:gd name="connsiteX68" fmla="*/ 629127 w 1148301"/>
                  <a:gd name="connsiteY68" fmla="*/ 866561 h 1427706"/>
                  <a:gd name="connsiteX69" fmla="*/ 614173 w 1148301"/>
                  <a:gd name="connsiteY69" fmla="*/ 838786 h 1427706"/>
                  <a:gd name="connsiteX70" fmla="*/ 569305 w 1148301"/>
                  <a:gd name="connsiteY70" fmla="*/ 828104 h 1427706"/>
                  <a:gd name="connsiteX71" fmla="*/ 543667 w 1148301"/>
                  <a:gd name="connsiteY71" fmla="*/ 811012 h 1427706"/>
                  <a:gd name="connsiteX72" fmla="*/ 515893 w 1148301"/>
                  <a:gd name="connsiteY72" fmla="*/ 770417 h 1427706"/>
                  <a:gd name="connsiteX73" fmla="*/ 498801 w 1148301"/>
                  <a:gd name="connsiteY73" fmla="*/ 761871 h 1427706"/>
                  <a:gd name="connsiteX74" fmla="*/ 473163 w 1148301"/>
                  <a:gd name="connsiteY74" fmla="*/ 761871 h 1427706"/>
                  <a:gd name="connsiteX75" fmla="*/ 434706 w 1148301"/>
                  <a:gd name="connsiteY75" fmla="*/ 738371 h 1427706"/>
                  <a:gd name="connsiteX76" fmla="*/ 428295 w 1148301"/>
                  <a:gd name="connsiteY76" fmla="*/ 727687 h 1427706"/>
                  <a:gd name="connsiteX77" fmla="*/ 415476 w 1148301"/>
                  <a:gd name="connsiteY77" fmla="*/ 717006 h 1427706"/>
                  <a:gd name="connsiteX78" fmla="*/ 321470 w 1148301"/>
                  <a:gd name="connsiteY78" fmla="*/ 684957 h 1427706"/>
                  <a:gd name="connsiteX79" fmla="*/ 285150 w 1148301"/>
                  <a:gd name="connsiteY79" fmla="*/ 652910 h 1427706"/>
                  <a:gd name="connsiteX80" fmla="*/ 214644 w 1148301"/>
                  <a:gd name="connsiteY80" fmla="*/ 514036 h 1427706"/>
                  <a:gd name="connsiteX81" fmla="*/ 201825 w 1148301"/>
                  <a:gd name="connsiteY81" fmla="*/ 503354 h 1427706"/>
                  <a:gd name="connsiteX82" fmla="*/ 176187 w 1148301"/>
                  <a:gd name="connsiteY82" fmla="*/ 535401 h 1427706"/>
                  <a:gd name="connsiteX83" fmla="*/ 201825 w 1148301"/>
                  <a:gd name="connsiteY83" fmla="*/ 578131 h 1427706"/>
                  <a:gd name="connsiteX84" fmla="*/ 197552 w 1148301"/>
                  <a:gd name="connsiteY84" fmla="*/ 603769 h 1427706"/>
                  <a:gd name="connsiteX85" fmla="*/ 186870 w 1148301"/>
                  <a:gd name="connsiteY85" fmla="*/ 614453 h 1427706"/>
                  <a:gd name="connsiteX86" fmla="*/ 45860 w 1148301"/>
                  <a:gd name="connsiteY86" fmla="*/ 432848 h 1427706"/>
                  <a:gd name="connsiteX87" fmla="*/ 37314 w 1148301"/>
                  <a:gd name="connsiteY87" fmla="*/ 407210 h 1427706"/>
                  <a:gd name="connsiteX88" fmla="*/ 37314 w 1148301"/>
                  <a:gd name="connsiteY88" fmla="*/ 272611 h 1427706"/>
                  <a:gd name="connsiteX89" fmla="*/ 21557 w 1148301"/>
                  <a:gd name="connsiteY89" fmla="*/ 249642 h 1427706"/>
                  <a:gd name="connsiteX90" fmla="*/ 0 w 1148301"/>
                  <a:gd name="connsiteY90" fmla="*/ 233848 h 1427706"/>
                  <a:gd name="connsiteX91" fmla="*/ 18663 w 1148301"/>
                  <a:gd name="connsiteY91" fmla="*/ 211229 h 1427706"/>
                  <a:gd name="connsiteX92" fmla="*/ 528613 w 1148301"/>
                  <a:gd name="connsiteY92" fmla="*/ 0 h 1427706"/>
                  <a:gd name="connsiteX0" fmla="*/ 528613 w 1148301"/>
                  <a:gd name="connsiteY0" fmla="*/ 0 h 1418351"/>
                  <a:gd name="connsiteX1" fmla="*/ 673956 w 1148301"/>
                  <a:gd name="connsiteY1" fmla="*/ 14652 h 1418351"/>
                  <a:gd name="connsiteX2" fmla="*/ 742364 w 1148301"/>
                  <a:gd name="connsiteY2" fmla="*/ 35887 h 1418351"/>
                  <a:gd name="connsiteX3" fmla="*/ 742364 w 1148301"/>
                  <a:gd name="connsiteY3" fmla="*/ 37594 h 1418351"/>
                  <a:gd name="connsiteX4" fmla="*/ 720999 w 1148301"/>
                  <a:gd name="connsiteY4" fmla="*/ 58959 h 1418351"/>
                  <a:gd name="connsiteX5" fmla="*/ 667585 w 1148301"/>
                  <a:gd name="connsiteY5" fmla="*/ 58959 h 1418351"/>
                  <a:gd name="connsiteX6" fmla="*/ 652630 w 1148301"/>
                  <a:gd name="connsiteY6" fmla="*/ 52549 h 1418351"/>
                  <a:gd name="connsiteX7" fmla="*/ 631265 w 1148301"/>
                  <a:gd name="connsiteY7" fmla="*/ 16229 h 1418351"/>
                  <a:gd name="connsiteX8" fmla="*/ 494528 w 1148301"/>
                  <a:gd name="connsiteY8" fmla="*/ 73914 h 1418351"/>
                  <a:gd name="connsiteX9" fmla="*/ 485982 w 1148301"/>
                  <a:gd name="connsiteY9" fmla="*/ 91006 h 1418351"/>
                  <a:gd name="connsiteX10" fmla="*/ 485982 w 1148301"/>
                  <a:gd name="connsiteY10" fmla="*/ 144420 h 1418351"/>
                  <a:gd name="connsiteX11" fmla="*/ 507347 w 1148301"/>
                  <a:gd name="connsiteY11" fmla="*/ 165785 h 1418351"/>
                  <a:gd name="connsiteX12" fmla="*/ 571443 w 1148301"/>
                  <a:gd name="connsiteY12" fmla="*/ 165785 h 1418351"/>
                  <a:gd name="connsiteX13" fmla="*/ 592808 w 1148301"/>
                  <a:gd name="connsiteY13" fmla="*/ 187150 h 1418351"/>
                  <a:gd name="connsiteX14" fmla="*/ 614173 w 1148301"/>
                  <a:gd name="connsiteY14" fmla="*/ 187150 h 1418351"/>
                  <a:gd name="connsiteX15" fmla="*/ 635538 w 1148301"/>
                  <a:gd name="connsiteY15" fmla="*/ 165785 h 1418351"/>
                  <a:gd name="connsiteX16" fmla="*/ 635538 w 1148301"/>
                  <a:gd name="connsiteY16" fmla="*/ 144420 h 1418351"/>
                  <a:gd name="connsiteX17" fmla="*/ 678268 w 1148301"/>
                  <a:gd name="connsiteY17" fmla="*/ 101690 h 1418351"/>
                  <a:gd name="connsiteX18" fmla="*/ 714588 w 1148301"/>
                  <a:gd name="connsiteY18" fmla="*/ 101690 h 1418351"/>
                  <a:gd name="connsiteX19" fmla="*/ 725272 w 1148301"/>
                  <a:gd name="connsiteY19" fmla="*/ 103825 h 1418351"/>
                  <a:gd name="connsiteX20" fmla="*/ 906874 w 1148301"/>
                  <a:gd name="connsiteY20" fmla="*/ 212788 h 1418351"/>
                  <a:gd name="connsiteX21" fmla="*/ 926104 w 1148301"/>
                  <a:gd name="connsiteY21" fmla="*/ 259792 h 1418351"/>
                  <a:gd name="connsiteX22" fmla="*/ 913285 w 1148301"/>
                  <a:gd name="connsiteY22" fmla="*/ 315341 h 1418351"/>
                  <a:gd name="connsiteX23" fmla="*/ 891920 w 1148301"/>
                  <a:gd name="connsiteY23" fmla="*/ 315341 h 1418351"/>
                  <a:gd name="connsiteX24" fmla="*/ 870554 w 1148301"/>
                  <a:gd name="connsiteY24" fmla="*/ 293976 h 1418351"/>
                  <a:gd name="connsiteX25" fmla="*/ 849189 w 1148301"/>
                  <a:gd name="connsiteY25" fmla="*/ 272611 h 1418351"/>
                  <a:gd name="connsiteX26" fmla="*/ 836370 w 1148301"/>
                  <a:gd name="connsiteY26" fmla="*/ 272611 h 1418351"/>
                  <a:gd name="connsiteX27" fmla="*/ 821414 w 1148301"/>
                  <a:gd name="connsiteY27" fmla="*/ 308930 h 1418351"/>
                  <a:gd name="connsiteX28" fmla="*/ 827824 w 1148301"/>
                  <a:gd name="connsiteY28" fmla="*/ 315341 h 1418351"/>
                  <a:gd name="connsiteX29" fmla="*/ 827824 w 1148301"/>
                  <a:gd name="connsiteY29" fmla="*/ 336706 h 1418351"/>
                  <a:gd name="connsiteX30" fmla="*/ 806459 w 1148301"/>
                  <a:gd name="connsiteY30" fmla="*/ 358071 h 1418351"/>
                  <a:gd name="connsiteX31" fmla="*/ 750910 w 1148301"/>
                  <a:gd name="connsiteY31" fmla="*/ 358071 h 1418351"/>
                  <a:gd name="connsiteX32" fmla="*/ 701769 w 1148301"/>
                  <a:gd name="connsiteY32" fmla="*/ 381572 h 1418351"/>
                  <a:gd name="connsiteX33" fmla="*/ 641947 w 1148301"/>
                  <a:gd name="connsiteY33" fmla="*/ 456351 h 1418351"/>
                  <a:gd name="connsiteX34" fmla="*/ 633400 w 1148301"/>
                  <a:gd name="connsiteY34" fmla="*/ 475578 h 1418351"/>
                  <a:gd name="connsiteX35" fmla="*/ 618446 w 1148301"/>
                  <a:gd name="connsiteY35" fmla="*/ 554631 h 1418351"/>
                  <a:gd name="connsiteX36" fmla="*/ 597081 w 1148301"/>
                  <a:gd name="connsiteY36" fmla="*/ 571723 h 1418351"/>
                  <a:gd name="connsiteX37" fmla="*/ 588535 w 1148301"/>
                  <a:gd name="connsiteY37" fmla="*/ 571723 h 1418351"/>
                  <a:gd name="connsiteX38" fmla="*/ 567170 w 1148301"/>
                  <a:gd name="connsiteY38" fmla="*/ 554631 h 1418351"/>
                  <a:gd name="connsiteX39" fmla="*/ 554351 w 1148301"/>
                  <a:gd name="connsiteY39" fmla="*/ 501217 h 1418351"/>
                  <a:gd name="connsiteX40" fmla="*/ 532985 w 1148301"/>
                  <a:gd name="connsiteY40" fmla="*/ 484124 h 1418351"/>
                  <a:gd name="connsiteX41" fmla="*/ 485982 w 1148301"/>
                  <a:gd name="connsiteY41" fmla="*/ 484124 h 1418351"/>
                  <a:gd name="connsiteX42" fmla="*/ 379157 w 1148301"/>
                  <a:gd name="connsiteY42" fmla="*/ 569585 h 1418351"/>
                  <a:gd name="connsiteX43" fmla="*/ 400522 w 1148301"/>
                  <a:gd name="connsiteY43" fmla="*/ 612315 h 1418351"/>
                  <a:gd name="connsiteX44" fmla="*/ 462479 w 1148301"/>
                  <a:gd name="connsiteY44" fmla="*/ 629407 h 1418351"/>
                  <a:gd name="connsiteX45" fmla="*/ 485982 w 1148301"/>
                  <a:gd name="connsiteY45" fmla="*/ 614453 h 1418351"/>
                  <a:gd name="connsiteX46" fmla="*/ 507347 w 1148301"/>
                  <a:gd name="connsiteY46" fmla="*/ 614453 h 1418351"/>
                  <a:gd name="connsiteX47" fmla="*/ 528712 w 1148301"/>
                  <a:gd name="connsiteY47" fmla="*/ 635818 h 1418351"/>
                  <a:gd name="connsiteX48" fmla="*/ 528712 w 1148301"/>
                  <a:gd name="connsiteY48" fmla="*/ 699913 h 1418351"/>
                  <a:gd name="connsiteX49" fmla="*/ 571443 w 1148301"/>
                  <a:gd name="connsiteY49" fmla="*/ 699913 h 1418351"/>
                  <a:gd name="connsiteX50" fmla="*/ 592808 w 1148301"/>
                  <a:gd name="connsiteY50" fmla="*/ 721279 h 1418351"/>
                  <a:gd name="connsiteX51" fmla="*/ 592808 w 1148301"/>
                  <a:gd name="connsiteY51" fmla="*/ 785374 h 1418351"/>
                  <a:gd name="connsiteX52" fmla="*/ 635538 w 1148301"/>
                  <a:gd name="connsiteY52" fmla="*/ 806739 h 1418351"/>
                  <a:gd name="connsiteX53" fmla="*/ 742364 w 1148301"/>
                  <a:gd name="connsiteY53" fmla="*/ 764009 h 1418351"/>
                  <a:gd name="connsiteX54" fmla="*/ 998745 w 1148301"/>
                  <a:gd name="connsiteY54" fmla="*/ 892200 h 1418351"/>
                  <a:gd name="connsiteX55" fmla="*/ 1148301 w 1148301"/>
                  <a:gd name="connsiteY55" fmla="*/ 999025 h 1418351"/>
                  <a:gd name="connsiteX56" fmla="*/ 998745 w 1148301"/>
                  <a:gd name="connsiteY56" fmla="*/ 1148581 h 1418351"/>
                  <a:gd name="connsiteX57" fmla="*/ 956015 w 1148301"/>
                  <a:gd name="connsiteY57" fmla="*/ 1255407 h 1418351"/>
                  <a:gd name="connsiteX58" fmla="*/ 842145 w 1148301"/>
                  <a:gd name="connsiteY58" fmla="*/ 1359662 h 1418351"/>
                  <a:gd name="connsiteX59" fmla="*/ 816769 w 1148301"/>
                  <a:gd name="connsiteY59" fmla="*/ 1381646 h 1418351"/>
                  <a:gd name="connsiteX60" fmla="*/ 809328 w 1148301"/>
                  <a:gd name="connsiteY60" fmla="*/ 1385684 h 1418351"/>
                  <a:gd name="connsiteX61" fmla="*/ 704095 w 1148301"/>
                  <a:gd name="connsiteY61" fmla="*/ 1418351 h 1418351"/>
                  <a:gd name="connsiteX62" fmla="*/ 709614 w 1148301"/>
                  <a:gd name="connsiteY62" fmla="*/ 1372347 h 1418351"/>
                  <a:gd name="connsiteX63" fmla="*/ 723134 w 1148301"/>
                  <a:gd name="connsiteY63" fmla="*/ 1163536 h 1418351"/>
                  <a:gd name="connsiteX64" fmla="*/ 594943 w 1148301"/>
                  <a:gd name="connsiteY64" fmla="*/ 949884 h 1418351"/>
                  <a:gd name="connsiteX65" fmla="*/ 629127 w 1148301"/>
                  <a:gd name="connsiteY65" fmla="*/ 866561 h 1418351"/>
                  <a:gd name="connsiteX66" fmla="*/ 614173 w 1148301"/>
                  <a:gd name="connsiteY66" fmla="*/ 838786 h 1418351"/>
                  <a:gd name="connsiteX67" fmla="*/ 569305 w 1148301"/>
                  <a:gd name="connsiteY67" fmla="*/ 828104 h 1418351"/>
                  <a:gd name="connsiteX68" fmla="*/ 543667 w 1148301"/>
                  <a:gd name="connsiteY68" fmla="*/ 811012 h 1418351"/>
                  <a:gd name="connsiteX69" fmla="*/ 515893 w 1148301"/>
                  <a:gd name="connsiteY69" fmla="*/ 770417 h 1418351"/>
                  <a:gd name="connsiteX70" fmla="*/ 498801 w 1148301"/>
                  <a:gd name="connsiteY70" fmla="*/ 761871 h 1418351"/>
                  <a:gd name="connsiteX71" fmla="*/ 473163 w 1148301"/>
                  <a:gd name="connsiteY71" fmla="*/ 761871 h 1418351"/>
                  <a:gd name="connsiteX72" fmla="*/ 434706 w 1148301"/>
                  <a:gd name="connsiteY72" fmla="*/ 738371 h 1418351"/>
                  <a:gd name="connsiteX73" fmla="*/ 428295 w 1148301"/>
                  <a:gd name="connsiteY73" fmla="*/ 727687 h 1418351"/>
                  <a:gd name="connsiteX74" fmla="*/ 415476 w 1148301"/>
                  <a:gd name="connsiteY74" fmla="*/ 717006 h 1418351"/>
                  <a:gd name="connsiteX75" fmla="*/ 321470 w 1148301"/>
                  <a:gd name="connsiteY75" fmla="*/ 684957 h 1418351"/>
                  <a:gd name="connsiteX76" fmla="*/ 285150 w 1148301"/>
                  <a:gd name="connsiteY76" fmla="*/ 652910 h 1418351"/>
                  <a:gd name="connsiteX77" fmla="*/ 214644 w 1148301"/>
                  <a:gd name="connsiteY77" fmla="*/ 514036 h 1418351"/>
                  <a:gd name="connsiteX78" fmla="*/ 201825 w 1148301"/>
                  <a:gd name="connsiteY78" fmla="*/ 503354 h 1418351"/>
                  <a:gd name="connsiteX79" fmla="*/ 176187 w 1148301"/>
                  <a:gd name="connsiteY79" fmla="*/ 535401 h 1418351"/>
                  <a:gd name="connsiteX80" fmla="*/ 201825 w 1148301"/>
                  <a:gd name="connsiteY80" fmla="*/ 578131 h 1418351"/>
                  <a:gd name="connsiteX81" fmla="*/ 197552 w 1148301"/>
                  <a:gd name="connsiteY81" fmla="*/ 603769 h 1418351"/>
                  <a:gd name="connsiteX82" fmla="*/ 186870 w 1148301"/>
                  <a:gd name="connsiteY82" fmla="*/ 614453 h 1418351"/>
                  <a:gd name="connsiteX83" fmla="*/ 45860 w 1148301"/>
                  <a:gd name="connsiteY83" fmla="*/ 432848 h 1418351"/>
                  <a:gd name="connsiteX84" fmla="*/ 37314 w 1148301"/>
                  <a:gd name="connsiteY84" fmla="*/ 407210 h 1418351"/>
                  <a:gd name="connsiteX85" fmla="*/ 37314 w 1148301"/>
                  <a:gd name="connsiteY85" fmla="*/ 272611 h 1418351"/>
                  <a:gd name="connsiteX86" fmla="*/ 21557 w 1148301"/>
                  <a:gd name="connsiteY86" fmla="*/ 249642 h 1418351"/>
                  <a:gd name="connsiteX87" fmla="*/ 0 w 1148301"/>
                  <a:gd name="connsiteY87" fmla="*/ 233848 h 1418351"/>
                  <a:gd name="connsiteX88" fmla="*/ 18663 w 1148301"/>
                  <a:gd name="connsiteY88" fmla="*/ 211229 h 1418351"/>
                  <a:gd name="connsiteX89" fmla="*/ 528613 w 1148301"/>
                  <a:gd name="connsiteY89" fmla="*/ 0 h 1418351"/>
                  <a:gd name="connsiteX0" fmla="*/ 528613 w 1148310"/>
                  <a:gd name="connsiteY0" fmla="*/ 0 h 1418351"/>
                  <a:gd name="connsiteX1" fmla="*/ 673956 w 1148310"/>
                  <a:gd name="connsiteY1" fmla="*/ 14652 h 1418351"/>
                  <a:gd name="connsiteX2" fmla="*/ 742364 w 1148310"/>
                  <a:gd name="connsiteY2" fmla="*/ 35887 h 1418351"/>
                  <a:gd name="connsiteX3" fmla="*/ 742364 w 1148310"/>
                  <a:gd name="connsiteY3" fmla="*/ 37594 h 1418351"/>
                  <a:gd name="connsiteX4" fmla="*/ 720999 w 1148310"/>
                  <a:gd name="connsiteY4" fmla="*/ 58959 h 1418351"/>
                  <a:gd name="connsiteX5" fmla="*/ 667585 w 1148310"/>
                  <a:gd name="connsiteY5" fmla="*/ 58959 h 1418351"/>
                  <a:gd name="connsiteX6" fmla="*/ 652630 w 1148310"/>
                  <a:gd name="connsiteY6" fmla="*/ 52549 h 1418351"/>
                  <a:gd name="connsiteX7" fmla="*/ 631265 w 1148310"/>
                  <a:gd name="connsiteY7" fmla="*/ 16229 h 1418351"/>
                  <a:gd name="connsiteX8" fmla="*/ 494528 w 1148310"/>
                  <a:gd name="connsiteY8" fmla="*/ 73914 h 1418351"/>
                  <a:gd name="connsiteX9" fmla="*/ 485982 w 1148310"/>
                  <a:gd name="connsiteY9" fmla="*/ 91006 h 1418351"/>
                  <a:gd name="connsiteX10" fmla="*/ 485982 w 1148310"/>
                  <a:gd name="connsiteY10" fmla="*/ 144420 h 1418351"/>
                  <a:gd name="connsiteX11" fmla="*/ 507347 w 1148310"/>
                  <a:gd name="connsiteY11" fmla="*/ 165785 h 1418351"/>
                  <a:gd name="connsiteX12" fmla="*/ 571443 w 1148310"/>
                  <a:gd name="connsiteY12" fmla="*/ 165785 h 1418351"/>
                  <a:gd name="connsiteX13" fmla="*/ 592808 w 1148310"/>
                  <a:gd name="connsiteY13" fmla="*/ 187150 h 1418351"/>
                  <a:gd name="connsiteX14" fmla="*/ 614173 w 1148310"/>
                  <a:gd name="connsiteY14" fmla="*/ 187150 h 1418351"/>
                  <a:gd name="connsiteX15" fmla="*/ 635538 w 1148310"/>
                  <a:gd name="connsiteY15" fmla="*/ 165785 h 1418351"/>
                  <a:gd name="connsiteX16" fmla="*/ 635538 w 1148310"/>
                  <a:gd name="connsiteY16" fmla="*/ 144420 h 1418351"/>
                  <a:gd name="connsiteX17" fmla="*/ 678268 w 1148310"/>
                  <a:gd name="connsiteY17" fmla="*/ 101690 h 1418351"/>
                  <a:gd name="connsiteX18" fmla="*/ 714588 w 1148310"/>
                  <a:gd name="connsiteY18" fmla="*/ 101690 h 1418351"/>
                  <a:gd name="connsiteX19" fmla="*/ 725272 w 1148310"/>
                  <a:gd name="connsiteY19" fmla="*/ 103825 h 1418351"/>
                  <a:gd name="connsiteX20" fmla="*/ 906874 w 1148310"/>
                  <a:gd name="connsiteY20" fmla="*/ 212788 h 1418351"/>
                  <a:gd name="connsiteX21" fmla="*/ 926104 w 1148310"/>
                  <a:gd name="connsiteY21" fmla="*/ 259792 h 1418351"/>
                  <a:gd name="connsiteX22" fmla="*/ 913285 w 1148310"/>
                  <a:gd name="connsiteY22" fmla="*/ 315341 h 1418351"/>
                  <a:gd name="connsiteX23" fmla="*/ 891920 w 1148310"/>
                  <a:gd name="connsiteY23" fmla="*/ 315341 h 1418351"/>
                  <a:gd name="connsiteX24" fmla="*/ 870554 w 1148310"/>
                  <a:gd name="connsiteY24" fmla="*/ 293976 h 1418351"/>
                  <a:gd name="connsiteX25" fmla="*/ 849189 w 1148310"/>
                  <a:gd name="connsiteY25" fmla="*/ 272611 h 1418351"/>
                  <a:gd name="connsiteX26" fmla="*/ 836370 w 1148310"/>
                  <a:gd name="connsiteY26" fmla="*/ 272611 h 1418351"/>
                  <a:gd name="connsiteX27" fmla="*/ 821414 w 1148310"/>
                  <a:gd name="connsiteY27" fmla="*/ 308930 h 1418351"/>
                  <a:gd name="connsiteX28" fmla="*/ 827824 w 1148310"/>
                  <a:gd name="connsiteY28" fmla="*/ 315341 h 1418351"/>
                  <a:gd name="connsiteX29" fmla="*/ 827824 w 1148310"/>
                  <a:gd name="connsiteY29" fmla="*/ 336706 h 1418351"/>
                  <a:gd name="connsiteX30" fmla="*/ 806459 w 1148310"/>
                  <a:gd name="connsiteY30" fmla="*/ 358071 h 1418351"/>
                  <a:gd name="connsiteX31" fmla="*/ 750910 w 1148310"/>
                  <a:gd name="connsiteY31" fmla="*/ 358071 h 1418351"/>
                  <a:gd name="connsiteX32" fmla="*/ 701769 w 1148310"/>
                  <a:gd name="connsiteY32" fmla="*/ 381572 h 1418351"/>
                  <a:gd name="connsiteX33" fmla="*/ 641947 w 1148310"/>
                  <a:gd name="connsiteY33" fmla="*/ 456351 h 1418351"/>
                  <a:gd name="connsiteX34" fmla="*/ 633400 w 1148310"/>
                  <a:gd name="connsiteY34" fmla="*/ 475578 h 1418351"/>
                  <a:gd name="connsiteX35" fmla="*/ 618446 w 1148310"/>
                  <a:gd name="connsiteY35" fmla="*/ 554631 h 1418351"/>
                  <a:gd name="connsiteX36" fmla="*/ 597081 w 1148310"/>
                  <a:gd name="connsiteY36" fmla="*/ 571723 h 1418351"/>
                  <a:gd name="connsiteX37" fmla="*/ 588535 w 1148310"/>
                  <a:gd name="connsiteY37" fmla="*/ 571723 h 1418351"/>
                  <a:gd name="connsiteX38" fmla="*/ 567170 w 1148310"/>
                  <a:gd name="connsiteY38" fmla="*/ 554631 h 1418351"/>
                  <a:gd name="connsiteX39" fmla="*/ 554351 w 1148310"/>
                  <a:gd name="connsiteY39" fmla="*/ 501217 h 1418351"/>
                  <a:gd name="connsiteX40" fmla="*/ 532985 w 1148310"/>
                  <a:gd name="connsiteY40" fmla="*/ 484124 h 1418351"/>
                  <a:gd name="connsiteX41" fmla="*/ 485982 w 1148310"/>
                  <a:gd name="connsiteY41" fmla="*/ 484124 h 1418351"/>
                  <a:gd name="connsiteX42" fmla="*/ 379157 w 1148310"/>
                  <a:gd name="connsiteY42" fmla="*/ 569585 h 1418351"/>
                  <a:gd name="connsiteX43" fmla="*/ 400522 w 1148310"/>
                  <a:gd name="connsiteY43" fmla="*/ 612315 h 1418351"/>
                  <a:gd name="connsiteX44" fmla="*/ 462479 w 1148310"/>
                  <a:gd name="connsiteY44" fmla="*/ 629407 h 1418351"/>
                  <a:gd name="connsiteX45" fmla="*/ 485982 w 1148310"/>
                  <a:gd name="connsiteY45" fmla="*/ 614453 h 1418351"/>
                  <a:gd name="connsiteX46" fmla="*/ 507347 w 1148310"/>
                  <a:gd name="connsiteY46" fmla="*/ 614453 h 1418351"/>
                  <a:gd name="connsiteX47" fmla="*/ 528712 w 1148310"/>
                  <a:gd name="connsiteY47" fmla="*/ 635818 h 1418351"/>
                  <a:gd name="connsiteX48" fmla="*/ 528712 w 1148310"/>
                  <a:gd name="connsiteY48" fmla="*/ 699913 h 1418351"/>
                  <a:gd name="connsiteX49" fmla="*/ 571443 w 1148310"/>
                  <a:gd name="connsiteY49" fmla="*/ 699913 h 1418351"/>
                  <a:gd name="connsiteX50" fmla="*/ 592808 w 1148310"/>
                  <a:gd name="connsiteY50" fmla="*/ 721279 h 1418351"/>
                  <a:gd name="connsiteX51" fmla="*/ 592808 w 1148310"/>
                  <a:gd name="connsiteY51" fmla="*/ 785374 h 1418351"/>
                  <a:gd name="connsiteX52" fmla="*/ 635538 w 1148310"/>
                  <a:gd name="connsiteY52" fmla="*/ 806739 h 1418351"/>
                  <a:gd name="connsiteX53" fmla="*/ 742364 w 1148310"/>
                  <a:gd name="connsiteY53" fmla="*/ 764009 h 1418351"/>
                  <a:gd name="connsiteX54" fmla="*/ 998745 w 1148310"/>
                  <a:gd name="connsiteY54" fmla="*/ 892200 h 1418351"/>
                  <a:gd name="connsiteX55" fmla="*/ 1148301 w 1148310"/>
                  <a:gd name="connsiteY55" fmla="*/ 999025 h 1418351"/>
                  <a:gd name="connsiteX56" fmla="*/ 998745 w 1148310"/>
                  <a:gd name="connsiteY56" fmla="*/ 1148581 h 1418351"/>
                  <a:gd name="connsiteX57" fmla="*/ 956015 w 1148310"/>
                  <a:gd name="connsiteY57" fmla="*/ 1255407 h 1418351"/>
                  <a:gd name="connsiteX58" fmla="*/ 842145 w 1148310"/>
                  <a:gd name="connsiteY58" fmla="*/ 1359662 h 1418351"/>
                  <a:gd name="connsiteX59" fmla="*/ 816769 w 1148310"/>
                  <a:gd name="connsiteY59" fmla="*/ 1381646 h 1418351"/>
                  <a:gd name="connsiteX60" fmla="*/ 809328 w 1148310"/>
                  <a:gd name="connsiteY60" fmla="*/ 1385684 h 1418351"/>
                  <a:gd name="connsiteX61" fmla="*/ 704095 w 1148310"/>
                  <a:gd name="connsiteY61" fmla="*/ 1418351 h 1418351"/>
                  <a:gd name="connsiteX62" fmla="*/ 709614 w 1148310"/>
                  <a:gd name="connsiteY62" fmla="*/ 1372347 h 1418351"/>
                  <a:gd name="connsiteX63" fmla="*/ 723134 w 1148310"/>
                  <a:gd name="connsiteY63" fmla="*/ 1163536 h 1418351"/>
                  <a:gd name="connsiteX64" fmla="*/ 594943 w 1148310"/>
                  <a:gd name="connsiteY64" fmla="*/ 949884 h 1418351"/>
                  <a:gd name="connsiteX65" fmla="*/ 629127 w 1148310"/>
                  <a:gd name="connsiteY65" fmla="*/ 866561 h 1418351"/>
                  <a:gd name="connsiteX66" fmla="*/ 614173 w 1148310"/>
                  <a:gd name="connsiteY66" fmla="*/ 838786 h 1418351"/>
                  <a:gd name="connsiteX67" fmla="*/ 569305 w 1148310"/>
                  <a:gd name="connsiteY67" fmla="*/ 828104 h 1418351"/>
                  <a:gd name="connsiteX68" fmla="*/ 543667 w 1148310"/>
                  <a:gd name="connsiteY68" fmla="*/ 811012 h 1418351"/>
                  <a:gd name="connsiteX69" fmla="*/ 515893 w 1148310"/>
                  <a:gd name="connsiteY69" fmla="*/ 770417 h 1418351"/>
                  <a:gd name="connsiteX70" fmla="*/ 498801 w 1148310"/>
                  <a:gd name="connsiteY70" fmla="*/ 761871 h 1418351"/>
                  <a:gd name="connsiteX71" fmla="*/ 473163 w 1148310"/>
                  <a:gd name="connsiteY71" fmla="*/ 761871 h 1418351"/>
                  <a:gd name="connsiteX72" fmla="*/ 434706 w 1148310"/>
                  <a:gd name="connsiteY72" fmla="*/ 738371 h 1418351"/>
                  <a:gd name="connsiteX73" fmla="*/ 428295 w 1148310"/>
                  <a:gd name="connsiteY73" fmla="*/ 727687 h 1418351"/>
                  <a:gd name="connsiteX74" fmla="*/ 415476 w 1148310"/>
                  <a:gd name="connsiteY74" fmla="*/ 717006 h 1418351"/>
                  <a:gd name="connsiteX75" fmla="*/ 321470 w 1148310"/>
                  <a:gd name="connsiteY75" fmla="*/ 684957 h 1418351"/>
                  <a:gd name="connsiteX76" fmla="*/ 285150 w 1148310"/>
                  <a:gd name="connsiteY76" fmla="*/ 652910 h 1418351"/>
                  <a:gd name="connsiteX77" fmla="*/ 214644 w 1148310"/>
                  <a:gd name="connsiteY77" fmla="*/ 514036 h 1418351"/>
                  <a:gd name="connsiteX78" fmla="*/ 201825 w 1148310"/>
                  <a:gd name="connsiteY78" fmla="*/ 503354 h 1418351"/>
                  <a:gd name="connsiteX79" fmla="*/ 176187 w 1148310"/>
                  <a:gd name="connsiteY79" fmla="*/ 535401 h 1418351"/>
                  <a:gd name="connsiteX80" fmla="*/ 201825 w 1148310"/>
                  <a:gd name="connsiteY80" fmla="*/ 578131 h 1418351"/>
                  <a:gd name="connsiteX81" fmla="*/ 197552 w 1148310"/>
                  <a:gd name="connsiteY81" fmla="*/ 603769 h 1418351"/>
                  <a:gd name="connsiteX82" fmla="*/ 186870 w 1148310"/>
                  <a:gd name="connsiteY82" fmla="*/ 614453 h 1418351"/>
                  <a:gd name="connsiteX83" fmla="*/ 45860 w 1148310"/>
                  <a:gd name="connsiteY83" fmla="*/ 432848 h 1418351"/>
                  <a:gd name="connsiteX84" fmla="*/ 37314 w 1148310"/>
                  <a:gd name="connsiteY84" fmla="*/ 407210 h 1418351"/>
                  <a:gd name="connsiteX85" fmla="*/ 37314 w 1148310"/>
                  <a:gd name="connsiteY85" fmla="*/ 272611 h 1418351"/>
                  <a:gd name="connsiteX86" fmla="*/ 21557 w 1148310"/>
                  <a:gd name="connsiteY86" fmla="*/ 249642 h 1418351"/>
                  <a:gd name="connsiteX87" fmla="*/ 0 w 1148310"/>
                  <a:gd name="connsiteY87" fmla="*/ 233848 h 1418351"/>
                  <a:gd name="connsiteX88" fmla="*/ 18663 w 1148310"/>
                  <a:gd name="connsiteY88" fmla="*/ 211229 h 1418351"/>
                  <a:gd name="connsiteX89" fmla="*/ 528613 w 1148310"/>
                  <a:gd name="connsiteY89" fmla="*/ 0 h 141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148310" h="1418351">
                    <a:moveTo>
                      <a:pt x="528613" y="0"/>
                    </a:moveTo>
                    <a:cubicBezTo>
                      <a:pt x="578400" y="0"/>
                      <a:pt x="627009" y="5045"/>
                      <a:pt x="673956" y="14652"/>
                    </a:cubicBezTo>
                    <a:lnTo>
                      <a:pt x="742364" y="35887"/>
                    </a:lnTo>
                    <a:lnTo>
                      <a:pt x="742364" y="37594"/>
                    </a:lnTo>
                    <a:cubicBezTo>
                      <a:pt x="742364" y="50413"/>
                      <a:pt x="733818" y="58959"/>
                      <a:pt x="720999" y="58959"/>
                    </a:cubicBezTo>
                    <a:lnTo>
                      <a:pt x="667585" y="58959"/>
                    </a:lnTo>
                    <a:cubicBezTo>
                      <a:pt x="661176" y="58959"/>
                      <a:pt x="656903" y="56822"/>
                      <a:pt x="652630" y="52549"/>
                    </a:cubicBezTo>
                    <a:lnTo>
                      <a:pt x="631265" y="16229"/>
                    </a:lnTo>
                    <a:lnTo>
                      <a:pt x="494528" y="73914"/>
                    </a:lnTo>
                    <a:cubicBezTo>
                      <a:pt x="488118" y="78187"/>
                      <a:pt x="485982" y="84598"/>
                      <a:pt x="485982" y="91006"/>
                    </a:cubicBezTo>
                    <a:lnTo>
                      <a:pt x="485982" y="144420"/>
                    </a:lnTo>
                    <a:cubicBezTo>
                      <a:pt x="485982" y="157239"/>
                      <a:pt x="494528" y="165785"/>
                      <a:pt x="507347" y="165785"/>
                    </a:cubicBezTo>
                    <a:lnTo>
                      <a:pt x="571443" y="165785"/>
                    </a:lnTo>
                    <a:lnTo>
                      <a:pt x="592808" y="187150"/>
                    </a:lnTo>
                    <a:lnTo>
                      <a:pt x="614173" y="187150"/>
                    </a:lnTo>
                    <a:cubicBezTo>
                      <a:pt x="626992" y="187150"/>
                      <a:pt x="635538" y="178604"/>
                      <a:pt x="635538" y="165785"/>
                    </a:cubicBezTo>
                    <a:lnTo>
                      <a:pt x="635538" y="144420"/>
                    </a:lnTo>
                    <a:cubicBezTo>
                      <a:pt x="635538" y="120917"/>
                      <a:pt x="654766" y="101690"/>
                      <a:pt x="678268" y="101690"/>
                    </a:cubicBezTo>
                    <a:lnTo>
                      <a:pt x="714588" y="101690"/>
                    </a:lnTo>
                    <a:cubicBezTo>
                      <a:pt x="718861" y="101690"/>
                      <a:pt x="723134" y="101690"/>
                      <a:pt x="725272" y="103825"/>
                    </a:cubicBezTo>
                    <a:lnTo>
                      <a:pt x="906874" y="212788"/>
                    </a:lnTo>
                    <a:cubicBezTo>
                      <a:pt x="921831" y="223470"/>
                      <a:pt x="930377" y="240562"/>
                      <a:pt x="926104" y="259792"/>
                    </a:cubicBezTo>
                    <a:lnTo>
                      <a:pt x="913285" y="315341"/>
                    </a:lnTo>
                    <a:lnTo>
                      <a:pt x="891920" y="315341"/>
                    </a:lnTo>
                    <a:cubicBezTo>
                      <a:pt x="879101" y="315341"/>
                      <a:pt x="870554" y="306795"/>
                      <a:pt x="870554" y="293976"/>
                    </a:cubicBezTo>
                    <a:cubicBezTo>
                      <a:pt x="870554" y="281157"/>
                      <a:pt x="862008" y="272611"/>
                      <a:pt x="849189" y="272611"/>
                    </a:cubicBezTo>
                    <a:lnTo>
                      <a:pt x="836370" y="272611"/>
                    </a:lnTo>
                    <a:cubicBezTo>
                      <a:pt x="817141" y="272611"/>
                      <a:pt x="808594" y="296111"/>
                      <a:pt x="821414" y="308930"/>
                    </a:cubicBezTo>
                    <a:lnTo>
                      <a:pt x="827824" y="315341"/>
                    </a:lnTo>
                    <a:lnTo>
                      <a:pt x="827824" y="336706"/>
                    </a:lnTo>
                    <a:cubicBezTo>
                      <a:pt x="827824" y="349525"/>
                      <a:pt x="819278" y="358071"/>
                      <a:pt x="806459" y="358071"/>
                    </a:cubicBezTo>
                    <a:lnTo>
                      <a:pt x="750910" y="358071"/>
                    </a:lnTo>
                    <a:cubicBezTo>
                      <a:pt x="731680" y="358071"/>
                      <a:pt x="714588" y="366617"/>
                      <a:pt x="701769" y="381572"/>
                    </a:cubicBezTo>
                    <a:lnTo>
                      <a:pt x="641947" y="456351"/>
                    </a:lnTo>
                    <a:cubicBezTo>
                      <a:pt x="637673" y="462759"/>
                      <a:pt x="635538" y="469170"/>
                      <a:pt x="633400" y="475578"/>
                    </a:cubicBezTo>
                    <a:lnTo>
                      <a:pt x="618446" y="554631"/>
                    </a:lnTo>
                    <a:cubicBezTo>
                      <a:pt x="616308" y="565312"/>
                      <a:pt x="607762" y="571723"/>
                      <a:pt x="597081" y="571723"/>
                    </a:cubicBezTo>
                    <a:lnTo>
                      <a:pt x="588535" y="571723"/>
                    </a:lnTo>
                    <a:cubicBezTo>
                      <a:pt x="577851" y="571723"/>
                      <a:pt x="569305" y="563177"/>
                      <a:pt x="567170" y="554631"/>
                    </a:cubicBezTo>
                    <a:lnTo>
                      <a:pt x="554351" y="501217"/>
                    </a:lnTo>
                    <a:cubicBezTo>
                      <a:pt x="552213" y="490535"/>
                      <a:pt x="543667" y="484124"/>
                      <a:pt x="532985" y="484124"/>
                    </a:cubicBezTo>
                    <a:lnTo>
                      <a:pt x="485982" y="484124"/>
                    </a:lnTo>
                    <a:cubicBezTo>
                      <a:pt x="485982" y="484124"/>
                      <a:pt x="379157" y="477716"/>
                      <a:pt x="379157" y="569585"/>
                    </a:cubicBezTo>
                    <a:cubicBezTo>
                      <a:pt x="379157" y="582404"/>
                      <a:pt x="400522" y="612315"/>
                      <a:pt x="400522" y="612315"/>
                    </a:cubicBezTo>
                    <a:cubicBezTo>
                      <a:pt x="411203" y="635818"/>
                      <a:pt x="441114" y="644364"/>
                      <a:pt x="462479" y="629407"/>
                    </a:cubicBezTo>
                    <a:lnTo>
                      <a:pt x="485982" y="614453"/>
                    </a:lnTo>
                    <a:lnTo>
                      <a:pt x="507347" y="614453"/>
                    </a:lnTo>
                    <a:cubicBezTo>
                      <a:pt x="520166" y="614453"/>
                      <a:pt x="528712" y="622999"/>
                      <a:pt x="528712" y="635818"/>
                    </a:cubicBezTo>
                    <a:lnTo>
                      <a:pt x="528712" y="699913"/>
                    </a:lnTo>
                    <a:lnTo>
                      <a:pt x="571443" y="699913"/>
                    </a:lnTo>
                    <a:cubicBezTo>
                      <a:pt x="584262" y="699913"/>
                      <a:pt x="592808" y="708459"/>
                      <a:pt x="592808" y="721279"/>
                    </a:cubicBezTo>
                    <a:lnTo>
                      <a:pt x="592808" y="785374"/>
                    </a:lnTo>
                    <a:lnTo>
                      <a:pt x="635538" y="806739"/>
                    </a:lnTo>
                    <a:cubicBezTo>
                      <a:pt x="635538" y="806739"/>
                      <a:pt x="718861" y="764009"/>
                      <a:pt x="742364" y="764009"/>
                    </a:cubicBezTo>
                    <a:cubicBezTo>
                      <a:pt x="847052" y="764009"/>
                      <a:pt x="973107" y="808874"/>
                      <a:pt x="998745" y="892200"/>
                    </a:cubicBezTo>
                    <a:cubicBezTo>
                      <a:pt x="998745" y="892200"/>
                      <a:pt x="1149662" y="926967"/>
                      <a:pt x="1148301" y="999025"/>
                    </a:cubicBezTo>
                    <a:cubicBezTo>
                      <a:pt x="1146970" y="1069514"/>
                      <a:pt x="1048597" y="1098729"/>
                      <a:pt x="998745" y="1148581"/>
                    </a:cubicBezTo>
                    <a:cubicBezTo>
                      <a:pt x="998745" y="1148581"/>
                      <a:pt x="992335" y="1214812"/>
                      <a:pt x="956015" y="1255407"/>
                    </a:cubicBezTo>
                    <a:cubicBezTo>
                      <a:pt x="935183" y="1277840"/>
                      <a:pt x="885510" y="1321906"/>
                      <a:pt x="842145" y="1359662"/>
                    </a:cubicBezTo>
                    <a:lnTo>
                      <a:pt x="816769" y="1381646"/>
                    </a:lnTo>
                    <a:lnTo>
                      <a:pt x="809328" y="1385684"/>
                    </a:lnTo>
                    <a:lnTo>
                      <a:pt x="704095" y="1418351"/>
                    </a:lnTo>
                    <a:lnTo>
                      <a:pt x="709614" y="1372347"/>
                    </a:lnTo>
                    <a:cubicBezTo>
                      <a:pt x="715923" y="1314160"/>
                      <a:pt x="723134" y="1229234"/>
                      <a:pt x="723134" y="1163536"/>
                    </a:cubicBezTo>
                    <a:cubicBezTo>
                      <a:pt x="723134" y="1131489"/>
                      <a:pt x="594943" y="1090894"/>
                      <a:pt x="594943" y="949884"/>
                    </a:cubicBezTo>
                    <a:cubicBezTo>
                      <a:pt x="594943" y="900746"/>
                      <a:pt x="629127" y="866561"/>
                      <a:pt x="629127" y="866561"/>
                    </a:cubicBezTo>
                    <a:cubicBezTo>
                      <a:pt x="633400" y="855878"/>
                      <a:pt x="626992" y="840923"/>
                      <a:pt x="614173" y="838786"/>
                    </a:cubicBezTo>
                    <a:lnTo>
                      <a:pt x="569305" y="828104"/>
                    </a:lnTo>
                    <a:cubicBezTo>
                      <a:pt x="558624" y="825967"/>
                      <a:pt x="550078" y="819558"/>
                      <a:pt x="543667" y="811012"/>
                    </a:cubicBezTo>
                    <a:lnTo>
                      <a:pt x="515893" y="770417"/>
                    </a:lnTo>
                    <a:cubicBezTo>
                      <a:pt x="511620" y="766144"/>
                      <a:pt x="505210" y="761871"/>
                      <a:pt x="498801" y="761871"/>
                    </a:cubicBezTo>
                    <a:lnTo>
                      <a:pt x="473163" y="761871"/>
                    </a:lnTo>
                    <a:cubicBezTo>
                      <a:pt x="456071" y="761871"/>
                      <a:pt x="441114" y="753325"/>
                      <a:pt x="434706" y="738371"/>
                    </a:cubicBezTo>
                    <a:lnTo>
                      <a:pt x="428295" y="727687"/>
                    </a:lnTo>
                    <a:cubicBezTo>
                      <a:pt x="426160" y="723414"/>
                      <a:pt x="421887" y="719141"/>
                      <a:pt x="415476" y="717006"/>
                    </a:cubicBezTo>
                    <a:lnTo>
                      <a:pt x="321470" y="684957"/>
                    </a:lnTo>
                    <a:cubicBezTo>
                      <a:pt x="306515" y="680684"/>
                      <a:pt x="293696" y="667865"/>
                      <a:pt x="285150" y="652910"/>
                    </a:cubicBezTo>
                    <a:lnTo>
                      <a:pt x="214644" y="514036"/>
                    </a:lnTo>
                    <a:cubicBezTo>
                      <a:pt x="212508" y="509763"/>
                      <a:pt x="208235" y="505490"/>
                      <a:pt x="201825" y="503354"/>
                    </a:cubicBezTo>
                    <a:cubicBezTo>
                      <a:pt x="182597" y="496944"/>
                      <a:pt x="165505" y="518309"/>
                      <a:pt x="176187" y="535401"/>
                    </a:cubicBezTo>
                    <a:lnTo>
                      <a:pt x="201825" y="578131"/>
                    </a:lnTo>
                    <a:cubicBezTo>
                      <a:pt x="206098" y="586677"/>
                      <a:pt x="203962" y="597361"/>
                      <a:pt x="197552" y="603769"/>
                    </a:cubicBezTo>
                    <a:lnTo>
                      <a:pt x="186870" y="614453"/>
                    </a:lnTo>
                    <a:lnTo>
                      <a:pt x="45860" y="432848"/>
                    </a:lnTo>
                    <a:cubicBezTo>
                      <a:pt x="39450" y="426440"/>
                      <a:pt x="37314" y="415756"/>
                      <a:pt x="37314" y="407210"/>
                    </a:cubicBezTo>
                    <a:lnTo>
                      <a:pt x="37314" y="272611"/>
                    </a:lnTo>
                    <a:cubicBezTo>
                      <a:pt x="35178" y="265132"/>
                      <a:pt x="29302" y="257120"/>
                      <a:pt x="21557" y="249642"/>
                    </a:cubicBezTo>
                    <a:lnTo>
                      <a:pt x="0" y="233848"/>
                    </a:lnTo>
                    <a:lnTo>
                      <a:pt x="18663" y="211229"/>
                    </a:lnTo>
                    <a:cubicBezTo>
                      <a:pt x="149170" y="80721"/>
                      <a:pt x="329465" y="0"/>
                      <a:pt x="528613" y="0"/>
                    </a:cubicBezTo>
                    <a:close/>
                  </a:path>
                </a:pathLst>
              </a:custGeom>
              <a:solidFill>
                <a:srgbClr val="50E6FF"/>
              </a:solidFill>
              <a:ln w="12700" cap="rnd">
                <a:noFill/>
                <a:miter lim="800000"/>
                <a:headEnd/>
                <a:tailEn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defTabSz="914225">
                  <a:defRPr/>
                </a:pPr>
                <a:endParaRPr lang="en-US" kern="0">
                  <a:solidFill>
                    <a:prstClr val="black"/>
                  </a:solidFill>
                  <a:latin typeface="Arial" charset="0"/>
                  <a:ea typeface="Arial" charset="0"/>
                  <a:cs typeface="Arial" charset="0"/>
                </a:endParaRPr>
              </a:p>
            </p:txBody>
          </p:sp>
        </p:grpSp>
        <p:sp>
          <p:nvSpPr>
            <p:cNvPr id="34" name="Freeform 5">
              <a:extLst>
                <a:ext uri="{FF2B5EF4-FFF2-40B4-BE49-F238E27FC236}">
                  <a16:creationId xmlns:a16="http://schemas.microsoft.com/office/drawing/2014/main" id="{2D2FDB30-DACF-4296-8B48-6DDCF2B3EA5B}"/>
                </a:ext>
              </a:extLst>
            </p:cNvPr>
            <p:cNvSpPr>
              <a:spLocks noEditPoints="1"/>
            </p:cNvSpPr>
            <p:nvPr/>
          </p:nvSpPr>
          <p:spPr bwMode="auto">
            <a:xfrm>
              <a:off x="10369705" y="2512162"/>
              <a:ext cx="214813" cy="343593"/>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35" name="Freeform 5">
              <a:extLst>
                <a:ext uri="{FF2B5EF4-FFF2-40B4-BE49-F238E27FC236}">
                  <a16:creationId xmlns:a16="http://schemas.microsoft.com/office/drawing/2014/main" id="{B9F4B8CE-219C-424B-BFDA-0E8AA5777289}"/>
                </a:ext>
              </a:extLst>
            </p:cNvPr>
            <p:cNvSpPr>
              <a:spLocks noEditPoints="1"/>
            </p:cNvSpPr>
            <p:nvPr/>
          </p:nvSpPr>
          <p:spPr bwMode="auto">
            <a:xfrm>
              <a:off x="8741977" y="2689297"/>
              <a:ext cx="214813" cy="343593"/>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36" name="Freeform 5">
              <a:extLst>
                <a:ext uri="{FF2B5EF4-FFF2-40B4-BE49-F238E27FC236}">
                  <a16:creationId xmlns:a16="http://schemas.microsoft.com/office/drawing/2014/main" id="{A0DB6AA3-8B08-4CBB-AD79-655F37588C2E}"/>
                </a:ext>
              </a:extLst>
            </p:cNvPr>
            <p:cNvSpPr>
              <a:spLocks noEditPoints="1"/>
            </p:cNvSpPr>
            <p:nvPr/>
          </p:nvSpPr>
          <p:spPr bwMode="auto">
            <a:xfrm>
              <a:off x="9927128" y="3167213"/>
              <a:ext cx="214813" cy="343593"/>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37" name="Freeform 5">
              <a:extLst>
                <a:ext uri="{FF2B5EF4-FFF2-40B4-BE49-F238E27FC236}">
                  <a16:creationId xmlns:a16="http://schemas.microsoft.com/office/drawing/2014/main" id="{9B9904B3-C60A-4E18-94C6-DB477BDE58D7}"/>
                </a:ext>
              </a:extLst>
            </p:cNvPr>
            <p:cNvSpPr>
              <a:spLocks noEditPoints="1"/>
            </p:cNvSpPr>
            <p:nvPr/>
          </p:nvSpPr>
          <p:spPr bwMode="auto">
            <a:xfrm>
              <a:off x="9953722" y="3908990"/>
              <a:ext cx="161627" cy="25852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38" name="Freeform 5">
              <a:extLst>
                <a:ext uri="{FF2B5EF4-FFF2-40B4-BE49-F238E27FC236}">
                  <a16:creationId xmlns:a16="http://schemas.microsoft.com/office/drawing/2014/main" id="{B40E86B1-7E01-4023-9822-312FDC56619B}"/>
                </a:ext>
              </a:extLst>
            </p:cNvPr>
            <p:cNvSpPr>
              <a:spLocks noEditPoints="1"/>
            </p:cNvSpPr>
            <p:nvPr/>
          </p:nvSpPr>
          <p:spPr bwMode="auto">
            <a:xfrm>
              <a:off x="8550479" y="3565397"/>
              <a:ext cx="214813" cy="343593"/>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39" name="Freeform 5">
              <a:extLst>
                <a:ext uri="{FF2B5EF4-FFF2-40B4-BE49-F238E27FC236}">
                  <a16:creationId xmlns:a16="http://schemas.microsoft.com/office/drawing/2014/main" id="{28610950-65AC-425A-B88A-CAC984447B2B}"/>
                </a:ext>
              </a:extLst>
            </p:cNvPr>
            <p:cNvSpPr>
              <a:spLocks noEditPoints="1"/>
            </p:cNvSpPr>
            <p:nvPr/>
          </p:nvSpPr>
          <p:spPr bwMode="auto">
            <a:xfrm>
              <a:off x="9145464" y="3339010"/>
              <a:ext cx="160203" cy="256245"/>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40" name="Freeform 5">
              <a:extLst>
                <a:ext uri="{FF2B5EF4-FFF2-40B4-BE49-F238E27FC236}">
                  <a16:creationId xmlns:a16="http://schemas.microsoft.com/office/drawing/2014/main" id="{A10DB75C-50D5-4B05-8A43-4DA157C802A6}"/>
                </a:ext>
              </a:extLst>
            </p:cNvPr>
            <p:cNvSpPr>
              <a:spLocks noEditPoints="1"/>
            </p:cNvSpPr>
            <p:nvPr/>
          </p:nvSpPr>
          <p:spPr bwMode="auto">
            <a:xfrm>
              <a:off x="8990831" y="4412673"/>
              <a:ext cx="110911" cy="17740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41" name="Freeform 5">
              <a:extLst>
                <a:ext uri="{FF2B5EF4-FFF2-40B4-BE49-F238E27FC236}">
                  <a16:creationId xmlns:a16="http://schemas.microsoft.com/office/drawing/2014/main" id="{70468DB1-D89D-464E-80A2-7C8F3B210E4B}"/>
                </a:ext>
              </a:extLst>
            </p:cNvPr>
            <p:cNvSpPr>
              <a:spLocks noEditPoints="1"/>
            </p:cNvSpPr>
            <p:nvPr/>
          </p:nvSpPr>
          <p:spPr bwMode="auto">
            <a:xfrm>
              <a:off x="10470867" y="3908990"/>
              <a:ext cx="134744" cy="215523"/>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42" name="Freeform 5">
              <a:extLst>
                <a:ext uri="{FF2B5EF4-FFF2-40B4-BE49-F238E27FC236}">
                  <a16:creationId xmlns:a16="http://schemas.microsoft.com/office/drawing/2014/main" id="{766CC729-5672-4B35-AD6C-8CD05CA87943}"/>
                </a:ext>
              </a:extLst>
            </p:cNvPr>
            <p:cNvSpPr>
              <a:spLocks noEditPoints="1"/>
            </p:cNvSpPr>
            <p:nvPr/>
          </p:nvSpPr>
          <p:spPr bwMode="auto">
            <a:xfrm>
              <a:off x="9781877" y="2700631"/>
              <a:ext cx="171846" cy="274867"/>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43" name="Freeform 5">
              <a:extLst>
                <a:ext uri="{FF2B5EF4-FFF2-40B4-BE49-F238E27FC236}">
                  <a16:creationId xmlns:a16="http://schemas.microsoft.com/office/drawing/2014/main" id="{94AA7244-A049-4AAE-A3DA-8854D7194F19}"/>
                </a:ext>
              </a:extLst>
            </p:cNvPr>
            <p:cNvSpPr>
              <a:spLocks noEditPoints="1"/>
            </p:cNvSpPr>
            <p:nvPr/>
          </p:nvSpPr>
          <p:spPr bwMode="auto">
            <a:xfrm>
              <a:off x="8987219" y="3865404"/>
              <a:ext cx="133591" cy="213678"/>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44" name="Freeform 5">
              <a:extLst>
                <a:ext uri="{FF2B5EF4-FFF2-40B4-BE49-F238E27FC236}">
                  <a16:creationId xmlns:a16="http://schemas.microsoft.com/office/drawing/2014/main" id="{90AD083E-65A3-4596-BCFB-F5F715FA3F71}"/>
                </a:ext>
              </a:extLst>
            </p:cNvPr>
            <p:cNvSpPr>
              <a:spLocks noEditPoints="1"/>
            </p:cNvSpPr>
            <p:nvPr/>
          </p:nvSpPr>
          <p:spPr bwMode="auto">
            <a:xfrm>
              <a:off x="10282619" y="4355261"/>
              <a:ext cx="133591" cy="213678"/>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45" name="Freeform 5">
              <a:extLst>
                <a:ext uri="{FF2B5EF4-FFF2-40B4-BE49-F238E27FC236}">
                  <a16:creationId xmlns:a16="http://schemas.microsoft.com/office/drawing/2014/main" id="{DE95CE94-0CB1-4F69-8827-CE09B0D7B06A}"/>
                </a:ext>
              </a:extLst>
            </p:cNvPr>
            <p:cNvSpPr>
              <a:spLocks noEditPoints="1"/>
            </p:cNvSpPr>
            <p:nvPr/>
          </p:nvSpPr>
          <p:spPr bwMode="auto">
            <a:xfrm>
              <a:off x="9220948" y="2297411"/>
              <a:ext cx="214813" cy="343593"/>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46" name="Freeform 5">
              <a:extLst>
                <a:ext uri="{FF2B5EF4-FFF2-40B4-BE49-F238E27FC236}">
                  <a16:creationId xmlns:a16="http://schemas.microsoft.com/office/drawing/2014/main" id="{7E0F3814-58CD-4FE2-A2D4-93EE77A5BB5A}"/>
                </a:ext>
              </a:extLst>
            </p:cNvPr>
            <p:cNvSpPr>
              <a:spLocks noEditPoints="1"/>
            </p:cNvSpPr>
            <p:nvPr/>
          </p:nvSpPr>
          <p:spPr bwMode="auto">
            <a:xfrm>
              <a:off x="9346431" y="2990273"/>
              <a:ext cx="110911" cy="17740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sp>
          <p:nvSpPr>
            <p:cNvPr id="47" name="Freeform 5">
              <a:extLst>
                <a:ext uri="{FF2B5EF4-FFF2-40B4-BE49-F238E27FC236}">
                  <a16:creationId xmlns:a16="http://schemas.microsoft.com/office/drawing/2014/main" id="{2F2EAECF-AA83-4775-80C4-58752D56D62A}"/>
                </a:ext>
              </a:extLst>
            </p:cNvPr>
            <p:cNvSpPr>
              <a:spLocks noEditPoints="1"/>
            </p:cNvSpPr>
            <p:nvPr/>
          </p:nvSpPr>
          <p:spPr bwMode="auto">
            <a:xfrm>
              <a:off x="9994131" y="4488873"/>
              <a:ext cx="110911" cy="17740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tx1"/>
            </a:solidFill>
            <a:ln w="12700" cap="flat">
              <a:no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Semilight"/>
              </a:endParaRPr>
            </a:p>
          </p:txBody>
        </p:sp>
      </p:grpSp>
      <p:sp>
        <p:nvSpPr>
          <p:cNvPr id="25" name="Rectangle 24">
            <a:extLst>
              <a:ext uri="{FF2B5EF4-FFF2-40B4-BE49-F238E27FC236}">
                <a16:creationId xmlns:a16="http://schemas.microsoft.com/office/drawing/2014/main" id="{BDD3C919-441F-F14F-85EE-35283941D980}"/>
              </a:ext>
            </a:extLst>
          </p:cNvPr>
          <p:cNvSpPr/>
          <p:nvPr/>
        </p:nvSpPr>
        <p:spPr bwMode="auto">
          <a:xfrm>
            <a:off x="863" y="487"/>
            <a:ext cx="6768664"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Text Placeholder 2">
            <a:extLst>
              <a:ext uri="{FF2B5EF4-FFF2-40B4-BE49-F238E27FC236}">
                <a16:creationId xmlns:a16="http://schemas.microsoft.com/office/drawing/2014/main" id="{A2755DD5-07D7-CD4E-B1A3-3325FC2E7D3A}"/>
              </a:ext>
            </a:extLst>
          </p:cNvPr>
          <p:cNvSpPr txBox="1">
            <a:spLocks/>
          </p:cNvSpPr>
          <p:nvPr/>
        </p:nvSpPr>
        <p:spPr>
          <a:xfrm>
            <a:off x="582901" y="1740888"/>
            <a:ext cx="5363472" cy="429670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8870" indent="-288870" defTabSz="932563">
              <a:spcAft>
                <a:spcPts val="600"/>
              </a:spcAft>
              <a:buFont typeface="Arial" panose="020B0604020202020204" pitchFamily="34" charset="0"/>
              <a:buChar char="•"/>
            </a:pPr>
            <a:r>
              <a:rPr lang="en-US" sz="2200">
                <a:solidFill>
                  <a:prstClr val="white"/>
                </a:solidFill>
              </a:rPr>
              <a:t>Azure Cosmos DB offers a comprehensive suite of SLAs including industry-leading 99.999% availability worldwide</a:t>
            </a:r>
          </a:p>
          <a:p>
            <a:pPr marL="288870" indent="-288870" defTabSz="932563">
              <a:spcAft>
                <a:spcPts val="600"/>
              </a:spcAft>
              <a:buFont typeface="Arial" panose="020B0604020202020204" pitchFamily="34" charset="0"/>
              <a:buChar char="•"/>
            </a:pPr>
            <a:r>
              <a:rPr lang="en-US" sz="2200">
                <a:solidFill>
                  <a:prstClr val="white"/>
                </a:solidFill>
              </a:rPr>
              <a:t>Azure Cosmos DB delivers zero downtime with 0 RPO</a:t>
            </a:r>
          </a:p>
          <a:p>
            <a:pPr marL="288870" indent="-288870" defTabSz="932563">
              <a:spcAft>
                <a:spcPts val="600"/>
              </a:spcAft>
              <a:buFont typeface="Arial" panose="020B0604020202020204" pitchFamily="34" charset="0"/>
              <a:buChar char="•"/>
            </a:pPr>
            <a:r>
              <a:rPr lang="en-US" sz="2200">
                <a:solidFill>
                  <a:prstClr val="white"/>
                </a:solidFill>
              </a:rPr>
              <a:t>Turnkey multi-master writes enabled by a click of a button</a:t>
            </a:r>
          </a:p>
          <a:p>
            <a:pPr marL="288870" indent="-288870" defTabSz="932563">
              <a:spcAft>
                <a:spcPts val="600"/>
              </a:spcAft>
              <a:buFont typeface="Arial" panose="020B0604020202020204" pitchFamily="34" charset="0"/>
              <a:buChar char="•"/>
            </a:pPr>
            <a:r>
              <a:rPr lang="en-US" sz="2200">
                <a:solidFill>
                  <a:prstClr val="white"/>
                </a:solidFill>
              </a:rPr>
              <a:t>Enjoy enterprise-grade end-to-end encryption and self-managed keys</a:t>
            </a:r>
          </a:p>
          <a:p>
            <a:pPr marL="288870" indent="-288870" defTabSz="932563">
              <a:spcAft>
                <a:spcPts val="600"/>
              </a:spcAft>
              <a:buFont typeface="Arial" panose="020B0604020202020204" pitchFamily="34" charset="0"/>
              <a:buChar char="•"/>
            </a:pPr>
            <a:r>
              <a:rPr lang="en-US" sz="2200">
                <a:solidFill>
                  <a:prstClr val="white"/>
                </a:solidFill>
              </a:rPr>
              <a:t>Role-based access control keeps your data safe and offers fine-tuned control</a:t>
            </a:r>
          </a:p>
        </p:txBody>
      </p:sp>
      <p:sp>
        <p:nvSpPr>
          <p:cNvPr id="53" name="Title 1">
            <a:extLst>
              <a:ext uri="{FF2B5EF4-FFF2-40B4-BE49-F238E27FC236}">
                <a16:creationId xmlns:a16="http://schemas.microsoft.com/office/drawing/2014/main" id="{14D088B4-B0F7-2E4B-B558-8404B4B00AD5}"/>
              </a:ext>
            </a:extLst>
          </p:cNvPr>
          <p:cNvSpPr txBox="1">
            <a:spLocks/>
          </p:cNvSpPr>
          <p:nvPr/>
        </p:nvSpPr>
        <p:spPr>
          <a:xfrm>
            <a:off x="589045" y="815008"/>
            <a:ext cx="6005649"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a:solidFill>
                  <a:srgbClr val="50E6FF"/>
                </a:solidFill>
                <a:latin typeface="Segoe UI Semibold"/>
              </a:rPr>
              <a:t>Mission-critical ready </a:t>
            </a:r>
          </a:p>
        </p:txBody>
      </p:sp>
      <p:grpSp>
        <p:nvGrpSpPr>
          <p:cNvPr id="54" name="Group 163">
            <a:extLst>
              <a:ext uri="{FF2B5EF4-FFF2-40B4-BE49-F238E27FC236}">
                <a16:creationId xmlns:a16="http://schemas.microsoft.com/office/drawing/2014/main" id="{62352C71-5162-9A45-AF03-FC08251D910B}"/>
              </a:ext>
            </a:extLst>
          </p:cNvPr>
          <p:cNvGrpSpPr>
            <a:grpSpLocks noChangeAspect="1"/>
          </p:cNvGrpSpPr>
          <p:nvPr/>
        </p:nvGrpSpPr>
        <p:grpSpPr bwMode="auto">
          <a:xfrm>
            <a:off x="668256" y="220365"/>
            <a:ext cx="357137" cy="495230"/>
            <a:chOff x="1057" y="2781"/>
            <a:chExt cx="225" cy="312"/>
          </a:xfrm>
        </p:grpSpPr>
        <p:sp>
          <p:nvSpPr>
            <p:cNvPr id="55" name="AutoShape 162">
              <a:extLst>
                <a:ext uri="{FF2B5EF4-FFF2-40B4-BE49-F238E27FC236}">
                  <a16:creationId xmlns:a16="http://schemas.microsoft.com/office/drawing/2014/main" id="{43A02169-EAF4-084B-A705-0A207B14D32A}"/>
                </a:ext>
              </a:extLst>
            </p:cNvPr>
            <p:cNvSpPr>
              <a:spLocks noChangeAspect="1" noChangeArrowheads="1" noTextEdit="1"/>
            </p:cNvSpPr>
            <p:nvPr/>
          </p:nvSpPr>
          <p:spPr bwMode="auto">
            <a:xfrm>
              <a:off x="1057" y="2781"/>
              <a:ext cx="225"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56" name="Oval 164">
              <a:extLst>
                <a:ext uri="{FF2B5EF4-FFF2-40B4-BE49-F238E27FC236}">
                  <a16:creationId xmlns:a16="http://schemas.microsoft.com/office/drawing/2014/main" id="{6E9B1939-17B8-9049-BD2D-F146902CB1F3}"/>
                </a:ext>
              </a:extLst>
            </p:cNvPr>
            <p:cNvSpPr>
              <a:spLocks noChangeArrowheads="1"/>
            </p:cNvSpPr>
            <p:nvPr/>
          </p:nvSpPr>
          <p:spPr bwMode="auto">
            <a:xfrm>
              <a:off x="1057" y="2781"/>
              <a:ext cx="225" cy="22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57" name="Freeform 165">
              <a:extLst>
                <a:ext uri="{FF2B5EF4-FFF2-40B4-BE49-F238E27FC236}">
                  <a16:creationId xmlns:a16="http://schemas.microsoft.com/office/drawing/2014/main" id="{7A2DBF1E-E375-6D42-AC3E-6880846CA5E1}"/>
                </a:ext>
              </a:extLst>
            </p:cNvPr>
            <p:cNvSpPr>
              <a:spLocks/>
            </p:cNvSpPr>
            <p:nvPr/>
          </p:nvSpPr>
          <p:spPr bwMode="auto">
            <a:xfrm>
              <a:off x="1121" y="3064"/>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99"/>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99"/>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58" name="Freeform 166">
              <a:extLst>
                <a:ext uri="{FF2B5EF4-FFF2-40B4-BE49-F238E27FC236}">
                  <a16:creationId xmlns:a16="http://schemas.microsoft.com/office/drawing/2014/main" id="{19CEB441-4210-0247-8E37-4D3AE32E13C5}"/>
                </a:ext>
              </a:extLst>
            </p:cNvPr>
            <p:cNvSpPr>
              <a:spLocks/>
            </p:cNvSpPr>
            <p:nvPr/>
          </p:nvSpPr>
          <p:spPr bwMode="auto">
            <a:xfrm>
              <a:off x="1121" y="3025"/>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100"/>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100"/>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59" name="Freeform 167">
              <a:extLst>
                <a:ext uri="{FF2B5EF4-FFF2-40B4-BE49-F238E27FC236}">
                  <a16:creationId xmlns:a16="http://schemas.microsoft.com/office/drawing/2014/main" id="{80D5B54D-A24F-2F45-B335-DD1F9FD37852}"/>
                </a:ext>
              </a:extLst>
            </p:cNvPr>
            <p:cNvSpPr>
              <a:spLocks/>
            </p:cNvSpPr>
            <p:nvPr/>
          </p:nvSpPr>
          <p:spPr bwMode="auto">
            <a:xfrm>
              <a:off x="1121" y="2976"/>
              <a:ext cx="98" cy="39"/>
            </a:xfrm>
            <a:custGeom>
              <a:avLst/>
              <a:gdLst>
                <a:gd name="T0" fmla="*/ 341 w 427"/>
                <a:gd name="T1" fmla="*/ 171 h 171"/>
                <a:gd name="T2" fmla="*/ 85 w 427"/>
                <a:gd name="T3" fmla="*/ 171 h 171"/>
                <a:gd name="T4" fmla="*/ 0 w 427"/>
                <a:gd name="T5" fmla="*/ 85 h 171"/>
                <a:gd name="T6" fmla="*/ 0 w 427"/>
                <a:gd name="T7" fmla="*/ 85 h 171"/>
                <a:gd name="T8" fmla="*/ 85 w 427"/>
                <a:gd name="T9" fmla="*/ 0 h 171"/>
                <a:gd name="T10" fmla="*/ 341 w 427"/>
                <a:gd name="T11" fmla="*/ 0 h 171"/>
                <a:gd name="T12" fmla="*/ 427 w 427"/>
                <a:gd name="T13" fmla="*/ 85 h 171"/>
                <a:gd name="T14" fmla="*/ 427 w 427"/>
                <a:gd name="T15" fmla="*/ 85 h 171"/>
                <a:gd name="T16" fmla="*/ 341 w 427"/>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7" y="38"/>
                    <a:pt x="427" y="85"/>
                  </a:cubicBezTo>
                  <a:cubicBezTo>
                    <a:pt x="427" y="85"/>
                    <a:pt x="427" y="85"/>
                    <a:pt x="427" y="85"/>
                  </a:cubicBezTo>
                  <a:cubicBezTo>
                    <a:pt x="427" y="133"/>
                    <a:pt x="388" y="171"/>
                    <a:pt x="341" y="17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spTree>
    <p:extLst>
      <p:ext uri="{BB962C8B-B14F-4D97-AF65-F5344CB8AC3E}">
        <p14:creationId xmlns:p14="http://schemas.microsoft.com/office/powerpoint/2010/main" val="5274944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83">
            <a:extLst>
              <a:ext uri="{FF2B5EF4-FFF2-40B4-BE49-F238E27FC236}">
                <a16:creationId xmlns:a16="http://schemas.microsoft.com/office/drawing/2014/main" id="{333458E4-6441-49FB-9449-D314C115151C}"/>
              </a:ext>
            </a:extLst>
          </p:cNvPr>
          <p:cNvSpPr/>
          <p:nvPr/>
        </p:nvSpPr>
        <p:spPr>
          <a:xfrm>
            <a:off x="7429851" y="1923818"/>
            <a:ext cx="2275557" cy="2385814"/>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2700" cap="sq" cmpd="sng" algn="ctr">
            <a:solidFill>
              <a:schemeClr val="tx1"/>
            </a:solidFill>
            <a:prstDash val="dash"/>
            <a:round/>
            <a:headEnd type="none" w="med" len="med"/>
            <a:tailEnd type="triangle" w="med" len="med"/>
          </a:ln>
          <a:effectLst/>
        </p:spPr>
        <p:txBody>
          <a:bodyPr rtlCol="0" anchor="ctr"/>
          <a:lstStyle/>
          <a:p>
            <a:pPr algn="ctr" defTabSz="914225">
              <a:defRPr/>
            </a:pPr>
            <a:endParaRPr lang="en-US" kern="0">
              <a:solidFill>
                <a:prstClr val="white"/>
              </a:solidFill>
              <a:latin typeface="Segoe UI"/>
            </a:endParaRPr>
          </a:p>
        </p:txBody>
      </p:sp>
      <p:sp>
        <p:nvSpPr>
          <p:cNvPr id="10" name="Freeform: Shape 83">
            <a:extLst>
              <a:ext uri="{FF2B5EF4-FFF2-40B4-BE49-F238E27FC236}">
                <a16:creationId xmlns:a16="http://schemas.microsoft.com/office/drawing/2014/main" id="{502666BA-7C0B-4E9F-8569-34B9CC124FD4}"/>
              </a:ext>
            </a:extLst>
          </p:cNvPr>
          <p:cNvSpPr/>
          <p:nvPr/>
        </p:nvSpPr>
        <p:spPr>
          <a:xfrm>
            <a:off x="7430311" y="3207764"/>
            <a:ext cx="4053896" cy="1513135"/>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2700" cap="sq" cmpd="sng" algn="ctr">
            <a:solidFill>
              <a:schemeClr val="tx1"/>
            </a:solidFill>
            <a:prstDash val="dash"/>
            <a:round/>
            <a:headEnd type="none" w="med" len="med"/>
            <a:tailEnd type="triangle" w="med" len="med"/>
          </a:ln>
          <a:effectLst/>
        </p:spPr>
        <p:txBody>
          <a:bodyPr rtlCol="0" anchor="ctr"/>
          <a:lstStyle/>
          <a:p>
            <a:pPr algn="ctr" defTabSz="914225">
              <a:defRPr/>
            </a:pPr>
            <a:endParaRPr lang="en-US" kern="0">
              <a:solidFill>
                <a:prstClr val="white"/>
              </a:solidFill>
              <a:latin typeface="Segoe UI"/>
            </a:endParaRPr>
          </a:p>
        </p:txBody>
      </p:sp>
      <p:sp>
        <p:nvSpPr>
          <p:cNvPr id="14" name="Freeform: Shape 13">
            <a:extLst>
              <a:ext uri="{FF2B5EF4-FFF2-40B4-BE49-F238E27FC236}">
                <a16:creationId xmlns:a16="http://schemas.microsoft.com/office/drawing/2014/main" id="{D2AC1B99-69FC-4522-ADF9-32FC3AA590E8}"/>
              </a:ext>
            </a:extLst>
          </p:cNvPr>
          <p:cNvSpPr/>
          <p:nvPr/>
        </p:nvSpPr>
        <p:spPr bwMode="auto">
          <a:xfrm>
            <a:off x="9476021" y="1572760"/>
            <a:ext cx="477554" cy="241498"/>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361FBBA4-17FF-4829-B7DF-10E6C7958652}"/>
              </a:ext>
            </a:extLst>
          </p:cNvPr>
          <p:cNvSpPr/>
          <p:nvPr/>
        </p:nvSpPr>
        <p:spPr bwMode="auto">
          <a:xfrm>
            <a:off x="11335302" y="2903795"/>
            <a:ext cx="477554" cy="241498"/>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8922B724-41A3-E94D-9BE7-0D6955E4FDD3}"/>
              </a:ext>
            </a:extLst>
          </p:cNvPr>
          <p:cNvSpPr/>
          <p:nvPr/>
        </p:nvSpPr>
        <p:spPr bwMode="auto">
          <a:xfrm>
            <a:off x="863" y="487"/>
            <a:ext cx="6768664"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Text Placeholder 2">
            <a:extLst>
              <a:ext uri="{FF2B5EF4-FFF2-40B4-BE49-F238E27FC236}">
                <a16:creationId xmlns:a16="http://schemas.microsoft.com/office/drawing/2014/main" id="{C614D430-92A3-D644-BA19-CA0530657ABC}"/>
              </a:ext>
            </a:extLst>
          </p:cNvPr>
          <p:cNvSpPr txBox="1">
            <a:spLocks/>
          </p:cNvSpPr>
          <p:nvPr/>
        </p:nvSpPr>
        <p:spPr>
          <a:xfrm>
            <a:off x="589044" y="2121672"/>
            <a:ext cx="5912066" cy="374498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8870" indent="-288870" defTabSz="932563">
              <a:spcAft>
                <a:spcPts val="600"/>
              </a:spcAft>
              <a:buFont typeface="Arial" panose="020B0604020202020204" pitchFamily="34" charset="0"/>
              <a:buChar char="•"/>
            </a:pPr>
            <a:r>
              <a:rPr lang="en-US" sz="2200">
                <a:solidFill>
                  <a:prstClr val="white"/>
                </a:solidFill>
              </a:rPr>
              <a:t>Fully managed database service automatically handles all maintenance and updates </a:t>
            </a:r>
          </a:p>
          <a:p>
            <a:pPr marL="288870" indent="-288870" defTabSz="932563">
              <a:spcAft>
                <a:spcPts val="600"/>
              </a:spcAft>
              <a:buFont typeface="Arial" panose="020B0604020202020204" pitchFamily="34" charset="0"/>
              <a:buChar char="•"/>
            </a:pPr>
            <a:r>
              <a:rPr lang="en-US" sz="2200">
                <a:solidFill>
                  <a:prstClr val="white"/>
                </a:solidFill>
              </a:rPr>
              <a:t>Cost-effective serverless database operations model responds to app patterns and is ideally suited for small, spiky workloads with moderate performance requirements</a:t>
            </a:r>
          </a:p>
          <a:p>
            <a:pPr marL="288870" indent="-288870" defTabSz="932563">
              <a:spcAft>
                <a:spcPts val="600"/>
              </a:spcAft>
              <a:buFont typeface="Arial" panose="020B0604020202020204" pitchFamily="34" charset="0"/>
              <a:buChar char="•"/>
            </a:pPr>
            <a:r>
              <a:rPr lang="en-US" sz="2200" err="1">
                <a:solidFill>
                  <a:prstClr val="white"/>
                </a:solidFill>
              </a:rPr>
              <a:t>Autoscale</a:t>
            </a:r>
            <a:r>
              <a:rPr lang="en-US" sz="2200">
                <a:solidFill>
                  <a:prstClr val="white"/>
                </a:solidFill>
              </a:rPr>
              <a:t> provisioned throughput offers high-performance guarantees for critical workloads while eliminating the need for direct throughput management</a:t>
            </a:r>
          </a:p>
        </p:txBody>
      </p:sp>
      <p:sp>
        <p:nvSpPr>
          <p:cNvPr id="54" name="Title 1">
            <a:extLst>
              <a:ext uri="{FF2B5EF4-FFF2-40B4-BE49-F238E27FC236}">
                <a16:creationId xmlns:a16="http://schemas.microsoft.com/office/drawing/2014/main" id="{DA81DDBF-1CAE-4A41-953F-E27458998979}"/>
              </a:ext>
            </a:extLst>
          </p:cNvPr>
          <p:cNvSpPr txBox="1">
            <a:spLocks/>
          </p:cNvSpPr>
          <p:nvPr/>
        </p:nvSpPr>
        <p:spPr>
          <a:xfrm>
            <a:off x="589045" y="815008"/>
            <a:ext cx="6005649"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a:solidFill>
                  <a:srgbClr val="50E6FF"/>
                </a:solidFill>
                <a:latin typeface="Segoe UI Semibold"/>
              </a:rPr>
              <a:t>Fully managed service </a:t>
            </a:r>
          </a:p>
        </p:txBody>
      </p:sp>
      <p:grpSp>
        <p:nvGrpSpPr>
          <p:cNvPr id="64" name="Group 235">
            <a:extLst>
              <a:ext uri="{FF2B5EF4-FFF2-40B4-BE49-F238E27FC236}">
                <a16:creationId xmlns:a16="http://schemas.microsoft.com/office/drawing/2014/main" id="{DA34744D-EF3B-E642-BD7F-3EA783678835}"/>
              </a:ext>
            </a:extLst>
          </p:cNvPr>
          <p:cNvGrpSpPr>
            <a:grpSpLocks noChangeAspect="1"/>
          </p:cNvGrpSpPr>
          <p:nvPr/>
        </p:nvGrpSpPr>
        <p:grpSpPr bwMode="auto">
          <a:xfrm>
            <a:off x="622224" y="220364"/>
            <a:ext cx="449200" cy="495230"/>
            <a:chOff x="5822" y="2781"/>
            <a:chExt cx="283" cy="312"/>
          </a:xfrm>
        </p:grpSpPr>
        <p:sp>
          <p:nvSpPr>
            <p:cNvPr id="65" name="AutoShape 234">
              <a:extLst>
                <a:ext uri="{FF2B5EF4-FFF2-40B4-BE49-F238E27FC236}">
                  <a16:creationId xmlns:a16="http://schemas.microsoft.com/office/drawing/2014/main" id="{D93902F1-B366-0F43-BA89-102F2BC7243C}"/>
                </a:ext>
              </a:extLst>
            </p:cNvPr>
            <p:cNvSpPr>
              <a:spLocks noChangeAspect="1" noChangeArrowheads="1" noTextEdit="1"/>
            </p:cNvSpPr>
            <p:nvPr/>
          </p:nvSpPr>
          <p:spPr bwMode="auto">
            <a:xfrm>
              <a:off x="5822" y="2781"/>
              <a:ext cx="283"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6" name="Rectangle 236">
              <a:extLst>
                <a:ext uri="{FF2B5EF4-FFF2-40B4-BE49-F238E27FC236}">
                  <a16:creationId xmlns:a16="http://schemas.microsoft.com/office/drawing/2014/main" id="{0F940115-0945-CB41-A41A-98DD4B809A0C}"/>
                </a:ext>
              </a:extLst>
            </p:cNvPr>
            <p:cNvSpPr>
              <a:spLocks noChangeArrowheads="1"/>
            </p:cNvSpPr>
            <p:nvPr/>
          </p:nvSpPr>
          <p:spPr bwMode="auto">
            <a:xfrm>
              <a:off x="5849" y="2781"/>
              <a:ext cx="5" cy="3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7" name="Rectangle 237">
              <a:extLst>
                <a:ext uri="{FF2B5EF4-FFF2-40B4-BE49-F238E27FC236}">
                  <a16:creationId xmlns:a16="http://schemas.microsoft.com/office/drawing/2014/main" id="{2F1E6417-73B2-1246-A373-BC02D70E00A5}"/>
                </a:ext>
              </a:extLst>
            </p:cNvPr>
            <p:cNvSpPr>
              <a:spLocks noChangeArrowheads="1"/>
            </p:cNvSpPr>
            <p:nvPr/>
          </p:nvSpPr>
          <p:spPr bwMode="auto">
            <a:xfrm>
              <a:off x="5961" y="2781"/>
              <a:ext cx="5" cy="3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8" name="Rectangle 238">
              <a:extLst>
                <a:ext uri="{FF2B5EF4-FFF2-40B4-BE49-F238E27FC236}">
                  <a16:creationId xmlns:a16="http://schemas.microsoft.com/office/drawing/2014/main" id="{B9886B37-E91A-9446-835A-93D92C5D6025}"/>
                </a:ext>
              </a:extLst>
            </p:cNvPr>
            <p:cNvSpPr>
              <a:spLocks noChangeArrowheads="1"/>
            </p:cNvSpPr>
            <p:nvPr/>
          </p:nvSpPr>
          <p:spPr bwMode="auto">
            <a:xfrm>
              <a:off x="6073" y="2781"/>
              <a:ext cx="5" cy="3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69" name="Oval 239">
              <a:extLst>
                <a:ext uri="{FF2B5EF4-FFF2-40B4-BE49-F238E27FC236}">
                  <a16:creationId xmlns:a16="http://schemas.microsoft.com/office/drawing/2014/main" id="{52DE2BE3-2118-0641-A277-C0CB29E5AA18}"/>
                </a:ext>
              </a:extLst>
            </p:cNvPr>
            <p:cNvSpPr>
              <a:spLocks noChangeArrowheads="1"/>
            </p:cNvSpPr>
            <p:nvPr/>
          </p:nvSpPr>
          <p:spPr bwMode="auto">
            <a:xfrm>
              <a:off x="5822" y="2844"/>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0" name="Oval 240">
              <a:extLst>
                <a:ext uri="{FF2B5EF4-FFF2-40B4-BE49-F238E27FC236}">
                  <a16:creationId xmlns:a16="http://schemas.microsoft.com/office/drawing/2014/main" id="{A30A7462-05FB-FD4D-B7A2-0C3F510E47AA}"/>
                </a:ext>
              </a:extLst>
            </p:cNvPr>
            <p:cNvSpPr>
              <a:spLocks noChangeArrowheads="1"/>
            </p:cNvSpPr>
            <p:nvPr/>
          </p:nvSpPr>
          <p:spPr bwMode="auto">
            <a:xfrm>
              <a:off x="5934" y="2979"/>
              <a:ext cx="59" cy="59"/>
            </a:xfrm>
            <a:prstGeom prst="ellipse">
              <a:avLst/>
            </a:prstGeom>
            <a:solidFill>
              <a:srgbClr val="F8F7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71" name="Oval 241">
              <a:extLst>
                <a:ext uri="{FF2B5EF4-FFF2-40B4-BE49-F238E27FC236}">
                  <a16:creationId xmlns:a16="http://schemas.microsoft.com/office/drawing/2014/main" id="{D1B0377B-B5D3-8F44-97EA-99A829C06C30}"/>
                </a:ext>
              </a:extLst>
            </p:cNvPr>
            <p:cNvSpPr>
              <a:spLocks noChangeArrowheads="1"/>
            </p:cNvSpPr>
            <p:nvPr/>
          </p:nvSpPr>
          <p:spPr bwMode="auto">
            <a:xfrm>
              <a:off x="6046" y="2830"/>
              <a:ext cx="59" cy="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grpSp>
        <p:nvGrpSpPr>
          <p:cNvPr id="73" name="Group 72">
            <a:extLst>
              <a:ext uri="{FF2B5EF4-FFF2-40B4-BE49-F238E27FC236}">
                <a16:creationId xmlns:a16="http://schemas.microsoft.com/office/drawing/2014/main" id="{4FA98AF3-3540-824C-BEA3-B7C62B0BD7CD}"/>
              </a:ext>
            </a:extLst>
          </p:cNvPr>
          <p:cNvGrpSpPr/>
          <p:nvPr/>
        </p:nvGrpSpPr>
        <p:grpSpPr>
          <a:xfrm>
            <a:off x="8903224" y="4194852"/>
            <a:ext cx="568723" cy="445932"/>
            <a:chOff x="9206058" y="5213486"/>
            <a:chExt cx="568804" cy="445995"/>
          </a:xfrm>
        </p:grpSpPr>
        <p:sp>
          <p:nvSpPr>
            <p:cNvPr id="72" name="Freeform 5">
              <a:extLst>
                <a:ext uri="{FF2B5EF4-FFF2-40B4-BE49-F238E27FC236}">
                  <a16:creationId xmlns:a16="http://schemas.microsoft.com/office/drawing/2014/main" id="{71003320-AB94-124F-A716-8E294FA625AC}"/>
                </a:ext>
              </a:extLst>
            </p:cNvPr>
            <p:cNvSpPr>
              <a:spLocks/>
            </p:cNvSpPr>
            <p:nvPr/>
          </p:nvSpPr>
          <p:spPr bwMode="auto">
            <a:xfrm>
              <a:off x="9206058" y="5213486"/>
              <a:ext cx="568804" cy="445995"/>
            </a:xfrm>
            <a:custGeom>
              <a:avLst/>
              <a:gdLst>
                <a:gd name="T0" fmla="*/ 0 w 426"/>
                <a:gd name="T1" fmla="*/ 12 h 333"/>
                <a:gd name="T2" fmla="*/ 0 w 426"/>
                <a:gd name="T3" fmla="*/ 12 h 333"/>
                <a:gd name="T4" fmla="*/ 0 w 426"/>
                <a:gd name="T5" fmla="*/ 255 h 333"/>
                <a:gd name="T6" fmla="*/ 12 w 426"/>
                <a:gd name="T7" fmla="*/ 268 h 333"/>
                <a:gd name="T8" fmla="*/ 195 w 426"/>
                <a:gd name="T9" fmla="*/ 268 h 333"/>
                <a:gd name="T10" fmla="*/ 195 w 426"/>
                <a:gd name="T11" fmla="*/ 306 h 333"/>
                <a:gd name="T12" fmla="*/ 130 w 426"/>
                <a:gd name="T13" fmla="*/ 306 h 333"/>
                <a:gd name="T14" fmla="*/ 130 w 426"/>
                <a:gd name="T15" fmla="*/ 333 h 333"/>
                <a:gd name="T16" fmla="*/ 293 w 426"/>
                <a:gd name="T17" fmla="*/ 333 h 333"/>
                <a:gd name="T18" fmla="*/ 293 w 426"/>
                <a:gd name="T19" fmla="*/ 306 h 333"/>
                <a:gd name="T20" fmla="*/ 228 w 426"/>
                <a:gd name="T21" fmla="*/ 306 h 333"/>
                <a:gd name="T22" fmla="*/ 228 w 426"/>
                <a:gd name="T23" fmla="*/ 268 h 333"/>
                <a:gd name="T24" fmla="*/ 413 w 426"/>
                <a:gd name="T25" fmla="*/ 268 h 333"/>
                <a:gd name="T26" fmla="*/ 426 w 426"/>
                <a:gd name="T27" fmla="*/ 255 h 333"/>
                <a:gd name="T28" fmla="*/ 426 w 426"/>
                <a:gd name="T29" fmla="*/ 12 h 333"/>
                <a:gd name="T30" fmla="*/ 413 w 426"/>
                <a:gd name="T31" fmla="*/ 0 h 333"/>
                <a:gd name="T32" fmla="*/ 12 w 426"/>
                <a:gd name="T33" fmla="*/ 0 h 333"/>
                <a:gd name="T34" fmla="*/ 0 w 426"/>
                <a:gd name="T35" fmla="*/ 1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6" h="333">
                  <a:moveTo>
                    <a:pt x="0" y="12"/>
                  </a:moveTo>
                  <a:lnTo>
                    <a:pt x="0" y="12"/>
                  </a:lnTo>
                  <a:lnTo>
                    <a:pt x="0" y="255"/>
                  </a:lnTo>
                  <a:cubicBezTo>
                    <a:pt x="0" y="262"/>
                    <a:pt x="5" y="268"/>
                    <a:pt x="12" y="268"/>
                  </a:cubicBezTo>
                  <a:lnTo>
                    <a:pt x="195" y="268"/>
                  </a:lnTo>
                  <a:lnTo>
                    <a:pt x="195" y="306"/>
                  </a:lnTo>
                  <a:lnTo>
                    <a:pt x="130" y="306"/>
                  </a:lnTo>
                  <a:lnTo>
                    <a:pt x="130" y="333"/>
                  </a:lnTo>
                  <a:lnTo>
                    <a:pt x="293" y="333"/>
                  </a:lnTo>
                  <a:lnTo>
                    <a:pt x="293" y="306"/>
                  </a:lnTo>
                  <a:lnTo>
                    <a:pt x="228" y="306"/>
                  </a:lnTo>
                  <a:lnTo>
                    <a:pt x="228" y="268"/>
                  </a:lnTo>
                  <a:lnTo>
                    <a:pt x="413" y="268"/>
                  </a:lnTo>
                  <a:cubicBezTo>
                    <a:pt x="420" y="268"/>
                    <a:pt x="426" y="262"/>
                    <a:pt x="426" y="255"/>
                  </a:cubicBezTo>
                  <a:lnTo>
                    <a:pt x="426" y="12"/>
                  </a:lnTo>
                  <a:cubicBezTo>
                    <a:pt x="426" y="5"/>
                    <a:pt x="420" y="0"/>
                    <a:pt x="413" y="0"/>
                  </a:cubicBezTo>
                  <a:lnTo>
                    <a:pt x="12" y="0"/>
                  </a:lnTo>
                  <a:cubicBezTo>
                    <a:pt x="5" y="0"/>
                    <a:pt x="0" y="5"/>
                    <a:pt x="0" y="12"/>
                  </a:cubicBez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nvGrpSpPr>
            <p:cNvPr id="29" name="Group 28">
              <a:extLst>
                <a:ext uri="{FF2B5EF4-FFF2-40B4-BE49-F238E27FC236}">
                  <a16:creationId xmlns:a16="http://schemas.microsoft.com/office/drawing/2014/main" id="{BCB58C8F-614D-461D-AD39-64E29B2C1FB6}"/>
                </a:ext>
              </a:extLst>
            </p:cNvPr>
            <p:cNvGrpSpPr/>
            <p:nvPr/>
          </p:nvGrpSpPr>
          <p:grpSpPr>
            <a:xfrm rot="5400000">
              <a:off x="9376265" y="5257690"/>
              <a:ext cx="219148" cy="274777"/>
              <a:chOff x="13906501" y="3886200"/>
              <a:chExt cx="619125" cy="776287"/>
            </a:xfrm>
          </p:grpSpPr>
          <p:sp>
            <p:nvSpPr>
              <p:cNvPr id="30" name="Freeform 17">
                <a:extLst>
                  <a:ext uri="{FF2B5EF4-FFF2-40B4-BE49-F238E27FC236}">
                    <a16:creationId xmlns:a16="http://schemas.microsoft.com/office/drawing/2014/main" id="{EE41B100-CE85-4C93-8EEE-F4E01C385E8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31" name="Freeform 18">
                <a:extLst>
                  <a:ext uri="{FF2B5EF4-FFF2-40B4-BE49-F238E27FC236}">
                    <a16:creationId xmlns:a16="http://schemas.microsoft.com/office/drawing/2014/main" id="{3CA8BA4D-B983-4059-B6E7-19BBF6650CA4}"/>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32" name="Line 19">
                <a:extLst>
                  <a:ext uri="{FF2B5EF4-FFF2-40B4-BE49-F238E27FC236}">
                    <a16:creationId xmlns:a16="http://schemas.microsoft.com/office/drawing/2014/main" id="{BCF2CCDA-E536-4457-8B36-05CC43E71623}"/>
                  </a:ext>
                </a:extLst>
              </p:cNvPr>
              <p:cNvSpPr>
                <a:spLocks noChangeShapeType="1"/>
              </p:cNvSpPr>
              <p:nvPr/>
            </p:nvSpPr>
            <p:spPr bwMode="auto">
              <a:xfrm>
                <a:off x="14216063" y="4221163"/>
                <a:ext cx="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33" name="Freeform 20">
                <a:extLst>
                  <a:ext uri="{FF2B5EF4-FFF2-40B4-BE49-F238E27FC236}">
                    <a16:creationId xmlns:a16="http://schemas.microsoft.com/office/drawing/2014/main" id="{4B958471-8183-43ED-9DC8-39098E367CA1}"/>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34" name="Line 21">
                <a:extLst>
                  <a:ext uri="{FF2B5EF4-FFF2-40B4-BE49-F238E27FC236}">
                    <a16:creationId xmlns:a16="http://schemas.microsoft.com/office/drawing/2014/main" id="{80159F80-2EEE-4ACA-A51B-42308E6F3987}"/>
                  </a:ext>
                </a:extLst>
              </p:cNvPr>
              <p:cNvSpPr>
                <a:spLocks noChangeShapeType="1"/>
              </p:cNvSpPr>
              <p:nvPr/>
            </p:nvSpPr>
            <p:spPr bwMode="auto">
              <a:xfrm>
                <a:off x="14216063" y="3967163"/>
                <a:ext cx="3810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35" name="Freeform 22">
                <a:extLst>
                  <a:ext uri="{FF2B5EF4-FFF2-40B4-BE49-F238E27FC236}">
                    <a16:creationId xmlns:a16="http://schemas.microsoft.com/office/drawing/2014/main" id="{AFA2DBEB-AC44-4BE2-8639-1F5D9F32A8AC}"/>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36" name="Line 23">
                <a:extLst>
                  <a:ext uri="{FF2B5EF4-FFF2-40B4-BE49-F238E27FC236}">
                    <a16:creationId xmlns:a16="http://schemas.microsoft.com/office/drawing/2014/main" id="{6DEB7996-5345-49A4-89F4-7F28188E9339}"/>
                  </a:ext>
                </a:extLst>
              </p:cNvPr>
              <p:cNvSpPr>
                <a:spLocks noChangeShapeType="1"/>
              </p:cNvSpPr>
              <p:nvPr/>
            </p:nvSpPr>
            <p:spPr bwMode="auto">
              <a:xfrm flipH="1">
                <a:off x="14177963" y="4581525"/>
                <a:ext cx="3810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grpSp>
      </p:grpSp>
      <p:grpSp>
        <p:nvGrpSpPr>
          <p:cNvPr id="74" name="Group 73">
            <a:extLst>
              <a:ext uri="{FF2B5EF4-FFF2-40B4-BE49-F238E27FC236}">
                <a16:creationId xmlns:a16="http://schemas.microsoft.com/office/drawing/2014/main" id="{1A46C9DA-D06C-C94E-AED1-005D409216F6}"/>
              </a:ext>
            </a:extLst>
          </p:cNvPr>
          <p:cNvGrpSpPr/>
          <p:nvPr/>
        </p:nvGrpSpPr>
        <p:grpSpPr>
          <a:xfrm>
            <a:off x="7249162" y="4613601"/>
            <a:ext cx="427727" cy="335377"/>
            <a:chOff x="9206058" y="5213486"/>
            <a:chExt cx="568804" cy="445995"/>
          </a:xfrm>
        </p:grpSpPr>
        <p:sp>
          <p:nvSpPr>
            <p:cNvPr id="75" name="Freeform 5">
              <a:extLst>
                <a:ext uri="{FF2B5EF4-FFF2-40B4-BE49-F238E27FC236}">
                  <a16:creationId xmlns:a16="http://schemas.microsoft.com/office/drawing/2014/main" id="{690D65E0-5B56-F44E-8C4F-4B7359D973DA}"/>
                </a:ext>
              </a:extLst>
            </p:cNvPr>
            <p:cNvSpPr>
              <a:spLocks/>
            </p:cNvSpPr>
            <p:nvPr/>
          </p:nvSpPr>
          <p:spPr bwMode="auto">
            <a:xfrm>
              <a:off x="9206058" y="5213486"/>
              <a:ext cx="568804" cy="445995"/>
            </a:xfrm>
            <a:custGeom>
              <a:avLst/>
              <a:gdLst>
                <a:gd name="T0" fmla="*/ 0 w 426"/>
                <a:gd name="T1" fmla="*/ 12 h 333"/>
                <a:gd name="T2" fmla="*/ 0 w 426"/>
                <a:gd name="T3" fmla="*/ 12 h 333"/>
                <a:gd name="T4" fmla="*/ 0 w 426"/>
                <a:gd name="T5" fmla="*/ 255 h 333"/>
                <a:gd name="T6" fmla="*/ 12 w 426"/>
                <a:gd name="T7" fmla="*/ 268 h 333"/>
                <a:gd name="T8" fmla="*/ 195 w 426"/>
                <a:gd name="T9" fmla="*/ 268 h 333"/>
                <a:gd name="T10" fmla="*/ 195 w 426"/>
                <a:gd name="T11" fmla="*/ 306 h 333"/>
                <a:gd name="T12" fmla="*/ 130 w 426"/>
                <a:gd name="T13" fmla="*/ 306 h 333"/>
                <a:gd name="T14" fmla="*/ 130 w 426"/>
                <a:gd name="T15" fmla="*/ 333 h 333"/>
                <a:gd name="T16" fmla="*/ 293 w 426"/>
                <a:gd name="T17" fmla="*/ 333 h 333"/>
                <a:gd name="T18" fmla="*/ 293 w 426"/>
                <a:gd name="T19" fmla="*/ 306 h 333"/>
                <a:gd name="T20" fmla="*/ 228 w 426"/>
                <a:gd name="T21" fmla="*/ 306 h 333"/>
                <a:gd name="T22" fmla="*/ 228 w 426"/>
                <a:gd name="T23" fmla="*/ 268 h 333"/>
                <a:gd name="T24" fmla="*/ 413 w 426"/>
                <a:gd name="T25" fmla="*/ 268 h 333"/>
                <a:gd name="T26" fmla="*/ 426 w 426"/>
                <a:gd name="T27" fmla="*/ 255 h 333"/>
                <a:gd name="T28" fmla="*/ 426 w 426"/>
                <a:gd name="T29" fmla="*/ 12 h 333"/>
                <a:gd name="T30" fmla="*/ 413 w 426"/>
                <a:gd name="T31" fmla="*/ 0 h 333"/>
                <a:gd name="T32" fmla="*/ 12 w 426"/>
                <a:gd name="T33" fmla="*/ 0 h 333"/>
                <a:gd name="T34" fmla="*/ 0 w 426"/>
                <a:gd name="T35" fmla="*/ 1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6" h="333">
                  <a:moveTo>
                    <a:pt x="0" y="12"/>
                  </a:moveTo>
                  <a:lnTo>
                    <a:pt x="0" y="12"/>
                  </a:lnTo>
                  <a:lnTo>
                    <a:pt x="0" y="255"/>
                  </a:lnTo>
                  <a:cubicBezTo>
                    <a:pt x="0" y="262"/>
                    <a:pt x="5" y="268"/>
                    <a:pt x="12" y="268"/>
                  </a:cubicBezTo>
                  <a:lnTo>
                    <a:pt x="195" y="268"/>
                  </a:lnTo>
                  <a:lnTo>
                    <a:pt x="195" y="306"/>
                  </a:lnTo>
                  <a:lnTo>
                    <a:pt x="130" y="306"/>
                  </a:lnTo>
                  <a:lnTo>
                    <a:pt x="130" y="333"/>
                  </a:lnTo>
                  <a:lnTo>
                    <a:pt x="293" y="333"/>
                  </a:lnTo>
                  <a:lnTo>
                    <a:pt x="293" y="306"/>
                  </a:lnTo>
                  <a:lnTo>
                    <a:pt x="228" y="306"/>
                  </a:lnTo>
                  <a:lnTo>
                    <a:pt x="228" y="268"/>
                  </a:lnTo>
                  <a:lnTo>
                    <a:pt x="413" y="268"/>
                  </a:lnTo>
                  <a:cubicBezTo>
                    <a:pt x="420" y="268"/>
                    <a:pt x="426" y="262"/>
                    <a:pt x="426" y="255"/>
                  </a:cubicBezTo>
                  <a:lnTo>
                    <a:pt x="426" y="12"/>
                  </a:lnTo>
                  <a:cubicBezTo>
                    <a:pt x="426" y="5"/>
                    <a:pt x="420" y="0"/>
                    <a:pt x="413" y="0"/>
                  </a:cubicBezTo>
                  <a:lnTo>
                    <a:pt x="12" y="0"/>
                  </a:lnTo>
                  <a:cubicBezTo>
                    <a:pt x="5" y="0"/>
                    <a:pt x="0" y="5"/>
                    <a:pt x="0" y="12"/>
                  </a:cubicBez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nvGrpSpPr>
            <p:cNvPr id="76" name="Group 75">
              <a:extLst>
                <a:ext uri="{FF2B5EF4-FFF2-40B4-BE49-F238E27FC236}">
                  <a16:creationId xmlns:a16="http://schemas.microsoft.com/office/drawing/2014/main" id="{69BD2EEF-4C95-9444-98F3-55C4848A80E0}"/>
                </a:ext>
              </a:extLst>
            </p:cNvPr>
            <p:cNvGrpSpPr/>
            <p:nvPr/>
          </p:nvGrpSpPr>
          <p:grpSpPr>
            <a:xfrm rot="5400000">
              <a:off x="9376265" y="5257690"/>
              <a:ext cx="219148" cy="274777"/>
              <a:chOff x="13906501" y="3886200"/>
              <a:chExt cx="619125" cy="776287"/>
            </a:xfrm>
          </p:grpSpPr>
          <p:sp>
            <p:nvSpPr>
              <p:cNvPr id="77" name="Freeform 17">
                <a:extLst>
                  <a:ext uri="{FF2B5EF4-FFF2-40B4-BE49-F238E27FC236}">
                    <a16:creationId xmlns:a16="http://schemas.microsoft.com/office/drawing/2014/main" id="{8C44345E-4D46-0941-A16A-86706C94B92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78" name="Freeform 18">
                <a:extLst>
                  <a:ext uri="{FF2B5EF4-FFF2-40B4-BE49-F238E27FC236}">
                    <a16:creationId xmlns:a16="http://schemas.microsoft.com/office/drawing/2014/main" id="{F88C10A8-5B74-8047-AF7D-115DCE6AE172}"/>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79" name="Line 19">
                <a:extLst>
                  <a:ext uri="{FF2B5EF4-FFF2-40B4-BE49-F238E27FC236}">
                    <a16:creationId xmlns:a16="http://schemas.microsoft.com/office/drawing/2014/main" id="{BECBA717-2322-FE4A-A6A2-3E937AF378AA}"/>
                  </a:ext>
                </a:extLst>
              </p:cNvPr>
              <p:cNvSpPr>
                <a:spLocks noChangeShapeType="1"/>
              </p:cNvSpPr>
              <p:nvPr/>
            </p:nvSpPr>
            <p:spPr bwMode="auto">
              <a:xfrm>
                <a:off x="14216063" y="4221163"/>
                <a:ext cx="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80" name="Freeform 20">
                <a:extLst>
                  <a:ext uri="{FF2B5EF4-FFF2-40B4-BE49-F238E27FC236}">
                    <a16:creationId xmlns:a16="http://schemas.microsoft.com/office/drawing/2014/main" id="{6A18E64E-20CE-3847-8558-C5FD8444FA99}"/>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81" name="Line 21">
                <a:extLst>
                  <a:ext uri="{FF2B5EF4-FFF2-40B4-BE49-F238E27FC236}">
                    <a16:creationId xmlns:a16="http://schemas.microsoft.com/office/drawing/2014/main" id="{EA4CB944-BAD8-5744-B2AE-ACD3AB297C5D}"/>
                  </a:ext>
                </a:extLst>
              </p:cNvPr>
              <p:cNvSpPr>
                <a:spLocks noChangeShapeType="1"/>
              </p:cNvSpPr>
              <p:nvPr/>
            </p:nvSpPr>
            <p:spPr bwMode="auto">
              <a:xfrm>
                <a:off x="14216063" y="3967163"/>
                <a:ext cx="3810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82" name="Freeform 22">
                <a:extLst>
                  <a:ext uri="{FF2B5EF4-FFF2-40B4-BE49-F238E27FC236}">
                    <a16:creationId xmlns:a16="http://schemas.microsoft.com/office/drawing/2014/main" id="{BDB2B7BA-06C2-124C-AE27-9C3D50706DFB}"/>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83" name="Line 23">
                <a:extLst>
                  <a:ext uri="{FF2B5EF4-FFF2-40B4-BE49-F238E27FC236}">
                    <a16:creationId xmlns:a16="http://schemas.microsoft.com/office/drawing/2014/main" id="{9F21A9A5-FB8C-5043-B9BD-31A34E953C3E}"/>
                  </a:ext>
                </a:extLst>
              </p:cNvPr>
              <p:cNvSpPr>
                <a:spLocks noChangeShapeType="1"/>
              </p:cNvSpPr>
              <p:nvPr/>
            </p:nvSpPr>
            <p:spPr bwMode="auto">
              <a:xfrm flipH="1">
                <a:off x="14177963" y="4581525"/>
                <a:ext cx="3810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grpSp>
      </p:grpSp>
      <p:grpSp>
        <p:nvGrpSpPr>
          <p:cNvPr id="84" name="Group 83">
            <a:extLst>
              <a:ext uri="{FF2B5EF4-FFF2-40B4-BE49-F238E27FC236}">
                <a16:creationId xmlns:a16="http://schemas.microsoft.com/office/drawing/2014/main" id="{34AAE703-69BB-454F-83A6-D4DAC12049E1}"/>
              </a:ext>
            </a:extLst>
          </p:cNvPr>
          <p:cNvGrpSpPr/>
          <p:nvPr/>
        </p:nvGrpSpPr>
        <p:grpSpPr>
          <a:xfrm>
            <a:off x="10560536" y="3352592"/>
            <a:ext cx="731098" cy="573251"/>
            <a:chOff x="9206058" y="5213486"/>
            <a:chExt cx="568804" cy="445995"/>
          </a:xfrm>
        </p:grpSpPr>
        <p:sp>
          <p:nvSpPr>
            <p:cNvPr id="85" name="Freeform 5">
              <a:extLst>
                <a:ext uri="{FF2B5EF4-FFF2-40B4-BE49-F238E27FC236}">
                  <a16:creationId xmlns:a16="http://schemas.microsoft.com/office/drawing/2014/main" id="{28B399F0-6490-B849-BEAA-48DBC9AACBCE}"/>
                </a:ext>
              </a:extLst>
            </p:cNvPr>
            <p:cNvSpPr>
              <a:spLocks/>
            </p:cNvSpPr>
            <p:nvPr/>
          </p:nvSpPr>
          <p:spPr bwMode="auto">
            <a:xfrm>
              <a:off x="9206058" y="5213486"/>
              <a:ext cx="568804" cy="445995"/>
            </a:xfrm>
            <a:custGeom>
              <a:avLst/>
              <a:gdLst>
                <a:gd name="T0" fmla="*/ 0 w 426"/>
                <a:gd name="T1" fmla="*/ 12 h 333"/>
                <a:gd name="T2" fmla="*/ 0 w 426"/>
                <a:gd name="T3" fmla="*/ 12 h 333"/>
                <a:gd name="T4" fmla="*/ 0 w 426"/>
                <a:gd name="T5" fmla="*/ 255 h 333"/>
                <a:gd name="T6" fmla="*/ 12 w 426"/>
                <a:gd name="T7" fmla="*/ 268 h 333"/>
                <a:gd name="T8" fmla="*/ 195 w 426"/>
                <a:gd name="T9" fmla="*/ 268 h 333"/>
                <a:gd name="T10" fmla="*/ 195 w 426"/>
                <a:gd name="T11" fmla="*/ 306 h 333"/>
                <a:gd name="T12" fmla="*/ 130 w 426"/>
                <a:gd name="T13" fmla="*/ 306 h 333"/>
                <a:gd name="T14" fmla="*/ 130 w 426"/>
                <a:gd name="T15" fmla="*/ 333 h 333"/>
                <a:gd name="T16" fmla="*/ 293 w 426"/>
                <a:gd name="T17" fmla="*/ 333 h 333"/>
                <a:gd name="T18" fmla="*/ 293 w 426"/>
                <a:gd name="T19" fmla="*/ 306 h 333"/>
                <a:gd name="T20" fmla="*/ 228 w 426"/>
                <a:gd name="T21" fmla="*/ 306 h 333"/>
                <a:gd name="T22" fmla="*/ 228 w 426"/>
                <a:gd name="T23" fmla="*/ 268 h 333"/>
                <a:gd name="T24" fmla="*/ 413 w 426"/>
                <a:gd name="T25" fmla="*/ 268 h 333"/>
                <a:gd name="T26" fmla="*/ 426 w 426"/>
                <a:gd name="T27" fmla="*/ 255 h 333"/>
                <a:gd name="T28" fmla="*/ 426 w 426"/>
                <a:gd name="T29" fmla="*/ 12 h 333"/>
                <a:gd name="T30" fmla="*/ 413 w 426"/>
                <a:gd name="T31" fmla="*/ 0 h 333"/>
                <a:gd name="T32" fmla="*/ 12 w 426"/>
                <a:gd name="T33" fmla="*/ 0 h 333"/>
                <a:gd name="T34" fmla="*/ 0 w 426"/>
                <a:gd name="T35" fmla="*/ 1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6" h="333">
                  <a:moveTo>
                    <a:pt x="0" y="12"/>
                  </a:moveTo>
                  <a:lnTo>
                    <a:pt x="0" y="12"/>
                  </a:lnTo>
                  <a:lnTo>
                    <a:pt x="0" y="255"/>
                  </a:lnTo>
                  <a:cubicBezTo>
                    <a:pt x="0" y="262"/>
                    <a:pt x="5" y="268"/>
                    <a:pt x="12" y="268"/>
                  </a:cubicBezTo>
                  <a:lnTo>
                    <a:pt x="195" y="268"/>
                  </a:lnTo>
                  <a:lnTo>
                    <a:pt x="195" y="306"/>
                  </a:lnTo>
                  <a:lnTo>
                    <a:pt x="130" y="306"/>
                  </a:lnTo>
                  <a:lnTo>
                    <a:pt x="130" y="333"/>
                  </a:lnTo>
                  <a:lnTo>
                    <a:pt x="293" y="333"/>
                  </a:lnTo>
                  <a:lnTo>
                    <a:pt x="293" y="306"/>
                  </a:lnTo>
                  <a:lnTo>
                    <a:pt x="228" y="306"/>
                  </a:lnTo>
                  <a:lnTo>
                    <a:pt x="228" y="268"/>
                  </a:lnTo>
                  <a:lnTo>
                    <a:pt x="413" y="268"/>
                  </a:lnTo>
                  <a:cubicBezTo>
                    <a:pt x="420" y="268"/>
                    <a:pt x="426" y="262"/>
                    <a:pt x="426" y="255"/>
                  </a:cubicBezTo>
                  <a:lnTo>
                    <a:pt x="426" y="12"/>
                  </a:lnTo>
                  <a:cubicBezTo>
                    <a:pt x="426" y="5"/>
                    <a:pt x="420" y="0"/>
                    <a:pt x="413" y="0"/>
                  </a:cubicBezTo>
                  <a:lnTo>
                    <a:pt x="12" y="0"/>
                  </a:lnTo>
                  <a:cubicBezTo>
                    <a:pt x="5" y="0"/>
                    <a:pt x="0" y="5"/>
                    <a:pt x="0" y="12"/>
                  </a:cubicBez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grpSp>
          <p:nvGrpSpPr>
            <p:cNvPr id="86" name="Group 85">
              <a:extLst>
                <a:ext uri="{FF2B5EF4-FFF2-40B4-BE49-F238E27FC236}">
                  <a16:creationId xmlns:a16="http://schemas.microsoft.com/office/drawing/2014/main" id="{AE56CEB8-85CB-0D42-9728-E1EF9AE4149D}"/>
                </a:ext>
              </a:extLst>
            </p:cNvPr>
            <p:cNvGrpSpPr/>
            <p:nvPr/>
          </p:nvGrpSpPr>
          <p:grpSpPr>
            <a:xfrm rot="5400000">
              <a:off x="9376265" y="5257690"/>
              <a:ext cx="219148" cy="274777"/>
              <a:chOff x="13906501" y="3886200"/>
              <a:chExt cx="619125" cy="776287"/>
            </a:xfrm>
          </p:grpSpPr>
          <p:sp>
            <p:nvSpPr>
              <p:cNvPr id="87" name="Freeform 17">
                <a:extLst>
                  <a:ext uri="{FF2B5EF4-FFF2-40B4-BE49-F238E27FC236}">
                    <a16:creationId xmlns:a16="http://schemas.microsoft.com/office/drawing/2014/main" id="{FA870EA7-715C-614F-AAAE-4781F4FD7AD1}"/>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88" name="Freeform 18">
                <a:extLst>
                  <a:ext uri="{FF2B5EF4-FFF2-40B4-BE49-F238E27FC236}">
                    <a16:creationId xmlns:a16="http://schemas.microsoft.com/office/drawing/2014/main" id="{E59E265E-455A-7F47-8CC0-2180D2241E51}"/>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89" name="Line 19">
                <a:extLst>
                  <a:ext uri="{FF2B5EF4-FFF2-40B4-BE49-F238E27FC236}">
                    <a16:creationId xmlns:a16="http://schemas.microsoft.com/office/drawing/2014/main" id="{084064E7-DB8D-794B-9E7F-EFC1312A4470}"/>
                  </a:ext>
                </a:extLst>
              </p:cNvPr>
              <p:cNvSpPr>
                <a:spLocks noChangeShapeType="1"/>
              </p:cNvSpPr>
              <p:nvPr/>
            </p:nvSpPr>
            <p:spPr bwMode="auto">
              <a:xfrm>
                <a:off x="14216063" y="4221163"/>
                <a:ext cx="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90" name="Freeform 20">
                <a:extLst>
                  <a:ext uri="{FF2B5EF4-FFF2-40B4-BE49-F238E27FC236}">
                    <a16:creationId xmlns:a16="http://schemas.microsoft.com/office/drawing/2014/main" id="{7670752B-6322-BD4D-A7D8-EE98ACC69EB4}"/>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91" name="Line 21">
                <a:extLst>
                  <a:ext uri="{FF2B5EF4-FFF2-40B4-BE49-F238E27FC236}">
                    <a16:creationId xmlns:a16="http://schemas.microsoft.com/office/drawing/2014/main" id="{4005BBAA-DEF3-CB42-909B-2BA0EB8E184C}"/>
                  </a:ext>
                </a:extLst>
              </p:cNvPr>
              <p:cNvSpPr>
                <a:spLocks noChangeShapeType="1"/>
              </p:cNvSpPr>
              <p:nvPr/>
            </p:nvSpPr>
            <p:spPr bwMode="auto">
              <a:xfrm>
                <a:off x="14216063" y="3967163"/>
                <a:ext cx="3810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92" name="Freeform 22">
                <a:extLst>
                  <a:ext uri="{FF2B5EF4-FFF2-40B4-BE49-F238E27FC236}">
                    <a16:creationId xmlns:a16="http://schemas.microsoft.com/office/drawing/2014/main" id="{09E9C0C1-032D-964D-BD0D-9808A1AD70EF}"/>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sp>
            <p:nvSpPr>
              <p:cNvPr id="93" name="Line 23">
                <a:extLst>
                  <a:ext uri="{FF2B5EF4-FFF2-40B4-BE49-F238E27FC236}">
                    <a16:creationId xmlns:a16="http://schemas.microsoft.com/office/drawing/2014/main" id="{64895FBB-BDA3-C642-A9FB-4E42D3E8B564}"/>
                  </a:ext>
                </a:extLst>
              </p:cNvPr>
              <p:cNvSpPr>
                <a:spLocks noChangeShapeType="1"/>
              </p:cNvSpPr>
              <p:nvPr/>
            </p:nvSpPr>
            <p:spPr bwMode="auto">
              <a:xfrm flipH="1">
                <a:off x="14177963" y="4581525"/>
                <a:ext cx="3810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kern="0">
                  <a:solidFill>
                    <a:srgbClr val="FFFFFF"/>
                  </a:solidFill>
                  <a:latin typeface="Segoe UI"/>
                  <a:ea typeface="MS PGothic" panose="020B0600070205080204" pitchFamily="34" charset="-128"/>
                </a:endParaRPr>
              </a:p>
            </p:txBody>
          </p:sp>
        </p:grpSp>
      </p:grpSp>
      <p:sp>
        <p:nvSpPr>
          <p:cNvPr id="94" name="Freeform 182">
            <a:extLst>
              <a:ext uri="{FF2B5EF4-FFF2-40B4-BE49-F238E27FC236}">
                <a16:creationId xmlns:a16="http://schemas.microsoft.com/office/drawing/2014/main" id="{C6117DB4-206D-7449-9AC4-16BEE1173017}"/>
              </a:ext>
            </a:extLst>
          </p:cNvPr>
          <p:cNvSpPr/>
          <p:nvPr/>
        </p:nvSpPr>
        <p:spPr bwMode="auto">
          <a:xfrm>
            <a:off x="7316996" y="4067696"/>
            <a:ext cx="296836" cy="38070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Freeform 182">
            <a:extLst>
              <a:ext uri="{FF2B5EF4-FFF2-40B4-BE49-F238E27FC236}">
                <a16:creationId xmlns:a16="http://schemas.microsoft.com/office/drawing/2014/main" id="{0FE3FC87-BB53-B24F-820D-3DD24DA5B643}"/>
              </a:ext>
            </a:extLst>
          </p:cNvPr>
          <p:cNvSpPr/>
          <p:nvPr/>
        </p:nvSpPr>
        <p:spPr bwMode="auto">
          <a:xfrm>
            <a:off x="8462121" y="3338453"/>
            <a:ext cx="358990" cy="46042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Freeform 182">
            <a:extLst>
              <a:ext uri="{FF2B5EF4-FFF2-40B4-BE49-F238E27FC236}">
                <a16:creationId xmlns:a16="http://schemas.microsoft.com/office/drawing/2014/main" id="{4D882924-0390-474A-BEF8-FA77FE626BFC}"/>
              </a:ext>
            </a:extLst>
          </p:cNvPr>
          <p:cNvSpPr/>
          <p:nvPr/>
        </p:nvSpPr>
        <p:spPr bwMode="auto">
          <a:xfrm>
            <a:off x="9059745" y="2210572"/>
            <a:ext cx="540503" cy="69322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69554668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636D5-70F6-4430-9AB4-58351904A860}"/>
              </a:ext>
            </a:extLst>
          </p:cNvPr>
          <p:cNvSpPr>
            <a:spLocks noGrp="1"/>
          </p:cNvSpPr>
          <p:nvPr>
            <p:ph type="title"/>
          </p:nvPr>
        </p:nvSpPr>
        <p:spPr>
          <a:xfrm>
            <a:off x="586739" y="274829"/>
            <a:ext cx="11018520" cy="430887"/>
          </a:xfrm>
        </p:spPr>
        <p:txBody>
          <a:bodyPr>
            <a:normAutofit fontScale="90000"/>
          </a:bodyPr>
          <a:lstStyle/>
          <a:p>
            <a:r>
              <a:rPr lang="en-US" b="1" dirty="0">
                <a:latin typeface="Segoe UI Semilight" panose="020B0402040204020203" pitchFamily="34" charset="0"/>
                <a:cs typeface="Segoe UI Semilight" panose="020B0402040204020203" pitchFamily="34" charset="0"/>
              </a:rPr>
              <a:t>What is Cosmos DB : Database for Modern Applications</a:t>
            </a:r>
          </a:p>
        </p:txBody>
      </p:sp>
      <p:sp>
        <p:nvSpPr>
          <p:cNvPr id="3" name="TextBox 2">
            <a:extLst>
              <a:ext uri="{FF2B5EF4-FFF2-40B4-BE49-F238E27FC236}">
                <a16:creationId xmlns:a16="http://schemas.microsoft.com/office/drawing/2014/main" id="{6C0579D5-4F6A-464E-BECB-6A2B641AEEE4}"/>
              </a:ext>
            </a:extLst>
          </p:cNvPr>
          <p:cNvSpPr txBox="1"/>
          <p:nvPr/>
        </p:nvSpPr>
        <p:spPr>
          <a:xfrm>
            <a:off x="417870" y="830827"/>
            <a:ext cx="11187389" cy="587545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Today : Operational Need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High throughput ingestion of both batch &amp; streaming feeds with real-time indexing​</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Global distribution with active-active setup​</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Apps to perform real-time CRUD &amp; queries using developer friendly NoSQL API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No downtime elastic scaling of database​</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SLAs for latency/availability/consistency/throughput</a:t>
            </a:r>
            <a:r>
              <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Cosmos DB =  Above +</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Globally distributed</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Multiple Model</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Multi Master</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Lowest Latency for read/write</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Developer friendly</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Auto Indexed ;  </a:t>
            </a:r>
            <a:r>
              <a:rPr kumimoji="0" lang="en-US" sz="18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AutoScale</a:t>
            </a: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Ring Zero </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NoSQL LOB Apps</a:t>
            </a: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rPr>
              <a:t>Enterprise </a:t>
            </a:r>
            <a:r>
              <a:rPr lang="en-US"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Grade Security principals</a:t>
            </a: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342900" marR="0" lvl="0" indent="-34290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Data Security including BYOK</a:t>
            </a: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4" name="Rectangle 3">
            <a:extLst>
              <a:ext uri="{FF2B5EF4-FFF2-40B4-BE49-F238E27FC236}">
                <a16:creationId xmlns:a16="http://schemas.microsoft.com/office/drawing/2014/main" id="{5D194679-B3B9-4463-9DBE-247615268AD9}"/>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9650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790802" y="2760618"/>
            <a:ext cx="10852769" cy="1057166"/>
          </a:xfrm>
        </p:spPr>
        <p:txBody>
          <a:bodyPr/>
          <a:lstStyle/>
          <a:p>
            <a:pPr algn="ctr"/>
            <a:r>
              <a:rPr lang="en-US" sz="4800" dirty="0">
                <a:solidFill>
                  <a:schemeClr val="bg1"/>
                </a:solidFill>
                <a:latin typeface="+mn-lt"/>
              </a:rPr>
              <a:t>Use Cases and Customer References</a:t>
            </a:r>
            <a:br>
              <a:rPr lang="en-US" sz="4800" dirty="0">
                <a:solidFill>
                  <a:schemeClr val="bg1"/>
                </a:solidFill>
                <a:latin typeface="+mn-lt"/>
              </a:rPr>
            </a:br>
            <a:endParaRPr lang="en-US" sz="4800" dirty="0">
              <a:solidFill>
                <a:schemeClr val="bg1"/>
              </a:solidFill>
              <a:latin typeface="+mn-lt"/>
            </a:endParaRPr>
          </a:p>
        </p:txBody>
      </p:sp>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2" name="Title 9">
            <a:extLst>
              <a:ext uri="{FF2B5EF4-FFF2-40B4-BE49-F238E27FC236}">
                <a16:creationId xmlns:a16="http://schemas.microsoft.com/office/drawing/2014/main" id="{68410213-2627-4B9C-924C-292F66A11726}"/>
              </a:ext>
            </a:extLst>
          </p:cNvPr>
          <p:cNvSpPr txBox="1">
            <a:spLocks/>
          </p:cNvSpPr>
          <p:nvPr/>
        </p:nvSpPr>
        <p:spPr>
          <a:xfrm>
            <a:off x="1339231" y="2964736"/>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dirty="0">
              <a:ln w="3175">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6F16C0E7-CD90-4716-9AB3-712BD732A74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B28A260A-40D2-40A1-A914-FE8EB22356CF}"/>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75950773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4F8A8A-10A6-451B-9686-607E87D52F95}"/>
              </a:ext>
            </a:extLst>
          </p:cNvPr>
          <p:cNvSpPr>
            <a:spLocks noGrp="1"/>
          </p:cNvSpPr>
          <p:nvPr>
            <p:ph type="body" sz="quarter" idx="10"/>
          </p:nvPr>
        </p:nvSpPr>
        <p:spPr>
          <a:xfrm>
            <a:off x="269241" y="1091296"/>
            <a:ext cx="11588462" cy="1334895"/>
          </a:xfrm>
        </p:spPr>
        <p:txBody>
          <a:bodyPr/>
          <a:lstStyle/>
          <a:p>
            <a:pPr marL="0" indent="0">
              <a:buNone/>
            </a:pPr>
            <a:r>
              <a:rPr lang="en-US" sz="1600" spc="50"/>
              <a:t>Azure Cosmos DB was built to support modern app patterns and use cases.</a:t>
            </a:r>
          </a:p>
          <a:p>
            <a:pPr marL="0" indent="0">
              <a:spcBef>
                <a:spcPts val="1000"/>
              </a:spcBef>
              <a:buNone/>
            </a:pPr>
            <a:r>
              <a:rPr lang="en-US" sz="1600" spc="50"/>
              <a:t>It enables industry-leading organizations to unlock the value of data, and respond to global customers and changing business dynamics in real-time.</a:t>
            </a:r>
          </a:p>
        </p:txBody>
      </p:sp>
      <p:sp>
        <p:nvSpPr>
          <p:cNvPr id="2" name="Title 1"/>
          <p:cNvSpPr>
            <a:spLocks noGrp="1"/>
          </p:cNvSpPr>
          <p:nvPr>
            <p:ph type="title"/>
          </p:nvPr>
        </p:nvSpPr>
        <p:spPr>
          <a:xfrm>
            <a:off x="269240" y="339389"/>
            <a:ext cx="11655840" cy="899665"/>
          </a:xfrm>
        </p:spPr>
        <p:txBody>
          <a:bodyPr>
            <a:noAutofit/>
          </a:bodyPr>
          <a:lstStyle/>
          <a:p>
            <a:pPr algn="l">
              <a:spcBef>
                <a:spcPts val="1000"/>
              </a:spcBef>
            </a:pPr>
            <a:r>
              <a:rPr lang="en-US"/>
              <a:t>Powering global solutions -  Use Cases</a:t>
            </a:r>
            <a:endParaRPr lang="en-US" sz="2400">
              <a:solidFill>
                <a:schemeClr val="accent1"/>
              </a:solidFill>
            </a:endParaRPr>
          </a:p>
        </p:txBody>
      </p:sp>
      <p:grpSp>
        <p:nvGrpSpPr>
          <p:cNvPr id="4" name="Group 3"/>
          <p:cNvGrpSpPr/>
          <p:nvPr/>
        </p:nvGrpSpPr>
        <p:grpSpPr>
          <a:xfrm>
            <a:off x="269239" y="2586561"/>
            <a:ext cx="1792849" cy="3790603"/>
            <a:chOff x="269239" y="2586561"/>
            <a:chExt cx="1792849" cy="3790603"/>
          </a:xfrm>
        </p:grpSpPr>
        <p:sp>
          <p:nvSpPr>
            <p:cNvPr id="6" name="Freeform: Shape 5">
              <a:extLst>
                <a:ext uri="{FF2B5EF4-FFF2-40B4-BE49-F238E27FC236}">
                  <a16:creationId xmlns:a16="http://schemas.microsoft.com/office/drawing/2014/main" id="{C8115A48-79FC-4BD4-8EBA-340A95E1E34F}"/>
                </a:ext>
              </a:extLst>
            </p:cNvPr>
            <p:cNvSpPr/>
            <p:nvPr/>
          </p:nvSpPr>
          <p:spPr>
            <a:xfrm>
              <a:off x="269239"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rgbClr val="F3F3F3"/>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920240" rIns="137160" bIns="182880" numCol="1" spcCol="1270" anchor="t" anchorCtr="0">
              <a:noAutofit/>
            </a:bodyPr>
            <a:lstStyle/>
            <a:p>
              <a:pPr marL="0" lvl="1" defTabSz="762000">
                <a:lnSpc>
                  <a:spcPct val="107000"/>
                </a:lnSpc>
                <a:spcAft>
                  <a:spcPts val="600"/>
                </a:spcAft>
                <a:buClr>
                  <a:schemeClr val="tx2"/>
                </a:buClr>
                <a:buSzPct val="90000"/>
              </a:pPr>
              <a:r>
                <a:rPr lang="en-US" sz="1200" b="1">
                  <a:solidFill>
                    <a:schemeClr val="tx2"/>
                  </a:solidFill>
                  <a:latin typeface="Segoe UI Semibold" charset="0"/>
                  <a:ea typeface="Segoe UI Semibold" charset="0"/>
                  <a:cs typeface="Segoe UI Semibold" charset="0"/>
                </a:rPr>
                <a:t>Data distributed and available globally </a:t>
              </a:r>
            </a:p>
            <a:p>
              <a:pPr marL="0" lvl="1" defTabSz="762000">
                <a:lnSpc>
                  <a:spcPct val="107000"/>
                </a:lnSpc>
                <a:spcAft>
                  <a:spcPts val="600"/>
                </a:spcAft>
                <a:buClr>
                  <a:schemeClr val="tx2"/>
                </a:buClr>
                <a:buSzPct val="90000"/>
              </a:pPr>
              <a:endParaRPr lang="en-US" sz="1200">
                <a:solidFill>
                  <a:schemeClr val="tx2"/>
                </a:solidFill>
                <a:latin typeface="Segoe UI Semilight" charset="0"/>
                <a:ea typeface="Segoe UI Semilight" charset="0"/>
                <a:cs typeface="Segoe UI Semilight" charset="0"/>
              </a:endParaRPr>
            </a:p>
          </p:txBody>
        </p:sp>
        <p:sp>
          <p:nvSpPr>
            <p:cNvPr id="14" name="globe_4">
              <a:extLst>
                <a:ext uri="{FF2B5EF4-FFF2-40B4-BE49-F238E27FC236}">
                  <a16:creationId xmlns:a16="http://schemas.microsoft.com/office/drawing/2014/main" id="{B2994CA9-887C-4872-A759-0E4589D05F08}"/>
                </a:ext>
              </a:extLst>
            </p:cNvPr>
            <p:cNvSpPr>
              <a:spLocks noChangeAspect="1" noEditPoints="1"/>
            </p:cNvSpPr>
            <p:nvPr/>
          </p:nvSpPr>
          <p:spPr bwMode="auto">
            <a:xfrm>
              <a:off x="789908" y="3087941"/>
              <a:ext cx="751510" cy="76094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2700"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Shape 5">
              <a:extLst>
                <a:ext uri="{FF2B5EF4-FFF2-40B4-BE49-F238E27FC236}">
                  <a16:creationId xmlns:a16="http://schemas.microsoft.com/office/drawing/2014/main" id="{C8115A48-79FC-4BD4-8EBA-340A95E1E34F}"/>
                </a:ext>
              </a:extLst>
            </p:cNvPr>
            <p:cNvSpPr/>
            <p:nvPr/>
          </p:nvSpPr>
          <p:spPr>
            <a:xfrm>
              <a:off x="269239"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82880" rIns="137160" bIns="182880" numCol="1" spcCol="1270" anchor="t" anchorCtr="0">
              <a:noAutofit/>
            </a:bodyPr>
            <a:lstStyle/>
            <a:p>
              <a:pPr marL="0" lvl="1" algn="l" defTabSz="711200">
                <a:lnSpc>
                  <a:spcPct val="90000"/>
                </a:lnSpc>
                <a:spcBef>
                  <a:spcPct val="0"/>
                </a:spcBef>
                <a:spcAft>
                  <a:spcPct val="15000"/>
                </a:spcAft>
              </a:pPr>
              <a:r>
                <a:rPr lang="en-US" sz="1200" kern="1200">
                  <a:solidFill>
                    <a:schemeClr val="tx1"/>
                  </a:solidFill>
                </a:rPr>
                <a:t>Puts data where your users are</a:t>
              </a:r>
            </a:p>
          </p:txBody>
        </p:sp>
      </p:grpSp>
      <p:grpSp>
        <p:nvGrpSpPr>
          <p:cNvPr id="12" name="Group 11"/>
          <p:cNvGrpSpPr/>
          <p:nvPr/>
        </p:nvGrpSpPr>
        <p:grpSpPr>
          <a:xfrm>
            <a:off x="2241374" y="2586561"/>
            <a:ext cx="1882491" cy="3790603"/>
            <a:chOff x="2241374" y="2586561"/>
            <a:chExt cx="1882491" cy="3790603"/>
          </a:xfrm>
        </p:grpSpPr>
        <p:sp>
          <p:nvSpPr>
            <p:cNvPr id="7" name="Freeform: Shape 6">
              <a:extLst>
                <a:ext uri="{FF2B5EF4-FFF2-40B4-BE49-F238E27FC236}">
                  <a16:creationId xmlns:a16="http://schemas.microsoft.com/office/drawing/2014/main" id="{7962018F-8E8A-4F6F-8456-9A50EA413A78}"/>
                </a:ext>
              </a:extLst>
            </p:cNvPr>
            <p:cNvSpPr/>
            <p:nvPr/>
          </p:nvSpPr>
          <p:spPr>
            <a:xfrm>
              <a:off x="2241374"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920240" rIns="137160" bIns="182880" numCol="1" spcCol="1270" anchor="t" anchorCtr="0">
              <a:noAutofit/>
            </a:bodyPr>
            <a:lstStyle/>
            <a:p>
              <a:pPr marL="0" lvl="1" defTabSz="762000">
                <a:lnSpc>
                  <a:spcPct val="107000"/>
                </a:lnSpc>
                <a:spcAft>
                  <a:spcPts val="600"/>
                </a:spcAft>
                <a:buClr>
                  <a:schemeClr val="tx2"/>
                </a:buClr>
                <a:buSzPct val="90000"/>
              </a:pPr>
              <a:r>
                <a:rPr lang="en-US" sz="1200" b="1">
                  <a:solidFill>
                    <a:schemeClr val="tx2"/>
                  </a:solidFill>
                  <a:latin typeface="Segoe UI Semibold" charset="0"/>
                  <a:ea typeface="Segoe UI Semibold" charset="0"/>
                  <a:cs typeface="Segoe UI Semibold" charset="0"/>
                </a:rPr>
                <a:t>Build real-time customer experiences</a:t>
              </a:r>
            </a:p>
            <a:p>
              <a:pPr marL="0" lvl="1" defTabSz="762000">
                <a:lnSpc>
                  <a:spcPct val="107000"/>
                </a:lnSpc>
                <a:spcAft>
                  <a:spcPts val="600"/>
                </a:spcAft>
                <a:buClr>
                  <a:schemeClr val="tx2"/>
                </a:buClr>
                <a:buSzPct val="90000"/>
              </a:pPr>
              <a:endParaRPr lang="en-US" sz="1200" b="1">
                <a:solidFill>
                  <a:schemeClr val="tx2"/>
                </a:solidFill>
                <a:latin typeface="Segoe UI Semibold" charset="0"/>
                <a:ea typeface="Segoe UI Semibold" charset="0"/>
                <a:cs typeface="Segoe UI Semibold" charset="0"/>
              </a:endParaRPr>
            </a:p>
          </p:txBody>
        </p:sp>
        <p:grpSp>
          <p:nvGrpSpPr>
            <p:cNvPr id="19" name="Group 14">
              <a:extLst>
                <a:ext uri="{FF2B5EF4-FFF2-40B4-BE49-F238E27FC236}">
                  <a16:creationId xmlns:a16="http://schemas.microsoft.com/office/drawing/2014/main" id="{6E7FC586-57B9-4BD8-B987-E24CC1982F15}"/>
                </a:ext>
              </a:extLst>
            </p:cNvPr>
            <p:cNvGrpSpPr>
              <a:grpSpLocks noChangeAspect="1"/>
            </p:cNvGrpSpPr>
            <p:nvPr/>
          </p:nvGrpSpPr>
          <p:grpSpPr bwMode="auto">
            <a:xfrm>
              <a:off x="2656686" y="3188655"/>
              <a:ext cx="962224" cy="559514"/>
              <a:chOff x="-491" y="1145"/>
              <a:chExt cx="270" cy="157"/>
            </a:xfrm>
          </p:grpSpPr>
          <p:sp>
            <p:nvSpPr>
              <p:cNvPr id="20" name="Oval 15">
                <a:extLst>
                  <a:ext uri="{FF2B5EF4-FFF2-40B4-BE49-F238E27FC236}">
                    <a16:creationId xmlns:a16="http://schemas.microsoft.com/office/drawing/2014/main" id="{442BAB8D-F662-4F4E-A25F-EAA826EB2EBE}"/>
                  </a:ext>
                </a:extLst>
              </p:cNvPr>
              <p:cNvSpPr>
                <a:spLocks noChangeArrowheads="1"/>
              </p:cNvSpPr>
              <p:nvPr/>
            </p:nvSpPr>
            <p:spPr bwMode="auto">
              <a:xfrm>
                <a:off x="-472" y="1145"/>
                <a:ext cx="89" cy="92"/>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1" name="Freeform 16">
                <a:extLst>
                  <a:ext uri="{FF2B5EF4-FFF2-40B4-BE49-F238E27FC236}">
                    <a16:creationId xmlns:a16="http://schemas.microsoft.com/office/drawing/2014/main" id="{7C1DEB8C-008D-46EA-9A18-CE37F78A1583}"/>
                  </a:ext>
                </a:extLst>
              </p:cNvPr>
              <p:cNvSpPr>
                <a:spLocks/>
              </p:cNvSpPr>
              <p:nvPr/>
            </p:nvSpPr>
            <p:spPr bwMode="auto">
              <a:xfrm>
                <a:off x="-491" y="1237"/>
                <a:ext cx="124" cy="65"/>
              </a:xfrm>
              <a:custGeom>
                <a:avLst/>
                <a:gdLst>
                  <a:gd name="T0" fmla="*/ 59 w 59"/>
                  <a:gd name="T1" fmla="*/ 30 h 30"/>
                  <a:gd name="T2" fmla="*/ 30 w 59"/>
                  <a:gd name="T3" fmla="*/ 0 h 30"/>
                  <a:gd name="T4" fmla="*/ 0 w 59"/>
                  <a:gd name="T5" fmla="*/ 30 h 30"/>
                </a:gdLst>
                <a:ahLst/>
                <a:cxnLst>
                  <a:cxn ang="0">
                    <a:pos x="T0" y="T1"/>
                  </a:cxn>
                  <a:cxn ang="0">
                    <a:pos x="T2" y="T3"/>
                  </a:cxn>
                  <a:cxn ang="0">
                    <a:pos x="T4" y="T5"/>
                  </a:cxn>
                </a:cxnLst>
                <a:rect l="0" t="0" r="r" b="b"/>
                <a:pathLst>
                  <a:path w="59" h="30">
                    <a:moveTo>
                      <a:pt x="59" y="30"/>
                    </a:moveTo>
                    <a:cubicBezTo>
                      <a:pt x="59" y="13"/>
                      <a:pt x="46" y="0"/>
                      <a:pt x="30" y="0"/>
                    </a:cubicBezTo>
                    <a:cubicBezTo>
                      <a:pt x="13" y="0"/>
                      <a:pt x="0" y="13"/>
                      <a:pt x="0" y="3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2" name="Freeform 17">
                <a:extLst>
                  <a:ext uri="{FF2B5EF4-FFF2-40B4-BE49-F238E27FC236}">
                    <a16:creationId xmlns:a16="http://schemas.microsoft.com/office/drawing/2014/main" id="{92985FEE-3D79-473C-AA8D-D9560B73CE6A}"/>
                  </a:ext>
                </a:extLst>
              </p:cNvPr>
              <p:cNvSpPr>
                <a:spLocks/>
              </p:cNvSpPr>
              <p:nvPr/>
            </p:nvSpPr>
            <p:spPr bwMode="auto">
              <a:xfrm>
                <a:off x="-390" y="1167"/>
                <a:ext cx="125" cy="94"/>
              </a:xfrm>
              <a:custGeom>
                <a:avLst/>
                <a:gdLst>
                  <a:gd name="T0" fmla="*/ 11 w 125"/>
                  <a:gd name="T1" fmla="*/ 94 h 94"/>
                  <a:gd name="T2" fmla="*/ 125 w 125"/>
                  <a:gd name="T3" fmla="*/ 94 h 94"/>
                  <a:gd name="T4" fmla="*/ 125 w 125"/>
                  <a:gd name="T5" fmla="*/ 0 h 94"/>
                  <a:gd name="T6" fmla="*/ 0 w 125"/>
                  <a:gd name="T7" fmla="*/ 0 h 94"/>
                </a:gdLst>
                <a:ahLst/>
                <a:cxnLst>
                  <a:cxn ang="0">
                    <a:pos x="T0" y="T1"/>
                  </a:cxn>
                  <a:cxn ang="0">
                    <a:pos x="T2" y="T3"/>
                  </a:cxn>
                  <a:cxn ang="0">
                    <a:pos x="T4" y="T5"/>
                  </a:cxn>
                  <a:cxn ang="0">
                    <a:pos x="T6" y="T7"/>
                  </a:cxn>
                </a:cxnLst>
                <a:rect l="0" t="0" r="r" b="b"/>
                <a:pathLst>
                  <a:path w="125" h="94">
                    <a:moveTo>
                      <a:pt x="11" y="94"/>
                    </a:moveTo>
                    <a:lnTo>
                      <a:pt x="125" y="94"/>
                    </a:lnTo>
                    <a:lnTo>
                      <a:pt x="125"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3" name="Line 18">
                <a:extLst>
                  <a:ext uri="{FF2B5EF4-FFF2-40B4-BE49-F238E27FC236}">
                    <a16:creationId xmlns:a16="http://schemas.microsoft.com/office/drawing/2014/main" id="{BB2D7685-3699-475E-96EA-68AB00A8229C}"/>
                  </a:ext>
                </a:extLst>
              </p:cNvPr>
              <p:cNvSpPr>
                <a:spLocks noChangeShapeType="1"/>
              </p:cNvSpPr>
              <p:nvPr/>
            </p:nvSpPr>
            <p:spPr bwMode="auto">
              <a:xfrm flipV="1">
                <a:off x="-339" y="1261"/>
                <a:ext cx="0" cy="32"/>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4" name="Freeform 19">
                <a:extLst>
                  <a:ext uri="{FF2B5EF4-FFF2-40B4-BE49-F238E27FC236}">
                    <a16:creationId xmlns:a16="http://schemas.microsoft.com/office/drawing/2014/main" id="{CD775DE6-C508-4C3A-8D03-160F72FE4B5D}"/>
                  </a:ext>
                </a:extLst>
              </p:cNvPr>
              <p:cNvSpPr>
                <a:spLocks/>
              </p:cNvSpPr>
              <p:nvPr/>
            </p:nvSpPr>
            <p:spPr bwMode="auto">
              <a:xfrm>
                <a:off x="-280" y="1185"/>
                <a:ext cx="59" cy="108"/>
              </a:xfrm>
              <a:custGeom>
                <a:avLst/>
                <a:gdLst>
                  <a:gd name="T0" fmla="*/ 15 w 59"/>
                  <a:gd name="T1" fmla="*/ 0 h 108"/>
                  <a:gd name="T2" fmla="*/ 59 w 59"/>
                  <a:gd name="T3" fmla="*/ 0 h 108"/>
                  <a:gd name="T4" fmla="*/ 59 w 59"/>
                  <a:gd name="T5" fmla="*/ 108 h 108"/>
                  <a:gd name="T6" fmla="*/ 0 w 59"/>
                  <a:gd name="T7" fmla="*/ 108 h 108"/>
                  <a:gd name="T8" fmla="*/ 0 w 59"/>
                  <a:gd name="T9" fmla="*/ 76 h 108"/>
                </a:gdLst>
                <a:ahLst/>
                <a:cxnLst>
                  <a:cxn ang="0">
                    <a:pos x="T0" y="T1"/>
                  </a:cxn>
                  <a:cxn ang="0">
                    <a:pos x="T2" y="T3"/>
                  </a:cxn>
                  <a:cxn ang="0">
                    <a:pos x="T4" y="T5"/>
                  </a:cxn>
                  <a:cxn ang="0">
                    <a:pos x="T6" y="T7"/>
                  </a:cxn>
                  <a:cxn ang="0">
                    <a:pos x="T8" y="T9"/>
                  </a:cxn>
                </a:cxnLst>
                <a:rect l="0" t="0" r="r" b="b"/>
                <a:pathLst>
                  <a:path w="59" h="108">
                    <a:moveTo>
                      <a:pt x="15" y="0"/>
                    </a:moveTo>
                    <a:lnTo>
                      <a:pt x="59" y="0"/>
                    </a:lnTo>
                    <a:lnTo>
                      <a:pt x="59" y="108"/>
                    </a:lnTo>
                    <a:lnTo>
                      <a:pt x="0" y="108"/>
                    </a:lnTo>
                    <a:lnTo>
                      <a:pt x="0" y="76"/>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5" name="Line 20">
                <a:extLst>
                  <a:ext uri="{FF2B5EF4-FFF2-40B4-BE49-F238E27FC236}">
                    <a16:creationId xmlns:a16="http://schemas.microsoft.com/office/drawing/2014/main" id="{92CB56BD-138C-45F3-93DB-E97EE0DD81B9}"/>
                  </a:ext>
                </a:extLst>
              </p:cNvPr>
              <p:cNvSpPr>
                <a:spLocks noChangeShapeType="1"/>
              </p:cNvSpPr>
              <p:nvPr/>
            </p:nvSpPr>
            <p:spPr bwMode="auto">
              <a:xfrm flipH="1">
                <a:off x="-367" y="1293"/>
                <a:ext cx="62"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6" name="Line 21">
                <a:extLst>
                  <a:ext uri="{FF2B5EF4-FFF2-40B4-BE49-F238E27FC236}">
                    <a16:creationId xmlns:a16="http://schemas.microsoft.com/office/drawing/2014/main" id="{BE9E1E27-A9BA-4281-82A8-5AA49D2FE92B}"/>
                  </a:ext>
                </a:extLst>
              </p:cNvPr>
              <p:cNvSpPr>
                <a:spLocks noChangeShapeType="1"/>
              </p:cNvSpPr>
              <p:nvPr/>
            </p:nvSpPr>
            <p:spPr bwMode="auto">
              <a:xfrm flipH="1">
                <a:off x="-265" y="1219"/>
                <a:ext cx="44"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7" name="Line 22">
                <a:extLst>
                  <a:ext uri="{FF2B5EF4-FFF2-40B4-BE49-F238E27FC236}">
                    <a16:creationId xmlns:a16="http://schemas.microsoft.com/office/drawing/2014/main" id="{35EDA2B3-5654-4EE0-88C8-C2227E29A459}"/>
                  </a:ext>
                </a:extLst>
              </p:cNvPr>
              <p:cNvSpPr>
                <a:spLocks noChangeShapeType="1"/>
              </p:cNvSpPr>
              <p:nvPr/>
            </p:nvSpPr>
            <p:spPr bwMode="auto">
              <a:xfrm flipH="1">
                <a:off x="-265" y="1248"/>
                <a:ext cx="44"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8" name="Line 23">
                <a:extLst>
                  <a:ext uri="{FF2B5EF4-FFF2-40B4-BE49-F238E27FC236}">
                    <a16:creationId xmlns:a16="http://schemas.microsoft.com/office/drawing/2014/main" id="{4F22E176-692F-42BB-9361-CA532DB61B20}"/>
                  </a:ext>
                </a:extLst>
              </p:cNvPr>
              <p:cNvSpPr>
                <a:spLocks noChangeShapeType="1"/>
              </p:cNvSpPr>
              <p:nvPr/>
            </p:nvSpPr>
            <p:spPr bwMode="auto">
              <a:xfrm>
                <a:off x="-358" y="1195"/>
                <a:ext cx="19" cy="37"/>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29" name="Freeform 24">
                <a:extLst>
                  <a:ext uri="{FF2B5EF4-FFF2-40B4-BE49-F238E27FC236}">
                    <a16:creationId xmlns:a16="http://schemas.microsoft.com/office/drawing/2014/main" id="{863023F6-8F2F-4CD8-B600-FBA9AF56DCBB}"/>
                  </a:ext>
                </a:extLst>
              </p:cNvPr>
              <p:cNvSpPr>
                <a:spLocks/>
              </p:cNvSpPr>
              <p:nvPr/>
            </p:nvSpPr>
            <p:spPr bwMode="auto">
              <a:xfrm>
                <a:off x="-320" y="1191"/>
                <a:ext cx="19" cy="41"/>
              </a:xfrm>
              <a:custGeom>
                <a:avLst/>
                <a:gdLst>
                  <a:gd name="T0" fmla="*/ 0 w 19"/>
                  <a:gd name="T1" fmla="*/ 0 h 41"/>
                  <a:gd name="T2" fmla="*/ 19 w 19"/>
                  <a:gd name="T3" fmla="*/ 22 h 41"/>
                  <a:gd name="T4" fmla="*/ 0 w 19"/>
                  <a:gd name="T5" fmla="*/ 41 h 41"/>
                </a:gdLst>
                <a:ahLst/>
                <a:cxnLst>
                  <a:cxn ang="0">
                    <a:pos x="T0" y="T1"/>
                  </a:cxn>
                  <a:cxn ang="0">
                    <a:pos x="T2" y="T3"/>
                  </a:cxn>
                  <a:cxn ang="0">
                    <a:pos x="T4" y="T5"/>
                  </a:cxn>
                </a:cxnLst>
                <a:rect l="0" t="0" r="r" b="b"/>
                <a:pathLst>
                  <a:path w="19" h="41">
                    <a:moveTo>
                      <a:pt x="0" y="0"/>
                    </a:moveTo>
                    <a:lnTo>
                      <a:pt x="19" y="22"/>
                    </a:lnTo>
                    <a:lnTo>
                      <a:pt x="0" y="4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sp>
          <p:nvSpPr>
            <p:cNvPr id="52" name="Freeform: Shape 6">
              <a:extLst>
                <a:ext uri="{FF2B5EF4-FFF2-40B4-BE49-F238E27FC236}">
                  <a16:creationId xmlns:a16="http://schemas.microsoft.com/office/drawing/2014/main" id="{7962018F-8E8A-4F6F-8456-9A50EA413A78}"/>
                </a:ext>
              </a:extLst>
            </p:cNvPr>
            <p:cNvSpPr/>
            <p:nvPr/>
          </p:nvSpPr>
          <p:spPr>
            <a:xfrm>
              <a:off x="2246520" y="5232624"/>
              <a:ext cx="1877345"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82880" rIns="137160" bIns="182880" numCol="1" spcCol="1270" anchor="t" anchorCtr="0">
              <a:noAutofit/>
            </a:bodyPr>
            <a:lstStyle/>
            <a:p>
              <a:pPr marL="0" lvl="1" algn="l" defTabSz="711200">
                <a:lnSpc>
                  <a:spcPct val="90000"/>
                </a:lnSpc>
                <a:spcBef>
                  <a:spcPct val="0"/>
                </a:spcBef>
                <a:spcAft>
                  <a:spcPct val="15000"/>
                </a:spcAft>
              </a:pPr>
              <a:r>
                <a:rPr lang="en-US" sz="1200">
                  <a:solidFill>
                    <a:schemeClr val="tx1"/>
                  </a:solidFill>
                </a:rPr>
                <a:t>Enable latency-sensitive </a:t>
              </a:r>
              <a:r>
                <a:rPr lang="en-US" sz="1200" kern="1200">
                  <a:solidFill>
                    <a:schemeClr val="tx1"/>
                  </a:solidFill>
                </a:rPr>
                <a:t>personalization, bidding, and fraud detection. </a:t>
              </a:r>
            </a:p>
          </p:txBody>
        </p:sp>
      </p:grpSp>
      <p:grpSp>
        <p:nvGrpSpPr>
          <p:cNvPr id="15" name="Group 14"/>
          <p:cNvGrpSpPr/>
          <p:nvPr/>
        </p:nvGrpSpPr>
        <p:grpSpPr>
          <a:xfrm>
            <a:off x="4213509" y="2586561"/>
            <a:ext cx="1792849" cy="3790603"/>
            <a:chOff x="4213509" y="2586561"/>
            <a:chExt cx="1792849" cy="3790603"/>
          </a:xfrm>
        </p:grpSpPr>
        <p:sp>
          <p:nvSpPr>
            <p:cNvPr id="8" name="Freeform: Shape 7">
              <a:extLst>
                <a:ext uri="{FF2B5EF4-FFF2-40B4-BE49-F238E27FC236}">
                  <a16:creationId xmlns:a16="http://schemas.microsoft.com/office/drawing/2014/main" id="{54FF628B-6CC3-462E-AF13-3E1490D9B525}"/>
                </a:ext>
              </a:extLst>
            </p:cNvPr>
            <p:cNvSpPr/>
            <p:nvPr/>
          </p:nvSpPr>
          <p:spPr>
            <a:xfrm>
              <a:off x="4213509"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920240" rIns="137160" bIns="182880" numCol="1" spcCol="1270" anchor="t" anchorCtr="0">
              <a:noAutofit/>
            </a:bodyPr>
            <a:lstStyle/>
            <a:p>
              <a:pPr marL="0" lvl="1" defTabSz="762000">
                <a:lnSpc>
                  <a:spcPct val="107000"/>
                </a:lnSpc>
                <a:spcAft>
                  <a:spcPts val="600"/>
                </a:spcAft>
                <a:buClr>
                  <a:schemeClr val="tx2"/>
                </a:buClr>
                <a:buSzPct val="90000"/>
              </a:pPr>
              <a:r>
                <a:rPr lang="en-US" sz="1200" b="1">
                  <a:solidFill>
                    <a:schemeClr val="tx2"/>
                  </a:solidFill>
                  <a:latin typeface="Segoe UI Semibold" charset="0"/>
                  <a:ea typeface="Segoe UI Semibold" charset="0"/>
                  <a:cs typeface="Segoe UI Semibold" charset="0"/>
                </a:rPr>
                <a:t>Ideal for gaming, </a:t>
              </a:r>
              <a:br>
                <a:rPr lang="en-US" sz="1200" b="1">
                  <a:solidFill>
                    <a:schemeClr val="tx2"/>
                  </a:solidFill>
                  <a:latin typeface="Segoe UI Semibold" charset="0"/>
                  <a:ea typeface="Segoe UI Semibold" charset="0"/>
                  <a:cs typeface="Segoe UI Semibold" charset="0"/>
                </a:rPr>
              </a:br>
              <a:r>
                <a:rPr lang="en-US" sz="1200" b="1">
                  <a:solidFill>
                    <a:schemeClr val="tx2"/>
                  </a:solidFill>
                  <a:latin typeface="Segoe UI Semibold" charset="0"/>
                  <a:ea typeface="Segoe UI Semibold" charset="0"/>
                  <a:cs typeface="Segoe UI Semibold" charset="0"/>
                </a:rPr>
                <a:t>IoT   &amp; eCommerce</a:t>
              </a:r>
            </a:p>
            <a:p>
              <a:pPr marL="0" lvl="1" defTabSz="762000">
                <a:lnSpc>
                  <a:spcPct val="107000"/>
                </a:lnSpc>
                <a:spcAft>
                  <a:spcPts val="600"/>
                </a:spcAft>
                <a:buClr>
                  <a:schemeClr val="tx2"/>
                </a:buClr>
                <a:buSzPct val="90000"/>
              </a:pPr>
              <a:endParaRPr lang="en-US" sz="1200">
                <a:solidFill>
                  <a:schemeClr val="tx2"/>
                </a:solidFill>
                <a:latin typeface="Segoe UI Semilight" charset="0"/>
                <a:ea typeface="Segoe UI Semilight" charset="0"/>
                <a:cs typeface="Segoe UI Semilight" charset="0"/>
              </a:endParaRPr>
            </a:p>
          </p:txBody>
        </p:sp>
        <p:grpSp>
          <p:nvGrpSpPr>
            <p:cNvPr id="13" name="Group 12">
              <a:extLst>
                <a:ext uri="{FF2B5EF4-FFF2-40B4-BE49-F238E27FC236}">
                  <a16:creationId xmlns:a16="http://schemas.microsoft.com/office/drawing/2014/main" id="{DC3D2208-E485-4BEB-8F2E-D5D3318E4E77}"/>
                </a:ext>
              </a:extLst>
            </p:cNvPr>
            <p:cNvGrpSpPr/>
            <p:nvPr/>
          </p:nvGrpSpPr>
          <p:grpSpPr>
            <a:xfrm>
              <a:off x="4690226" y="3223339"/>
              <a:ext cx="839414" cy="490146"/>
              <a:chOff x="8167676" y="757688"/>
              <a:chExt cx="366650" cy="214092"/>
            </a:xfrm>
          </p:grpSpPr>
          <p:sp>
            <p:nvSpPr>
              <p:cNvPr id="16" name="Freeform 77">
                <a:extLst>
                  <a:ext uri="{FF2B5EF4-FFF2-40B4-BE49-F238E27FC236}">
                    <a16:creationId xmlns:a16="http://schemas.microsoft.com/office/drawing/2014/main" id="{8AEB0D30-F563-4E6B-81CD-0821477D1C71}"/>
                  </a:ext>
                </a:extLst>
              </p:cNvPr>
              <p:cNvSpPr>
                <a:spLocks/>
              </p:cNvSpPr>
              <p:nvPr/>
            </p:nvSpPr>
            <p:spPr bwMode="auto">
              <a:xfrm>
                <a:off x="8167676" y="757688"/>
                <a:ext cx="366650" cy="214092"/>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 name="Freeform 78">
                <a:extLst>
                  <a:ext uri="{FF2B5EF4-FFF2-40B4-BE49-F238E27FC236}">
                    <a16:creationId xmlns:a16="http://schemas.microsoft.com/office/drawing/2014/main" id="{D38254AC-422B-4951-AF56-1C283EBB368B}"/>
                  </a:ext>
                </a:extLst>
              </p:cNvPr>
              <p:cNvSpPr>
                <a:spLocks/>
              </p:cNvSpPr>
              <p:nvPr/>
            </p:nvSpPr>
            <p:spPr bwMode="auto">
              <a:xfrm>
                <a:off x="8342027" y="810249"/>
                <a:ext cx="17948" cy="19230"/>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53" name="Freeform: Shape 7">
              <a:extLst>
                <a:ext uri="{FF2B5EF4-FFF2-40B4-BE49-F238E27FC236}">
                  <a16:creationId xmlns:a16="http://schemas.microsoft.com/office/drawing/2014/main" id="{54FF628B-6CC3-462E-AF13-3E1490D9B525}"/>
                </a:ext>
              </a:extLst>
            </p:cNvPr>
            <p:cNvSpPr/>
            <p:nvPr/>
          </p:nvSpPr>
          <p:spPr>
            <a:xfrm>
              <a:off x="4213509"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82880" rIns="137160" bIns="182880" numCol="1" spcCol="1270" anchor="t" anchorCtr="0">
              <a:noAutofit/>
            </a:bodyPr>
            <a:lstStyle/>
            <a:p>
              <a:pPr marL="0" lvl="1" algn="l" defTabSz="711200">
                <a:lnSpc>
                  <a:spcPct val="90000"/>
                </a:lnSpc>
                <a:spcBef>
                  <a:spcPct val="0"/>
                </a:spcBef>
                <a:spcAft>
                  <a:spcPct val="15000"/>
                </a:spcAft>
              </a:pPr>
              <a:r>
                <a:rPr lang="en-US" sz="1200" kern="1200">
                  <a:solidFill>
                    <a:schemeClr val="tx1"/>
                  </a:solidFill>
                </a:rPr>
                <a:t>Predictable and fast service, even during traffic spikes</a:t>
              </a:r>
            </a:p>
          </p:txBody>
        </p:sp>
      </p:grpSp>
      <p:grpSp>
        <p:nvGrpSpPr>
          <p:cNvPr id="57" name="Group 56"/>
          <p:cNvGrpSpPr/>
          <p:nvPr/>
        </p:nvGrpSpPr>
        <p:grpSpPr>
          <a:xfrm>
            <a:off x="6185644" y="2586561"/>
            <a:ext cx="1792849" cy="3790603"/>
            <a:chOff x="6185644" y="2586561"/>
            <a:chExt cx="1792849" cy="3790603"/>
          </a:xfrm>
        </p:grpSpPr>
        <p:sp>
          <p:nvSpPr>
            <p:cNvPr id="9" name="Freeform: Shape 8">
              <a:extLst>
                <a:ext uri="{FF2B5EF4-FFF2-40B4-BE49-F238E27FC236}">
                  <a16:creationId xmlns:a16="http://schemas.microsoft.com/office/drawing/2014/main" id="{244CDC8F-E742-4A60-A101-D7F2F8D9210B}"/>
                </a:ext>
              </a:extLst>
            </p:cNvPr>
            <p:cNvSpPr/>
            <p:nvPr/>
          </p:nvSpPr>
          <p:spPr>
            <a:xfrm>
              <a:off x="6185644"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920240" rIns="91440" bIns="182880" numCol="1" spcCol="1270" anchor="t" anchorCtr="0">
              <a:noAutofit/>
            </a:bodyPr>
            <a:lstStyle/>
            <a:p>
              <a:pPr marL="0" lvl="1" defTabSz="762000">
                <a:lnSpc>
                  <a:spcPct val="107000"/>
                </a:lnSpc>
                <a:spcAft>
                  <a:spcPts val="600"/>
                </a:spcAft>
                <a:buClr>
                  <a:schemeClr val="tx2"/>
                </a:buClr>
                <a:buSzPct val="90000"/>
              </a:pPr>
              <a:r>
                <a:rPr lang="en-US" sz="1200" b="1">
                  <a:solidFill>
                    <a:schemeClr val="tx2"/>
                  </a:solidFill>
                  <a:latin typeface="Segoe UI Semibold" charset="0"/>
                  <a:ea typeface="Segoe UI Semibold" charset="0"/>
                  <a:cs typeface="Segoe UI Semibold" charset="0"/>
                </a:rPr>
                <a:t>Simplified development with </a:t>
              </a:r>
              <a:r>
                <a:rPr lang="en-US" sz="1200" b="1" err="1">
                  <a:solidFill>
                    <a:schemeClr val="tx2"/>
                  </a:solidFill>
                  <a:latin typeface="Segoe UI Semibold" charset="0"/>
                  <a:ea typeface="Segoe UI Semibold" charset="0"/>
                  <a:cs typeface="Segoe UI Semibold" charset="0"/>
                </a:rPr>
                <a:t>serverless</a:t>
              </a:r>
              <a:r>
                <a:rPr lang="en-US" sz="1200" b="1">
                  <a:solidFill>
                    <a:schemeClr val="tx2"/>
                  </a:solidFill>
                  <a:latin typeface="Segoe UI Semibold" charset="0"/>
                  <a:ea typeface="Segoe UI Semibold" charset="0"/>
                  <a:cs typeface="Segoe UI Semibold" charset="0"/>
                </a:rPr>
                <a:t> architecture</a:t>
              </a:r>
            </a:p>
            <a:p>
              <a:pPr marL="0" lvl="1" defTabSz="762000">
                <a:lnSpc>
                  <a:spcPct val="107000"/>
                </a:lnSpc>
                <a:spcAft>
                  <a:spcPts val="600"/>
                </a:spcAft>
                <a:buClr>
                  <a:schemeClr val="tx2"/>
                </a:buClr>
                <a:buSzPct val="90000"/>
              </a:pPr>
              <a:endParaRPr lang="en-US" sz="1200">
                <a:solidFill>
                  <a:schemeClr val="tx2"/>
                </a:solidFill>
                <a:latin typeface="Segoe UI Semilight" charset="0"/>
                <a:ea typeface="Segoe UI Semilight" charset="0"/>
                <a:cs typeface="Segoe UI Semilight" charset="0"/>
              </a:endParaRPr>
            </a:p>
          </p:txBody>
        </p:sp>
        <p:sp>
          <p:nvSpPr>
            <p:cNvPr id="30" name="Freeform 9">
              <a:extLst>
                <a:ext uri="{FF2B5EF4-FFF2-40B4-BE49-F238E27FC236}">
                  <a16:creationId xmlns:a16="http://schemas.microsoft.com/office/drawing/2014/main" id="{CFF4DBFD-F5C2-47C7-8B21-BC72890C3E05}"/>
                </a:ext>
              </a:extLst>
            </p:cNvPr>
            <p:cNvSpPr>
              <a:spLocks noEditPoints="1"/>
            </p:cNvSpPr>
            <p:nvPr/>
          </p:nvSpPr>
          <p:spPr bwMode="auto">
            <a:xfrm>
              <a:off x="6686072" y="3151530"/>
              <a:ext cx="791992" cy="633764"/>
            </a:xfrm>
            <a:custGeom>
              <a:avLst/>
              <a:gdLst>
                <a:gd name="T0" fmla="*/ 899 w 2698"/>
                <a:gd name="T1" fmla="*/ 720 h 2159"/>
                <a:gd name="T2" fmla="*/ 2698 w 2698"/>
                <a:gd name="T3" fmla="*/ 720 h 2159"/>
                <a:gd name="T4" fmla="*/ 2698 w 2698"/>
                <a:gd name="T5" fmla="*/ 1800 h 2159"/>
                <a:gd name="T6" fmla="*/ 899 w 2698"/>
                <a:gd name="T7" fmla="*/ 1800 h 2159"/>
                <a:gd name="T8" fmla="*/ 899 w 2698"/>
                <a:gd name="T9" fmla="*/ 720 h 2159"/>
                <a:gd name="T10" fmla="*/ 1799 w 2698"/>
                <a:gd name="T11" fmla="*/ 1800 h 2159"/>
                <a:gd name="T12" fmla="*/ 1799 w 2698"/>
                <a:gd name="T13" fmla="*/ 2159 h 2159"/>
                <a:gd name="T14" fmla="*/ 1349 w 2698"/>
                <a:gd name="T15" fmla="*/ 2159 h 2159"/>
                <a:gd name="T16" fmla="*/ 2248 w 2698"/>
                <a:gd name="T17" fmla="*/ 2159 h 2159"/>
                <a:gd name="T18" fmla="*/ 271 w 2698"/>
                <a:gd name="T19" fmla="*/ 360 h 2159"/>
                <a:gd name="T20" fmla="*/ 810 w 2698"/>
                <a:gd name="T21" fmla="*/ 360 h 2159"/>
                <a:gd name="T22" fmla="*/ 271 w 2698"/>
                <a:gd name="T23" fmla="*/ 1800 h 2159"/>
                <a:gd name="T24" fmla="*/ 899 w 2698"/>
                <a:gd name="T25" fmla="*/ 1800 h 2159"/>
                <a:gd name="T26" fmla="*/ 271 w 2698"/>
                <a:gd name="T27" fmla="*/ 1440 h 2159"/>
                <a:gd name="T28" fmla="*/ 904 w 2698"/>
                <a:gd name="T29" fmla="*/ 1440 h 2159"/>
                <a:gd name="T30" fmla="*/ 1080 w 2698"/>
                <a:gd name="T31" fmla="*/ 720 h 2159"/>
                <a:gd name="T32" fmla="*/ 1080 w 2698"/>
                <a:gd name="T33" fmla="*/ 0 h 2159"/>
                <a:gd name="T34" fmla="*/ 0 w 2698"/>
                <a:gd name="T35" fmla="*/ 0 h 2159"/>
                <a:gd name="T36" fmla="*/ 0 w 2698"/>
                <a:gd name="T37" fmla="*/ 2159 h 2159"/>
                <a:gd name="T38" fmla="*/ 1080 w 2698"/>
                <a:gd name="T39" fmla="*/ 2159 h 2159"/>
                <a:gd name="T40" fmla="*/ 1080 w 2698"/>
                <a:gd name="T41" fmla="*/ 1800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8" h="2159">
                  <a:moveTo>
                    <a:pt x="899" y="720"/>
                  </a:moveTo>
                  <a:lnTo>
                    <a:pt x="2698" y="720"/>
                  </a:lnTo>
                  <a:lnTo>
                    <a:pt x="2698" y="1800"/>
                  </a:lnTo>
                  <a:lnTo>
                    <a:pt x="899" y="1800"/>
                  </a:lnTo>
                  <a:lnTo>
                    <a:pt x="899" y="720"/>
                  </a:lnTo>
                  <a:moveTo>
                    <a:pt x="1799" y="1800"/>
                  </a:moveTo>
                  <a:lnTo>
                    <a:pt x="1799" y="2159"/>
                  </a:lnTo>
                  <a:moveTo>
                    <a:pt x="1349" y="2159"/>
                  </a:moveTo>
                  <a:lnTo>
                    <a:pt x="2248" y="2159"/>
                  </a:lnTo>
                  <a:moveTo>
                    <a:pt x="271" y="360"/>
                  </a:moveTo>
                  <a:lnTo>
                    <a:pt x="810" y="360"/>
                  </a:lnTo>
                  <a:moveTo>
                    <a:pt x="271" y="1800"/>
                  </a:moveTo>
                  <a:lnTo>
                    <a:pt x="899" y="1800"/>
                  </a:lnTo>
                  <a:moveTo>
                    <a:pt x="271" y="1440"/>
                  </a:moveTo>
                  <a:lnTo>
                    <a:pt x="904" y="1440"/>
                  </a:lnTo>
                  <a:moveTo>
                    <a:pt x="1080" y="720"/>
                  </a:moveTo>
                  <a:lnTo>
                    <a:pt x="1080" y="0"/>
                  </a:lnTo>
                  <a:lnTo>
                    <a:pt x="0" y="0"/>
                  </a:lnTo>
                  <a:lnTo>
                    <a:pt x="0" y="2159"/>
                  </a:lnTo>
                  <a:lnTo>
                    <a:pt x="1080" y="2159"/>
                  </a:lnTo>
                  <a:lnTo>
                    <a:pt x="1080" y="1800"/>
                  </a:ln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Shape 8">
              <a:extLst>
                <a:ext uri="{FF2B5EF4-FFF2-40B4-BE49-F238E27FC236}">
                  <a16:creationId xmlns:a16="http://schemas.microsoft.com/office/drawing/2014/main" id="{244CDC8F-E742-4A60-A101-D7F2F8D9210B}"/>
                </a:ext>
              </a:extLst>
            </p:cNvPr>
            <p:cNvSpPr/>
            <p:nvPr/>
          </p:nvSpPr>
          <p:spPr>
            <a:xfrm>
              <a:off x="6185644"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82880" rIns="137160" bIns="182880" numCol="1" spcCol="1270" anchor="t" anchorCtr="0">
              <a:noAutofit/>
            </a:bodyPr>
            <a:lstStyle/>
            <a:p>
              <a:pPr marL="0" lvl="1" algn="l" defTabSz="711200">
                <a:lnSpc>
                  <a:spcPct val="90000"/>
                </a:lnSpc>
                <a:spcBef>
                  <a:spcPct val="0"/>
                </a:spcBef>
                <a:spcAft>
                  <a:spcPct val="15000"/>
                </a:spcAft>
              </a:pPr>
              <a:r>
                <a:rPr lang="en-US" sz="1200" kern="1200">
                  <a:solidFill>
                    <a:schemeClr val="tx1"/>
                  </a:solidFill>
                </a:rPr>
                <a:t>Fully-managed event-driven micro-services with elastic computing power</a:t>
              </a:r>
            </a:p>
          </p:txBody>
        </p:sp>
      </p:grpSp>
      <p:grpSp>
        <p:nvGrpSpPr>
          <p:cNvPr id="58" name="Group 57"/>
          <p:cNvGrpSpPr/>
          <p:nvPr/>
        </p:nvGrpSpPr>
        <p:grpSpPr>
          <a:xfrm>
            <a:off x="8157778" y="2586561"/>
            <a:ext cx="1792850" cy="4045020"/>
            <a:chOff x="8157778" y="2586561"/>
            <a:chExt cx="1792850" cy="4045020"/>
          </a:xfrm>
        </p:grpSpPr>
        <p:sp>
          <p:nvSpPr>
            <p:cNvPr id="10" name="Freeform: Shape 9">
              <a:extLst>
                <a:ext uri="{FF2B5EF4-FFF2-40B4-BE49-F238E27FC236}">
                  <a16:creationId xmlns:a16="http://schemas.microsoft.com/office/drawing/2014/main" id="{60CF00A9-F41C-44A8-B87B-53E6FCA8FC56}"/>
                </a:ext>
              </a:extLst>
            </p:cNvPr>
            <p:cNvSpPr/>
            <p:nvPr/>
          </p:nvSpPr>
          <p:spPr>
            <a:xfrm>
              <a:off x="8157779"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920240" rIns="137160" bIns="182880" numCol="1" spcCol="1270" anchor="t" anchorCtr="0">
              <a:noAutofit/>
            </a:bodyPr>
            <a:lstStyle/>
            <a:p>
              <a:pPr marL="0" lvl="1" defTabSz="762000">
                <a:lnSpc>
                  <a:spcPct val="107000"/>
                </a:lnSpc>
                <a:spcAft>
                  <a:spcPts val="600"/>
                </a:spcAft>
                <a:buClr>
                  <a:schemeClr val="tx2"/>
                </a:buClr>
                <a:buSzPct val="90000"/>
              </a:pPr>
              <a:r>
                <a:rPr lang="en-US" sz="1200" b="1">
                  <a:solidFill>
                    <a:schemeClr val="tx2"/>
                  </a:solidFill>
                  <a:latin typeface="Segoe UI Semibold" charset="0"/>
                  <a:ea typeface="Segoe UI Semibold" charset="0"/>
                  <a:cs typeface="Segoe UI Semibold" charset="0"/>
                </a:rPr>
                <a:t>Run Spark analytics on  </a:t>
              </a:r>
            </a:p>
            <a:p>
              <a:pPr marL="0" lvl="1" defTabSz="762000">
                <a:lnSpc>
                  <a:spcPct val="107000"/>
                </a:lnSpc>
                <a:spcAft>
                  <a:spcPts val="600"/>
                </a:spcAft>
                <a:buClr>
                  <a:schemeClr val="tx2"/>
                </a:buClr>
                <a:buSzPct val="90000"/>
              </a:pPr>
              <a:r>
                <a:rPr lang="en-US" sz="1200" b="1">
                  <a:solidFill>
                    <a:schemeClr val="tx2"/>
                  </a:solidFill>
                  <a:latin typeface="Segoe UI Semibold" charset="0"/>
                  <a:ea typeface="Segoe UI Semibold" charset="0"/>
                  <a:cs typeface="Segoe UI Semibold" charset="0"/>
                </a:rPr>
                <a:t>operational Or</a:t>
              </a:r>
            </a:p>
            <a:p>
              <a:pPr marL="0" lvl="1" defTabSz="762000">
                <a:lnSpc>
                  <a:spcPct val="107000"/>
                </a:lnSpc>
                <a:spcAft>
                  <a:spcPts val="600"/>
                </a:spcAft>
                <a:buClr>
                  <a:schemeClr val="tx2"/>
                </a:buClr>
                <a:buSzPct val="90000"/>
              </a:pPr>
              <a:r>
                <a:rPr lang="en-US" sz="1200" b="1">
                  <a:solidFill>
                    <a:schemeClr val="tx2"/>
                  </a:solidFill>
                  <a:latin typeface="Segoe UI Semibold" charset="0"/>
                  <a:ea typeface="Segoe UI Semibold" charset="0"/>
                  <a:cs typeface="Segoe UI Semibold" charset="0"/>
                </a:rPr>
                <a:t>analytical store co-located in Cosmos DB</a:t>
              </a:r>
            </a:p>
            <a:p>
              <a:pPr marL="0" lvl="1" defTabSz="762000">
                <a:lnSpc>
                  <a:spcPct val="107000"/>
                </a:lnSpc>
                <a:spcAft>
                  <a:spcPts val="600"/>
                </a:spcAft>
                <a:buClr>
                  <a:schemeClr val="tx2"/>
                </a:buClr>
                <a:buSzPct val="90000"/>
              </a:pPr>
              <a:endParaRPr lang="en-US" sz="1400" b="1" spc="100">
                <a:solidFill>
                  <a:schemeClr val="tx2"/>
                </a:solidFill>
                <a:latin typeface="Segoe UI Semibold" charset="0"/>
                <a:cs typeface="Segoe UI Semibold" charset="0"/>
              </a:endParaRPr>
            </a:p>
          </p:txBody>
        </p:sp>
        <p:grpSp>
          <p:nvGrpSpPr>
            <p:cNvPr id="31" name="Group 20">
              <a:extLst>
                <a:ext uri="{FF2B5EF4-FFF2-40B4-BE49-F238E27FC236}">
                  <a16:creationId xmlns:a16="http://schemas.microsoft.com/office/drawing/2014/main" id="{3ACDCA2C-15E2-477F-8C62-5983B596CF4B}"/>
                </a:ext>
              </a:extLst>
            </p:cNvPr>
            <p:cNvGrpSpPr>
              <a:grpSpLocks noChangeAspect="1"/>
            </p:cNvGrpSpPr>
            <p:nvPr/>
          </p:nvGrpSpPr>
          <p:grpSpPr bwMode="auto">
            <a:xfrm>
              <a:off x="8619553" y="3087941"/>
              <a:ext cx="869300" cy="760942"/>
              <a:chOff x="3764" y="3313"/>
              <a:chExt cx="353" cy="309"/>
            </a:xfrm>
          </p:grpSpPr>
          <p:sp>
            <p:nvSpPr>
              <p:cNvPr id="32" name="Freeform 21">
                <a:extLst>
                  <a:ext uri="{FF2B5EF4-FFF2-40B4-BE49-F238E27FC236}">
                    <a16:creationId xmlns:a16="http://schemas.microsoft.com/office/drawing/2014/main" id="{31F9AAC9-4F42-494D-BEDD-4DC8F472B304}"/>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22">
                <a:extLst>
                  <a:ext uri="{FF2B5EF4-FFF2-40B4-BE49-F238E27FC236}">
                    <a16:creationId xmlns:a16="http://schemas.microsoft.com/office/drawing/2014/main" id="{B12D88E7-15D5-4972-B91B-270D153D4DB9}"/>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3">
                <a:extLst>
                  <a:ext uri="{FF2B5EF4-FFF2-40B4-BE49-F238E27FC236}">
                    <a16:creationId xmlns:a16="http://schemas.microsoft.com/office/drawing/2014/main" id="{0A8130A9-84A1-434F-8851-C8D3CE2ABCF3}"/>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24">
                <a:extLst>
                  <a:ext uri="{FF2B5EF4-FFF2-40B4-BE49-F238E27FC236}">
                    <a16:creationId xmlns:a16="http://schemas.microsoft.com/office/drawing/2014/main" id="{478A3F31-93C9-40CB-8B94-BD3FF24D49B3}"/>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Freeform 25">
                <a:extLst>
                  <a:ext uri="{FF2B5EF4-FFF2-40B4-BE49-F238E27FC236}">
                    <a16:creationId xmlns:a16="http://schemas.microsoft.com/office/drawing/2014/main" id="{5BF7C355-6E84-437A-9A3B-574CAF35EE02}"/>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26">
                <a:extLst>
                  <a:ext uri="{FF2B5EF4-FFF2-40B4-BE49-F238E27FC236}">
                    <a16:creationId xmlns:a16="http://schemas.microsoft.com/office/drawing/2014/main" id="{0C6FAE8F-C93F-4EFC-B90F-B371FFF83CA3}"/>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27">
                <a:extLst>
                  <a:ext uri="{FF2B5EF4-FFF2-40B4-BE49-F238E27FC236}">
                    <a16:creationId xmlns:a16="http://schemas.microsoft.com/office/drawing/2014/main" id="{AACF19A9-BAF4-4A4D-9B09-A661E0B378F8}"/>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28">
                <a:extLst>
                  <a:ext uri="{FF2B5EF4-FFF2-40B4-BE49-F238E27FC236}">
                    <a16:creationId xmlns:a16="http://schemas.microsoft.com/office/drawing/2014/main" id="{452868A2-B3DC-4221-BB35-E7FFEDCDF7B5}"/>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29">
                <a:extLst>
                  <a:ext uri="{FF2B5EF4-FFF2-40B4-BE49-F238E27FC236}">
                    <a16:creationId xmlns:a16="http://schemas.microsoft.com/office/drawing/2014/main" id="{D45511C1-3503-4015-88CD-3DDDFE875E25}"/>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Freeform 30">
                <a:extLst>
                  <a:ext uri="{FF2B5EF4-FFF2-40B4-BE49-F238E27FC236}">
                    <a16:creationId xmlns:a16="http://schemas.microsoft.com/office/drawing/2014/main" id="{968CADB9-14CF-4880-8CF3-BD0203D7E83E}"/>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Freeform 31">
                <a:extLst>
                  <a:ext uri="{FF2B5EF4-FFF2-40B4-BE49-F238E27FC236}">
                    <a16:creationId xmlns:a16="http://schemas.microsoft.com/office/drawing/2014/main" id="{FCD2D771-CB1D-45CB-8F8D-E86D94C4E131}"/>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Freeform 32">
                <a:extLst>
                  <a:ext uri="{FF2B5EF4-FFF2-40B4-BE49-F238E27FC236}">
                    <a16:creationId xmlns:a16="http://schemas.microsoft.com/office/drawing/2014/main" id="{573A7D34-C1A1-4EF9-B664-39D69848DDFD}"/>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33">
                <a:extLst>
                  <a:ext uri="{FF2B5EF4-FFF2-40B4-BE49-F238E27FC236}">
                    <a16:creationId xmlns:a16="http://schemas.microsoft.com/office/drawing/2014/main" id="{CE1DE657-887B-4080-8B46-98A583B33616}"/>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Freeform 34">
                <a:extLst>
                  <a:ext uri="{FF2B5EF4-FFF2-40B4-BE49-F238E27FC236}">
                    <a16:creationId xmlns:a16="http://schemas.microsoft.com/office/drawing/2014/main" id="{96DF371E-195F-477A-A1D3-60165E066FF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Freeform 35">
                <a:extLst>
                  <a:ext uri="{FF2B5EF4-FFF2-40B4-BE49-F238E27FC236}">
                    <a16:creationId xmlns:a16="http://schemas.microsoft.com/office/drawing/2014/main" id="{66B18735-AB20-4385-A683-8CA5A3D306DE}"/>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Freeform 36">
                <a:extLst>
                  <a:ext uri="{FF2B5EF4-FFF2-40B4-BE49-F238E27FC236}">
                    <a16:creationId xmlns:a16="http://schemas.microsoft.com/office/drawing/2014/main" id="{5EB80F5E-8981-417F-B272-FA38ABE47B9A}"/>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37">
                <a:extLst>
                  <a:ext uri="{FF2B5EF4-FFF2-40B4-BE49-F238E27FC236}">
                    <a16:creationId xmlns:a16="http://schemas.microsoft.com/office/drawing/2014/main" id="{1DC7AFCE-E252-44BE-B7AC-E34D99E592A8}"/>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Freeform 38">
                <a:extLst>
                  <a:ext uri="{FF2B5EF4-FFF2-40B4-BE49-F238E27FC236}">
                    <a16:creationId xmlns:a16="http://schemas.microsoft.com/office/drawing/2014/main" id="{9D61DC27-A771-4493-8199-80EA3BE4A26C}"/>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Shape 9">
              <a:extLst>
                <a:ext uri="{FF2B5EF4-FFF2-40B4-BE49-F238E27FC236}">
                  <a16:creationId xmlns:a16="http://schemas.microsoft.com/office/drawing/2014/main" id="{60CF00A9-F41C-44A8-B87B-53E6FCA8FC56}"/>
                </a:ext>
              </a:extLst>
            </p:cNvPr>
            <p:cNvSpPr/>
            <p:nvPr/>
          </p:nvSpPr>
          <p:spPr>
            <a:xfrm>
              <a:off x="8157778" y="5698943"/>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82880" rIns="137160" bIns="182880" numCol="1" spcCol="1270" anchor="t" anchorCtr="0">
              <a:noAutofit/>
            </a:bodyPr>
            <a:lstStyle/>
            <a:p>
              <a:pPr marL="0" lvl="1" algn="l" defTabSz="711200">
                <a:lnSpc>
                  <a:spcPct val="90000"/>
                </a:lnSpc>
                <a:spcBef>
                  <a:spcPct val="0"/>
                </a:spcBef>
                <a:spcAft>
                  <a:spcPct val="15000"/>
                </a:spcAft>
              </a:pPr>
              <a:r>
                <a:rPr lang="en-US" sz="1200" kern="1200">
                  <a:solidFill>
                    <a:schemeClr val="tx1"/>
                  </a:solidFill>
                </a:rPr>
                <a:t>Accelerate insights from fast, global data</a:t>
              </a:r>
            </a:p>
          </p:txBody>
        </p:sp>
      </p:grpSp>
      <p:grpSp>
        <p:nvGrpSpPr>
          <p:cNvPr id="59" name="Group 58"/>
          <p:cNvGrpSpPr/>
          <p:nvPr/>
        </p:nvGrpSpPr>
        <p:grpSpPr>
          <a:xfrm>
            <a:off x="10129913" y="2586561"/>
            <a:ext cx="1792849" cy="3790603"/>
            <a:chOff x="10129913" y="2586561"/>
            <a:chExt cx="1792849" cy="3790603"/>
          </a:xfrm>
        </p:grpSpPr>
        <p:sp>
          <p:nvSpPr>
            <p:cNvPr id="11" name="Freeform: Shape 10">
              <a:extLst>
                <a:ext uri="{FF2B5EF4-FFF2-40B4-BE49-F238E27FC236}">
                  <a16:creationId xmlns:a16="http://schemas.microsoft.com/office/drawing/2014/main" id="{4CF1A333-7D84-4005-A0BF-7FF133D2C8FD}"/>
                </a:ext>
              </a:extLst>
            </p:cNvPr>
            <p:cNvSpPr/>
            <p:nvPr/>
          </p:nvSpPr>
          <p:spPr>
            <a:xfrm>
              <a:off x="10129913" y="2586561"/>
              <a:ext cx="1792849"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lumMod val="9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920240" rIns="137160" bIns="182880" numCol="1" spcCol="1270" anchor="t" anchorCtr="0">
              <a:noAutofit/>
            </a:bodyPr>
            <a:lstStyle/>
            <a:p>
              <a:pPr marL="0" lvl="1" defTabSz="762000">
                <a:lnSpc>
                  <a:spcPct val="107000"/>
                </a:lnSpc>
                <a:spcAft>
                  <a:spcPts val="600"/>
                </a:spcAft>
                <a:buClr>
                  <a:schemeClr val="tx2"/>
                </a:buClr>
                <a:buSzPct val="90000"/>
              </a:pPr>
              <a:r>
                <a:rPr lang="en-US" sz="1200" b="1">
                  <a:solidFill>
                    <a:schemeClr val="tx2"/>
                  </a:solidFill>
                  <a:latin typeface="Segoe UI Semibold" charset="0"/>
                  <a:ea typeface="Segoe UI Semibold" charset="0"/>
                  <a:cs typeface="Segoe UI Semibold" charset="0"/>
                </a:rPr>
                <a:t>Lift and shift      NoSQL data</a:t>
              </a:r>
            </a:p>
          </p:txBody>
        </p:sp>
        <p:sp>
          <p:nvSpPr>
            <p:cNvPr id="51" name="Freeform 13">
              <a:extLst>
                <a:ext uri="{FF2B5EF4-FFF2-40B4-BE49-F238E27FC236}">
                  <a16:creationId xmlns:a16="http://schemas.microsoft.com/office/drawing/2014/main" id="{B3989629-8E36-44C7-8FA6-E3FCF2FAFE0D}"/>
                </a:ext>
              </a:extLst>
            </p:cNvPr>
            <p:cNvSpPr>
              <a:spLocks noEditPoints="1"/>
            </p:cNvSpPr>
            <p:nvPr/>
          </p:nvSpPr>
          <p:spPr bwMode="auto">
            <a:xfrm>
              <a:off x="10658980" y="3127295"/>
              <a:ext cx="734714" cy="682234"/>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6" name="Freeform: Shape 10">
              <a:extLst>
                <a:ext uri="{FF2B5EF4-FFF2-40B4-BE49-F238E27FC236}">
                  <a16:creationId xmlns:a16="http://schemas.microsoft.com/office/drawing/2014/main" id="{4CF1A333-7D84-4005-A0BF-7FF133D2C8FD}"/>
                </a:ext>
              </a:extLst>
            </p:cNvPr>
            <p:cNvSpPr/>
            <p:nvPr/>
          </p:nvSpPr>
          <p:spPr>
            <a:xfrm>
              <a:off x="10129913" y="5232624"/>
              <a:ext cx="1792849" cy="932638"/>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7160" tIns="182880" rIns="137160" bIns="182880" numCol="1" spcCol="1270" anchor="t" anchorCtr="0">
              <a:noAutofit/>
            </a:bodyPr>
            <a:lstStyle/>
            <a:p>
              <a:pPr marL="0" lvl="1" algn="l" defTabSz="711200">
                <a:lnSpc>
                  <a:spcPct val="90000"/>
                </a:lnSpc>
                <a:spcBef>
                  <a:spcPct val="0"/>
                </a:spcBef>
                <a:spcAft>
                  <a:spcPct val="15000"/>
                </a:spcAft>
              </a:pPr>
              <a:r>
                <a:rPr lang="en-US" sz="1200" kern="1200">
                  <a:solidFill>
                    <a:schemeClr val="tx1"/>
                  </a:solidFill>
                </a:rPr>
                <a:t>Lift and shift MongoDB and Cassandra workloads</a:t>
              </a:r>
            </a:p>
          </p:txBody>
        </p:sp>
        <p:cxnSp>
          <p:nvCxnSpPr>
            <p:cNvPr id="5" name="Straight Connector 4"/>
            <p:cNvCxnSpPr/>
            <p:nvPr/>
          </p:nvCxnSpPr>
          <p:spPr>
            <a:xfrm flipV="1">
              <a:off x="10658980" y="3223339"/>
              <a:ext cx="0" cy="532339"/>
            </a:xfrm>
            <a:prstGeom prst="line">
              <a:avLst/>
            </a:prstGeom>
            <a:ln w="12700">
              <a:solidFill>
                <a:srgbClr val="0177D7"/>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02841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1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ppt_x"/>
                                          </p:val>
                                        </p:tav>
                                        <p:tav tm="100000">
                                          <p:val>
                                            <p:strVal val="#ppt_x"/>
                                          </p:val>
                                        </p:tav>
                                      </p:tavLst>
                                    </p:anim>
                                    <p:anim calcmode="lin" valueType="num">
                                      <p:cBhvr additive="base">
                                        <p:cTn id="16" dur="500" fill="hold"/>
                                        <p:tgtEl>
                                          <p:spTgt spid="15"/>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30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500" fill="hold"/>
                                        <p:tgtEl>
                                          <p:spTgt spid="57"/>
                                        </p:tgtEl>
                                        <p:attrNameLst>
                                          <p:attrName>ppt_x</p:attrName>
                                        </p:attrNameLst>
                                      </p:cBhvr>
                                      <p:tavLst>
                                        <p:tav tm="0">
                                          <p:val>
                                            <p:strVal val="#ppt_x"/>
                                          </p:val>
                                        </p:tav>
                                        <p:tav tm="100000">
                                          <p:val>
                                            <p:strVal val="#ppt_x"/>
                                          </p:val>
                                        </p:tav>
                                      </p:tavLst>
                                    </p:anim>
                                    <p:anim calcmode="lin" valueType="num">
                                      <p:cBhvr additive="base">
                                        <p:cTn id="20" dur="500" fill="hold"/>
                                        <p:tgtEl>
                                          <p:spTgt spid="5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400"/>
                                  </p:stCondLst>
                                  <p:childTnLst>
                                    <p:set>
                                      <p:cBhvr>
                                        <p:cTn id="22" dur="1" fill="hold">
                                          <p:stCondLst>
                                            <p:cond delay="0"/>
                                          </p:stCondLst>
                                        </p:cTn>
                                        <p:tgtEl>
                                          <p:spTgt spid="58"/>
                                        </p:tgtEl>
                                        <p:attrNameLst>
                                          <p:attrName>style.visibility</p:attrName>
                                        </p:attrNameLst>
                                      </p:cBhvr>
                                      <p:to>
                                        <p:strVal val="visible"/>
                                      </p:to>
                                    </p:set>
                                    <p:anim calcmode="lin" valueType="num">
                                      <p:cBhvr additive="base">
                                        <p:cTn id="23" dur="500" fill="hold"/>
                                        <p:tgtEl>
                                          <p:spTgt spid="58"/>
                                        </p:tgtEl>
                                        <p:attrNameLst>
                                          <p:attrName>ppt_x</p:attrName>
                                        </p:attrNameLst>
                                      </p:cBhvr>
                                      <p:tavLst>
                                        <p:tav tm="0">
                                          <p:val>
                                            <p:strVal val="#ppt_x"/>
                                          </p:val>
                                        </p:tav>
                                        <p:tav tm="100000">
                                          <p:val>
                                            <p:strVal val="#ppt_x"/>
                                          </p:val>
                                        </p:tav>
                                      </p:tavLst>
                                    </p:anim>
                                    <p:anim calcmode="lin" valueType="num">
                                      <p:cBhvr additive="base">
                                        <p:cTn id="24" dur="500" fill="hold"/>
                                        <p:tgtEl>
                                          <p:spTgt spid="58"/>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500"/>
                                  </p:stCondLst>
                                  <p:childTnLst>
                                    <p:set>
                                      <p:cBhvr>
                                        <p:cTn id="26" dur="1" fill="hold">
                                          <p:stCondLst>
                                            <p:cond delay="0"/>
                                          </p:stCondLst>
                                        </p:cTn>
                                        <p:tgtEl>
                                          <p:spTgt spid="59"/>
                                        </p:tgtEl>
                                        <p:attrNameLst>
                                          <p:attrName>style.visibility</p:attrName>
                                        </p:attrNameLst>
                                      </p:cBhvr>
                                      <p:to>
                                        <p:strVal val="visible"/>
                                      </p:to>
                                    </p:set>
                                    <p:anim calcmode="lin" valueType="num">
                                      <p:cBhvr additive="base">
                                        <p:cTn id="27" dur="500" fill="hold"/>
                                        <p:tgtEl>
                                          <p:spTgt spid="59"/>
                                        </p:tgtEl>
                                        <p:attrNameLst>
                                          <p:attrName>ppt_x</p:attrName>
                                        </p:attrNameLst>
                                      </p:cBhvr>
                                      <p:tavLst>
                                        <p:tav tm="0">
                                          <p:val>
                                            <p:strVal val="#ppt_x"/>
                                          </p:val>
                                        </p:tav>
                                        <p:tav tm="100000">
                                          <p:val>
                                            <p:strVal val="#ppt_x"/>
                                          </p:val>
                                        </p:tav>
                                      </p:tavLst>
                                    </p:anim>
                                    <p:anim calcmode="lin" valueType="num">
                                      <p:cBhvr additive="base">
                                        <p:cTn id="28"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B43D2-6EA2-4609-A62B-98D46407169C}"/>
              </a:ext>
            </a:extLst>
          </p:cNvPr>
          <p:cNvSpPr>
            <a:spLocks noGrp="1"/>
          </p:cNvSpPr>
          <p:nvPr>
            <p:ph type="title"/>
          </p:nvPr>
        </p:nvSpPr>
        <p:spPr/>
        <p:txBody>
          <a:bodyPr/>
          <a:lstStyle/>
          <a:p>
            <a:r>
              <a:rPr lang="en-CA" cap="none" dirty="0"/>
              <a:t>Top use cases for Azure Cosmos DB</a:t>
            </a:r>
            <a:endParaRPr lang="en-US" cap="none" dirty="0"/>
          </a:p>
        </p:txBody>
      </p:sp>
      <p:graphicFrame>
        <p:nvGraphicFramePr>
          <p:cNvPr id="3" name="Table 3">
            <a:extLst>
              <a:ext uri="{FF2B5EF4-FFF2-40B4-BE49-F238E27FC236}">
                <a16:creationId xmlns:a16="http://schemas.microsoft.com/office/drawing/2014/main" id="{B4ACA762-D080-4BBC-8F06-E9ACD143BAAE}"/>
              </a:ext>
            </a:extLst>
          </p:cNvPr>
          <p:cNvGraphicFramePr>
            <a:graphicFrameLocks noGrp="1"/>
          </p:cNvGraphicFramePr>
          <p:nvPr/>
        </p:nvGraphicFramePr>
        <p:xfrm>
          <a:off x="418769" y="837689"/>
          <a:ext cx="11354461" cy="5388261"/>
        </p:xfrm>
        <a:graphic>
          <a:graphicData uri="http://schemas.openxmlformats.org/drawingml/2006/table">
            <a:tbl>
              <a:tblPr firstRow="1" bandRow="1">
                <a:tableStyleId>{5C22544A-7EE6-4342-B048-85BDC9FD1C3A}</a:tableStyleId>
              </a:tblPr>
              <a:tblGrid>
                <a:gridCol w="1182925">
                  <a:extLst>
                    <a:ext uri="{9D8B030D-6E8A-4147-A177-3AD203B41FA5}">
                      <a16:colId xmlns:a16="http://schemas.microsoft.com/office/drawing/2014/main" val="111838140"/>
                    </a:ext>
                  </a:extLst>
                </a:gridCol>
                <a:gridCol w="2172069">
                  <a:extLst>
                    <a:ext uri="{9D8B030D-6E8A-4147-A177-3AD203B41FA5}">
                      <a16:colId xmlns:a16="http://schemas.microsoft.com/office/drawing/2014/main" val="3235850603"/>
                    </a:ext>
                  </a:extLst>
                </a:gridCol>
                <a:gridCol w="2142541">
                  <a:extLst>
                    <a:ext uri="{9D8B030D-6E8A-4147-A177-3AD203B41FA5}">
                      <a16:colId xmlns:a16="http://schemas.microsoft.com/office/drawing/2014/main" val="2787615258"/>
                    </a:ext>
                  </a:extLst>
                </a:gridCol>
                <a:gridCol w="2215493">
                  <a:extLst>
                    <a:ext uri="{9D8B030D-6E8A-4147-A177-3AD203B41FA5}">
                      <a16:colId xmlns:a16="http://schemas.microsoft.com/office/drawing/2014/main" val="1713418522"/>
                    </a:ext>
                  </a:extLst>
                </a:gridCol>
                <a:gridCol w="2297144">
                  <a:extLst>
                    <a:ext uri="{9D8B030D-6E8A-4147-A177-3AD203B41FA5}">
                      <a16:colId xmlns:a16="http://schemas.microsoft.com/office/drawing/2014/main" val="2909549485"/>
                    </a:ext>
                  </a:extLst>
                </a:gridCol>
                <a:gridCol w="1344289">
                  <a:extLst>
                    <a:ext uri="{9D8B030D-6E8A-4147-A177-3AD203B41FA5}">
                      <a16:colId xmlns:a16="http://schemas.microsoft.com/office/drawing/2014/main" val="2956134516"/>
                    </a:ext>
                  </a:extLst>
                </a:gridCol>
              </a:tblGrid>
              <a:tr h="298101">
                <a:tc>
                  <a:txBody>
                    <a:bodyPr/>
                    <a:lstStyle/>
                    <a:p>
                      <a:r>
                        <a:rPr lang="en-CA" sz="1000"/>
                        <a:t>Use Case</a:t>
                      </a:r>
                      <a:endParaRPr lang="en-US" sz="1000"/>
                    </a:p>
                  </a:txBody>
                  <a:tcPr/>
                </a:tc>
                <a:tc>
                  <a:txBody>
                    <a:bodyPr/>
                    <a:lstStyle/>
                    <a:p>
                      <a:r>
                        <a:rPr lang="en-CA" sz="1000"/>
                        <a:t>Use Case Details</a:t>
                      </a:r>
                      <a:endParaRPr lang="en-US" sz="1000"/>
                    </a:p>
                  </a:txBody>
                  <a:tcPr/>
                </a:tc>
                <a:tc>
                  <a:txBody>
                    <a:bodyPr/>
                    <a:lstStyle/>
                    <a:p>
                      <a:r>
                        <a:rPr lang="en-CA" sz="1000" dirty="0"/>
                        <a:t>Why Azure Cosmos DB?</a:t>
                      </a:r>
                      <a:endParaRPr lang="en-US" sz="1000" dirty="0"/>
                    </a:p>
                  </a:txBody>
                  <a:tcPr/>
                </a:tc>
                <a:tc>
                  <a:txBody>
                    <a:bodyPr/>
                    <a:lstStyle/>
                    <a:p>
                      <a:r>
                        <a:rPr lang="en-CA" sz="1000"/>
                        <a:t>Alternatives</a:t>
                      </a:r>
                      <a:endParaRPr lang="en-US" sz="1000"/>
                    </a:p>
                  </a:txBody>
                  <a:tcPr/>
                </a:tc>
                <a:tc>
                  <a:txBody>
                    <a:bodyPr/>
                    <a:lstStyle/>
                    <a:p>
                      <a:r>
                        <a:rPr lang="en-CA" sz="1000"/>
                        <a:t>Optimization Tips</a:t>
                      </a:r>
                      <a:endParaRPr lang="en-US" sz="1000"/>
                    </a:p>
                  </a:txBody>
                  <a:tcPr/>
                </a:tc>
                <a:tc>
                  <a:txBody>
                    <a:bodyPr/>
                    <a:lstStyle/>
                    <a:p>
                      <a:r>
                        <a:rPr lang="en-CA" sz="1000"/>
                        <a:t>Customer Examples</a:t>
                      </a:r>
                      <a:endParaRPr lang="en-US" sz="1000"/>
                    </a:p>
                  </a:txBody>
                  <a:tcPr/>
                </a:tc>
                <a:extLst>
                  <a:ext uri="{0D108BD9-81ED-4DB2-BD59-A6C34878D82A}">
                    <a16:rowId xmlns:a16="http://schemas.microsoft.com/office/drawing/2014/main" val="1155912445"/>
                  </a:ext>
                </a:extLst>
              </a:tr>
              <a:tr h="907229">
                <a:tc>
                  <a:txBody>
                    <a:bodyPr/>
                    <a:lstStyle/>
                    <a:p>
                      <a:r>
                        <a:rPr lang="en-CA" sz="1000" b="1"/>
                        <a:t>Real-time telemetry</a:t>
                      </a:r>
                      <a:endParaRPr lang="en-US" sz="1000" b="1"/>
                    </a:p>
                  </a:txBody>
                  <a:tcPr/>
                </a:tc>
                <a:tc>
                  <a:txBody>
                    <a:bodyPr/>
                    <a:lstStyle/>
                    <a:p>
                      <a:pPr marL="228600" indent="-228600">
                        <a:buAutoNum type="arabicPeriod"/>
                      </a:pPr>
                      <a:r>
                        <a:rPr lang="en-CA" sz="1000" b="1" dirty="0"/>
                        <a:t>IoT</a:t>
                      </a:r>
                    </a:p>
                    <a:p>
                      <a:pPr marL="228600" indent="-228600">
                        <a:buFont typeface="Arial" panose="020B0604020202020204" pitchFamily="34" charset="0"/>
                        <a:buChar char="•"/>
                      </a:pPr>
                      <a:r>
                        <a:rPr lang="en-CA" sz="1000" dirty="0"/>
                        <a:t>Logistics (track assets/inventory)</a:t>
                      </a:r>
                    </a:p>
                    <a:p>
                      <a:pPr marL="228600" indent="-228600">
                        <a:buFont typeface="Arial" panose="020B0604020202020204" pitchFamily="34" charset="0"/>
                        <a:buChar char="•"/>
                      </a:pPr>
                      <a:r>
                        <a:rPr lang="en-CA" sz="1000" dirty="0"/>
                        <a:t>Smart cars (telematics)</a:t>
                      </a:r>
                    </a:p>
                    <a:p>
                      <a:pPr marL="228600" indent="-228600">
                        <a:buFont typeface="Arial" panose="020B0604020202020204" pitchFamily="34" charset="0"/>
                        <a:buChar char="•"/>
                      </a:pPr>
                      <a:r>
                        <a:rPr lang="en-CA" sz="1000" dirty="0"/>
                        <a:t>Smart Cities</a:t>
                      </a:r>
                    </a:p>
                    <a:p>
                      <a:pPr marL="228600" indent="-228600">
                        <a:buFont typeface="Arial" panose="020B0604020202020204" pitchFamily="34" charset="0"/>
                        <a:buChar char="•"/>
                      </a:pPr>
                      <a:r>
                        <a:rPr lang="en-CA" sz="1000" dirty="0"/>
                        <a:t>Smart Buildings </a:t>
                      </a:r>
                    </a:p>
                    <a:p>
                      <a:pPr marL="0" indent="0">
                        <a:buFont typeface="Arial" panose="020B0604020202020204" pitchFamily="34" charset="0"/>
                        <a:buNone/>
                      </a:pPr>
                      <a:r>
                        <a:rPr lang="en-CA" sz="1000" dirty="0"/>
                        <a:t>2. </a:t>
                      </a:r>
                      <a:r>
                        <a:rPr lang="en-CA" sz="1000" b="1" dirty="0"/>
                        <a:t>User/Customer</a:t>
                      </a:r>
                    </a:p>
                    <a:p>
                      <a:pPr marL="171450" indent="-171450">
                        <a:buFont typeface="Arial" panose="020B0604020202020204" pitchFamily="34" charset="0"/>
                        <a:buChar char="•"/>
                      </a:pPr>
                      <a:r>
                        <a:rPr lang="en-CA" sz="1000" dirty="0"/>
                        <a:t>Track digital actions (clicks; app events)</a:t>
                      </a:r>
                      <a:endParaRPr lang="en-US" sz="1000" dirty="0"/>
                    </a:p>
                  </a:txBody>
                  <a:tcPr/>
                </a:tc>
                <a:tc>
                  <a:txBody>
                    <a:bodyPr/>
                    <a:lstStyle/>
                    <a:p>
                      <a:pPr marL="171450" indent="-171450">
                        <a:buFont typeface="Wingdings" panose="05000000000000000000" pitchFamily="2" charset="2"/>
                        <a:buChar char="ü"/>
                      </a:pPr>
                      <a:r>
                        <a:rPr lang="en-CA" sz="1000" dirty="0"/>
                        <a:t>Elastic, </a:t>
                      </a:r>
                      <a:r>
                        <a:rPr lang="en-CA" sz="1000" b="1" dirty="0"/>
                        <a:t>unlimited throughput </a:t>
                      </a:r>
                      <a:r>
                        <a:rPr lang="en-CA" sz="1000" dirty="0"/>
                        <a:t>(scale)</a:t>
                      </a:r>
                    </a:p>
                    <a:p>
                      <a:pPr marL="171450" indent="-171450">
                        <a:buFont typeface="Wingdings" panose="05000000000000000000" pitchFamily="2" charset="2"/>
                        <a:buChar char="ü"/>
                      </a:pPr>
                      <a:r>
                        <a:rPr lang="en-CA" sz="1000" dirty="0"/>
                        <a:t>Can easily </a:t>
                      </a:r>
                      <a:r>
                        <a:rPr lang="en-CA" sz="1000" b="1" dirty="0"/>
                        <a:t>ingest large volumes</a:t>
                      </a:r>
                      <a:r>
                        <a:rPr lang="en-CA" sz="1000" dirty="0"/>
                        <a:t> of data from write-heavy scenarios</a:t>
                      </a:r>
                    </a:p>
                    <a:p>
                      <a:pPr marL="171450" indent="-171450">
                        <a:buFont typeface="Wingdings" panose="05000000000000000000" pitchFamily="2" charset="2"/>
                        <a:buChar char="ü"/>
                      </a:pPr>
                      <a:r>
                        <a:rPr lang="en-CA" sz="1000" b="1" dirty="0"/>
                        <a:t>Real-time queries </a:t>
                      </a:r>
                      <a:r>
                        <a:rPr lang="en-CA" sz="1000" dirty="0"/>
                        <a:t>backed by &lt;10 </a:t>
                      </a:r>
                      <a:r>
                        <a:rPr lang="en-CA" sz="1000" dirty="0" err="1"/>
                        <a:t>ms</a:t>
                      </a:r>
                      <a:r>
                        <a:rPr lang="en-CA" sz="1000" dirty="0"/>
                        <a:t> low-latency SLA</a:t>
                      </a:r>
                    </a:p>
                    <a:p>
                      <a:pPr marL="171450" indent="-171450">
                        <a:buFont typeface="Wingdings" panose="05000000000000000000" pitchFamily="2" charset="2"/>
                        <a:buChar char="ü"/>
                      </a:pPr>
                      <a:r>
                        <a:rPr lang="en-CA" sz="1000" b="1" dirty="0"/>
                        <a:t>Auto-indexing</a:t>
                      </a:r>
                      <a:r>
                        <a:rPr lang="en-CA" sz="1000" dirty="0"/>
                        <a:t> of semi-structured data</a:t>
                      </a:r>
                      <a:endParaRPr lang="en-US" sz="1000" dirty="0"/>
                    </a:p>
                  </a:txBody>
                  <a:tcPr/>
                </a:tc>
                <a:tc>
                  <a:txBody>
                    <a:bodyPr/>
                    <a:lstStyle/>
                    <a:p>
                      <a:pPr marL="228600" indent="-228600">
                        <a:buFont typeface="Arial" panose="020B0604020202020204" pitchFamily="34" charset="0"/>
                        <a:buChar char="•"/>
                      </a:pPr>
                      <a:r>
                        <a:rPr lang="en-CA" sz="1000"/>
                        <a:t>Time-consuming and complex connection, integration, and management bundle of OSS tech (e.g., Redis, Cassandra, </a:t>
                      </a:r>
                      <a:r>
                        <a:rPr lang="en-CA" sz="1000" err="1"/>
                        <a:t>etc</a:t>
                      </a:r>
                      <a:r>
                        <a:rPr lang="en-CA" sz="1000"/>
                        <a:t>)</a:t>
                      </a:r>
                    </a:p>
                    <a:p>
                      <a:pPr marL="228600" indent="-228600">
                        <a:buFont typeface="Arial" panose="020B0604020202020204" pitchFamily="34" charset="0"/>
                        <a:buChar char="•"/>
                      </a:pPr>
                      <a:r>
                        <a:rPr lang="en-CA" sz="1000"/>
                        <a:t>Maintain performance by actively managing, over-allocating, and over-paying for cluster  </a:t>
                      </a:r>
                      <a:endParaRPr lang="en-US" sz="1000"/>
                    </a:p>
                  </a:txBody>
                  <a:tcPr/>
                </a:tc>
                <a:tc>
                  <a:txBody>
                    <a:bodyPr/>
                    <a:lstStyle/>
                    <a:p>
                      <a:pPr marL="228600" indent="-228600">
                        <a:buAutoNum type="arabicPeriod"/>
                      </a:pPr>
                      <a:r>
                        <a:rPr lang="en-CA" sz="1000"/>
                        <a:t>Use Device ID or User ID as partition key</a:t>
                      </a:r>
                    </a:p>
                    <a:p>
                      <a:pPr marL="228600" indent="-228600">
                        <a:buAutoNum type="arabicPeriod"/>
                      </a:pPr>
                      <a:r>
                        <a:rPr lang="en-CA" sz="1000"/>
                        <a:t>Customize index policy (vs auto-index all data)</a:t>
                      </a:r>
                    </a:p>
                    <a:p>
                      <a:pPr marL="228600" indent="-228600">
                        <a:buAutoNum type="arabicPeriod"/>
                      </a:pPr>
                      <a:r>
                        <a:rPr lang="en-CA" sz="1000"/>
                        <a:t>Materialize View design pattern to optimize aggregates</a:t>
                      </a:r>
                    </a:p>
                    <a:p>
                      <a:pPr marL="228600" indent="-228600">
                        <a:buAutoNum type="arabicPeriod"/>
                      </a:pPr>
                      <a:r>
                        <a:rPr lang="en-CA" sz="1000"/>
                        <a:t>Use local region for read/write data in SDK connection policy</a:t>
                      </a:r>
                      <a:endParaRPr lang="en-US" sz="1000"/>
                    </a:p>
                  </a:txBody>
                  <a:tcPr/>
                </a:tc>
                <a:tc>
                  <a:txBody>
                    <a:bodyPr/>
                    <a:lstStyle/>
                    <a:p>
                      <a:pPr marL="171450" indent="-171450">
                        <a:lnSpc>
                          <a:spcPct val="150000"/>
                        </a:lnSpc>
                        <a:buFont typeface="Arial" panose="020B0604020202020204" pitchFamily="34" charset="0"/>
                        <a:buChar char="•"/>
                      </a:pPr>
                      <a:r>
                        <a:rPr lang="en-CA" sz="1000" dirty="0" err="1">
                          <a:hlinkClick r:id="rId2"/>
                        </a:rPr>
                        <a:t>Teijen</a:t>
                      </a:r>
                      <a:r>
                        <a:rPr lang="en-CA" sz="1000" dirty="0"/>
                        <a:t> </a:t>
                      </a:r>
                    </a:p>
                    <a:p>
                      <a:pPr marL="171450" indent="-171450">
                        <a:lnSpc>
                          <a:spcPct val="150000"/>
                        </a:lnSpc>
                        <a:buFont typeface="Arial" panose="020B0604020202020204" pitchFamily="34" charset="0"/>
                        <a:buChar char="•"/>
                      </a:pPr>
                      <a:r>
                        <a:rPr lang="en-CA" sz="1000" dirty="0">
                          <a:hlinkClick r:id="rId3"/>
                        </a:rPr>
                        <a:t>Mercedes Benz</a:t>
                      </a:r>
                      <a:endParaRPr lang="en-CA" sz="1000" dirty="0"/>
                    </a:p>
                    <a:p>
                      <a:pPr marL="171450" indent="-171450">
                        <a:lnSpc>
                          <a:spcPct val="150000"/>
                        </a:lnSpc>
                        <a:buFont typeface="Arial" panose="020B0604020202020204" pitchFamily="34" charset="0"/>
                        <a:buChar char="•"/>
                      </a:pPr>
                      <a:r>
                        <a:rPr lang="en-CA" sz="1000" dirty="0">
                          <a:hlinkClick r:id="rId4"/>
                        </a:rPr>
                        <a:t>Johnson Controls</a:t>
                      </a:r>
                      <a:endParaRPr lang="en-CA" sz="1000" dirty="0"/>
                    </a:p>
                    <a:p>
                      <a:pPr marL="171450" indent="-171450">
                        <a:lnSpc>
                          <a:spcPct val="150000"/>
                        </a:lnSpc>
                        <a:buFont typeface="Arial" panose="020B0604020202020204" pitchFamily="34" charset="0"/>
                        <a:buChar char="•"/>
                      </a:pPr>
                      <a:r>
                        <a:rPr lang="en-CA" sz="1000" dirty="0">
                          <a:hlinkClick r:id="rId5"/>
                        </a:rPr>
                        <a:t>Exxon Mobil</a:t>
                      </a:r>
                      <a:r>
                        <a:rPr lang="en-CA" sz="1000" dirty="0"/>
                        <a:t> </a:t>
                      </a:r>
                    </a:p>
                    <a:p>
                      <a:pPr marL="171450" indent="-171450">
                        <a:lnSpc>
                          <a:spcPct val="150000"/>
                        </a:lnSpc>
                        <a:buFont typeface="Arial" panose="020B0604020202020204" pitchFamily="34" charset="0"/>
                        <a:buChar char="•"/>
                      </a:pPr>
                      <a:r>
                        <a:rPr lang="en-CA" sz="1000" dirty="0" err="1">
                          <a:hlinkClick r:id="rId6"/>
                        </a:rPr>
                        <a:t>SitePro</a:t>
                      </a:r>
                      <a:endParaRPr lang="en-US" sz="1000" dirty="0"/>
                    </a:p>
                  </a:txBody>
                  <a:tcPr/>
                </a:tc>
                <a:extLst>
                  <a:ext uri="{0D108BD9-81ED-4DB2-BD59-A6C34878D82A}">
                    <a16:rowId xmlns:a16="http://schemas.microsoft.com/office/drawing/2014/main" val="2613589909"/>
                  </a:ext>
                </a:extLst>
              </a:tr>
              <a:tr h="907229">
                <a:tc>
                  <a:txBody>
                    <a:bodyPr/>
                    <a:lstStyle/>
                    <a:p>
                      <a:r>
                        <a:rPr lang="en-CA" sz="1000" b="1" dirty="0"/>
                        <a:t>Real-time recommendations and 360-degree customer view</a:t>
                      </a:r>
                      <a:endParaRPr lang="en-US" sz="1000" b="1" dirty="0"/>
                    </a:p>
                  </a:txBody>
                  <a:tcPr/>
                </a:tc>
                <a:tc>
                  <a:txBody>
                    <a:bodyPr/>
                    <a:lstStyle/>
                    <a:p>
                      <a:r>
                        <a:rPr lang="en-CA" sz="1000" dirty="0"/>
                        <a:t>Rapid response recommendations to enhance user experience (e.g., Netflix recommendations; e-commerce product suggestions)</a:t>
                      </a:r>
                      <a:endParaRPr lang="en-US" sz="1000" dirty="0"/>
                    </a:p>
                  </a:txBody>
                  <a:tcPr/>
                </a:tc>
                <a:tc>
                  <a:txBody>
                    <a:bodyPr/>
                    <a:lstStyle/>
                    <a:p>
                      <a:pPr marL="171450" indent="-171450">
                        <a:buFont typeface="Wingdings" panose="05000000000000000000" pitchFamily="2" charset="2"/>
                        <a:buChar char="ü"/>
                      </a:pPr>
                      <a:r>
                        <a:rPr lang="en-CA" sz="1000" b="1" dirty="0"/>
                        <a:t>Spark integration </a:t>
                      </a:r>
                      <a:r>
                        <a:rPr lang="en-CA" sz="1000" dirty="0"/>
                        <a:t>offers ML and big data processing </a:t>
                      </a:r>
                    </a:p>
                    <a:p>
                      <a:pPr marL="171450" indent="-171450">
                        <a:buFont typeface="Wingdings" panose="05000000000000000000" pitchFamily="2" charset="2"/>
                        <a:buChar char="ü"/>
                      </a:pPr>
                      <a:r>
                        <a:rPr lang="en-CA" sz="1000" b="1" dirty="0"/>
                        <a:t>&lt;10 </a:t>
                      </a:r>
                      <a:r>
                        <a:rPr lang="en-CA" sz="1000" b="1" dirty="0" err="1"/>
                        <a:t>ms</a:t>
                      </a:r>
                      <a:r>
                        <a:rPr lang="en-CA" sz="1000" b="1" dirty="0"/>
                        <a:t> low-latency SLA</a:t>
                      </a:r>
                      <a:endParaRPr lang="en-US" sz="1000" b="1" dirty="0"/>
                    </a:p>
                  </a:txBody>
                  <a:tcPr/>
                </a:tc>
                <a:tc>
                  <a:txBody>
                    <a:bodyPr/>
                    <a:lstStyle/>
                    <a:p>
                      <a:pPr marL="228600" indent="-228600">
                        <a:buFont typeface="Arial" panose="020B0604020202020204" pitchFamily="34" charset="0"/>
                        <a:buChar char="•"/>
                      </a:pPr>
                      <a:r>
                        <a:rPr lang="en-CA" sz="1000"/>
                        <a:t>Build and maintain custom solutions; manage data integration (POS, CRM, etc.)</a:t>
                      </a:r>
                    </a:p>
                    <a:p>
                      <a:pPr marL="228600" indent="-228600">
                        <a:buFont typeface="Arial" panose="020B0604020202020204" pitchFamily="34" charset="0"/>
                        <a:buChar char="•"/>
                      </a:pPr>
                      <a:r>
                        <a:rPr lang="en-CA" sz="1000"/>
                        <a:t>Static, non-responsive, or delayed recommendations based on stale data</a:t>
                      </a:r>
                    </a:p>
                    <a:p>
                      <a:pPr marL="228600" indent="-228600">
                        <a:buFont typeface="Arial" panose="020B0604020202020204" pitchFamily="34" charset="0"/>
                        <a:buChar char="•"/>
                      </a:pPr>
                      <a:r>
                        <a:rPr lang="en-CA" sz="1000"/>
                        <a:t>Limited personalization (e.g., missing location, daypart, etc.)</a:t>
                      </a:r>
                      <a:endParaRPr lang="en-US" sz="1000"/>
                    </a:p>
                  </a:txBody>
                  <a:tcPr/>
                </a:tc>
                <a:tc>
                  <a:txBody>
                    <a:bodyPr/>
                    <a:lstStyle/>
                    <a:p>
                      <a:pPr marL="228600" indent="-228600">
                        <a:buAutoNum type="arabicPeriod"/>
                      </a:pPr>
                      <a:r>
                        <a:rPr lang="en-CA" sz="1000"/>
                        <a:t>Custom configuration for Spark connector (e.g., batch size)</a:t>
                      </a:r>
                    </a:p>
                    <a:p>
                      <a:pPr marL="228600" indent="-228600">
                        <a:buAutoNum type="arabicPeriod"/>
                      </a:pPr>
                      <a:r>
                        <a:rPr lang="en-CA" sz="1000"/>
                        <a:t>Scale up RU/s for batch processing then immediately scale down for steady-state</a:t>
                      </a:r>
                    </a:p>
                    <a:p>
                      <a:pPr marL="228600" indent="-228600">
                        <a:buAutoNum type="arabicPeriod"/>
                      </a:pPr>
                      <a:r>
                        <a:rPr lang="en-CA" sz="1000"/>
                        <a:t>Use Product ID or User ID as partition key</a:t>
                      </a:r>
                      <a:endParaRPr lang="en-US" sz="1000"/>
                    </a:p>
                  </a:txBody>
                  <a:tcPr/>
                </a:tc>
                <a:tc>
                  <a:txBody>
                    <a:bodyPr/>
                    <a:lstStyle/>
                    <a:p>
                      <a:pPr marL="171450" indent="-171450">
                        <a:lnSpc>
                          <a:spcPct val="150000"/>
                        </a:lnSpc>
                        <a:buFont typeface="Arial" panose="020B0604020202020204" pitchFamily="34" charset="0"/>
                        <a:buChar char="•"/>
                      </a:pPr>
                      <a:r>
                        <a:rPr lang="en-CA" sz="1000" dirty="0">
                          <a:hlinkClick r:id="rId7"/>
                        </a:rPr>
                        <a:t>ASOS</a:t>
                      </a:r>
                      <a:endParaRPr lang="en-CA" sz="1000" dirty="0"/>
                    </a:p>
                    <a:p>
                      <a:pPr marL="171450" indent="-171450">
                        <a:lnSpc>
                          <a:spcPct val="150000"/>
                        </a:lnSpc>
                        <a:buFont typeface="Arial" panose="020B0604020202020204" pitchFamily="34" charset="0"/>
                        <a:buChar char="•"/>
                      </a:pPr>
                      <a:r>
                        <a:rPr lang="en-CA" sz="1000" dirty="0">
                          <a:hlinkClick r:id="rId8"/>
                        </a:rPr>
                        <a:t>Siemens </a:t>
                      </a:r>
                      <a:r>
                        <a:rPr lang="en-CA" sz="1000" dirty="0" err="1">
                          <a:hlinkClick r:id="rId8"/>
                        </a:rPr>
                        <a:t>Healthineers</a:t>
                      </a:r>
                      <a:endParaRPr lang="en-CA" sz="1000" dirty="0"/>
                    </a:p>
                    <a:p>
                      <a:pPr marL="171450" indent="-171450">
                        <a:lnSpc>
                          <a:spcPct val="150000"/>
                        </a:lnSpc>
                        <a:buFont typeface="Arial" panose="020B0604020202020204" pitchFamily="34" charset="0"/>
                        <a:buChar char="•"/>
                      </a:pPr>
                      <a:r>
                        <a:rPr lang="en-CA" sz="1000" dirty="0" err="1">
                          <a:hlinkClick r:id="rId9"/>
                        </a:rPr>
                        <a:t>PureFacts</a:t>
                      </a:r>
                      <a:endParaRPr lang="en-US" sz="1000" dirty="0"/>
                    </a:p>
                  </a:txBody>
                  <a:tcPr/>
                </a:tc>
                <a:extLst>
                  <a:ext uri="{0D108BD9-81ED-4DB2-BD59-A6C34878D82A}">
                    <a16:rowId xmlns:a16="http://schemas.microsoft.com/office/drawing/2014/main" val="1464769468"/>
                  </a:ext>
                </a:extLst>
              </a:tr>
              <a:tr h="907229">
                <a:tc>
                  <a:txBody>
                    <a:bodyPr/>
                    <a:lstStyle/>
                    <a:p>
                      <a:r>
                        <a:rPr lang="en-CA" sz="1000" b="1" dirty="0"/>
                        <a:t>Mission-critical or geo-distributed applications</a:t>
                      </a:r>
                      <a:endParaRPr lang="en-US" sz="1000" b="1" dirty="0"/>
                    </a:p>
                  </a:txBody>
                  <a:tcPr/>
                </a:tc>
                <a:tc>
                  <a:txBody>
                    <a:bodyPr/>
                    <a:lstStyle/>
                    <a:p>
                      <a:r>
                        <a:rPr lang="en-CA" sz="1000"/>
                        <a:t>Deliver consistent real-time, always-on user experience anywhere in the world</a:t>
                      </a:r>
                    </a:p>
                    <a:p>
                      <a:pPr marL="171450" indent="-171450">
                        <a:buFont typeface="Arial" panose="020B0604020202020204" pitchFamily="34" charset="0"/>
                        <a:buChar char="•"/>
                      </a:pPr>
                      <a:r>
                        <a:rPr lang="en-CA" sz="1000"/>
                        <a:t>Shopping cart/checkout</a:t>
                      </a:r>
                    </a:p>
                    <a:p>
                      <a:pPr marL="171450" indent="-171450">
                        <a:buFont typeface="Arial" panose="020B0604020202020204" pitchFamily="34" charset="0"/>
                        <a:buChar char="•"/>
                      </a:pPr>
                      <a:r>
                        <a:rPr lang="en-CA" sz="1000"/>
                        <a:t>IoT device registry</a:t>
                      </a:r>
                      <a:endParaRPr lang="en-US" sz="1000"/>
                    </a:p>
                  </a:txBody>
                  <a:tcPr/>
                </a:tc>
                <a:tc>
                  <a:txBody>
                    <a:bodyPr/>
                    <a:lstStyle/>
                    <a:p>
                      <a:pPr marL="171450" indent="-171450">
                        <a:buFont typeface="Wingdings" panose="05000000000000000000" pitchFamily="2" charset="2"/>
                        <a:buChar char="ü"/>
                      </a:pPr>
                      <a:r>
                        <a:rPr lang="en-CA" sz="1000" dirty="0"/>
                        <a:t>One-click, fully-managed </a:t>
                      </a:r>
                      <a:r>
                        <a:rPr lang="en-CA" sz="1000" b="1" dirty="0"/>
                        <a:t>data replication/distribution </a:t>
                      </a:r>
                      <a:r>
                        <a:rPr lang="en-CA" sz="1000" dirty="0"/>
                        <a:t>around the word</a:t>
                      </a:r>
                    </a:p>
                    <a:p>
                      <a:pPr marL="171450" indent="-171450">
                        <a:buFont typeface="Wingdings" panose="05000000000000000000" pitchFamily="2" charset="2"/>
                        <a:buChar char="ü"/>
                      </a:pPr>
                      <a:r>
                        <a:rPr lang="en-CA" sz="1000" b="1" dirty="0"/>
                        <a:t>&lt;10 </a:t>
                      </a:r>
                      <a:r>
                        <a:rPr lang="en-CA" sz="1000" b="1" dirty="0" err="1"/>
                        <a:t>ms</a:t>
                      </a:r>
                      <a:r>
                        <a:rPr lang="en-CA" sz="1000" b="1" dirty="0"/>
                        <a:t> low-latency </a:t>
                      </a:r>
                      <a:r>
                        <a:rPr lang="en-CA" sz="1000" dirty="0"/>
                        <a:t>SLA</a:t>
                      </a:r>
                    </a:p>
                    <a:p>
                      <a:pPr marL="171450" indent="-171450">
                        <a:buFont typeface="Wingdings" panose="05000000000000000000" pitchFamily="2" charset="2"/>
                        <a:buChar char="ü"/>
                      </a:pPr>
                      <a:r>
                        <a:rPr lang="en-CA" sz="1000" b="1" dirty="0"/>
                        <a:t>99.999% high-availability </a:t>
                      </a:r>
                      <a:r>
                        <a:rPr lang="en-CA" sz="1000" dirty="0"/>
                        <a:t>SLA</a:t>
                      </a:r>
                    </a:p>
                    <a:p>
                      <a:pPr marL="171450" indent="-171450">
                        <a:buFont typeface="Wingdings" panose="05000000000000000000" pitchFamily="2" charset="2"/>
                        <a:buChar char="ü"/>
                      </a:pPr>
                      <a:r>
                        <a:rPr lang="en-CA" sz="1000" dirty="0"/>
                        <a:t>Available in </a:t>
                      </a:r>
                      <a:r>
                        <a:rPr lang="en-CA" sz="1000" b="1" dirty="0"/>
                        <a:t>all Azure regions</a:t>
                      </a:r>
                      <a:endParaRPr lang="en-US" sz="1000" b="1" dirty="0"/>
                    </a:p>
                  </a:txBody>
                  <a:tcPr/>
                </a:tc>
                <a:tc>
                  <a:txBody>
                    <a:bodyPr/>
                    <a:lstStyle/>
                    <a:p>
                      <a:pPr marL="171450" indent="-171450">
                        <a:buFont typeface="Arial" panose="020B0604020202020204" pitchFamily="34" charset="0"/>
                        <a:buChar char="•"/>
                      </a:pPr>
                      <a:r>
                        <a:rPr lang="en-CA" sz="1000" dirty="0"/>
                        <a:t>Set up and maintain infrastructure, networks, and databases globally</a:t>
                      </a:r>
                    </a:p>
                    <a:p>
                      <a:pPr marL="171450" indent="-171450">
                        <a:buFont typeface="Arial" panose="020B0604020202020204" pitchFamily="34" charset="0"/>
                        <a:buChar char="•"/>
                      </a:pPr>
                      <a:r>
                        <a:rPr lang="en-CA" sz="1000" dirty="0"/>
                        <a:t>Manage data replication manually</a:t>
                      </a:r>
                    </a:p>
                    <a:p>
                      <a:pPr marL="171450" indent="-171450">
                        <a:buFont typeface="Arial" panose="020B0604020202020204" pitchFamily="34" charset="0"/>
                        <a:buChar char="•"/>
                      </a:pPr>
                      <a:r>
                        <a:rPr lang="en-CA" sz="1000" dirty="0"/>
                        <a:t>Time, complexity, and cost to scale capacity and reach</a:t>
                      </a:r>
                      <a:endParaRPr lang="en-US" sz="1000" dirty="0"/>
                    </a:p>
                  </a:txBody>
                  <a:tcPr/>
                </a:tc>
                <a:tc>
                  <a:txBody>
                    <a:bodyPr/>
                    <a:lstStyle/>
                    <a:p>
                      <a:pPr marL="228600" indent="-228600">
                        <a:buAutoNum type="arabicPeriod"/>
                      </a:pPr>
                      <a:r>
                        <a:rPr lang="en-CA" sz="1000"/>
                        <a:t>Use Session or Bounded Staleness pre-configured data consistency </a:t>
                      </a:r>
                    </a:p>
                    <a:p>
                      <a:pPr marL="228600" marR="0" lvl="0" indent="-228600" algn="l" defTabSz="914367" rtl="0" eaLnBrk="1" fontAlgn="auto" latinLnBrk="0" hangingPunct="1">
                        <a:lnSpc>
                          <a:spcPct val="100000"/>
                        </a:lnSpc>
                        <a:spcBef>
                          <a:spcPts val="0"/>
                        </a:spcBef>
                        <a:spcAft>
                          <a:spcPts val="0"/>
                        </a:spcAft>
                        <a:buClrTx/>
                        <a:buSzTx/>
                        <a:buFontTx/>
                        <a:buAutoNum type="arabicPeriod"/>
                        <a:tabLst/>
                        <a:defRPr/>
                      </a:pPr>
                      <a:r>
                        <a:rPr lang="en-CA" sz="1000"/>
                        <a:t>Use local region for read/write data in SDK connection policy</a:t>
                      </a:r>
                      <a:endParaRPr lang="en-US" sz="1000"/>
                    </a:p>
                    <a:p>
                      <a:pPr marL="228600" indent="-228600">
                        <a:buAutoNum type="arabicPeriod"/>
                      </a:pPr>
                      <a:r>
                        <a:rPr lang="en-US" sz="1000"/>
                        <a:t>Use multi-master writes/replication in production (not dev/test)</a:t>
                      </a:r>
                    </a:p>
                  </a:txBody>
                  <a:tcPr/>
                </a:tc>
                <a:tc>
                  <a:txBody>
                    <a:bodyPr/>
                    <a:lstStyle/>
                    <a:p>
                      <a:pPr marL="171450" indent="-171450">
                        <a:lnSpc>
                          <a:spcPct val="150000"/>
                        </a:lnSpc>
                        <a:buFont typeface="Arial" panose="020B0604020202020204" pitchFamily="34" charset="0"/>
                        <a:buChar char="•"/>
                      </a:pPr>
                      <a:r>
                        <a:rPr lang="en-CA" sz="1000" dirty="0"/>
                        <a:t>Walmart/</a:t>
                      </a:r>
                      <a:r>
                        <a:rPr lang="en-CA" sz="1000" dirty="0">
                          <a:hlinkClick r:id="rId10"/>
                        </a:rPr>
                        <a:t>Jet.com</a:t>
                      </a:r>
                      <a:endParaRPr lang="en-CA" sz="1000" dirty="0"/>
                    </a:p>
                    <a:p>
                      <a:pPr marL="171450" indent="-171450">
                        <a:lnSpc>
                          <a:spcPct val="150000"/>
                        </a:lnSpc>
                        <a:buFont typeface="Arial" panose="020B0604020202020204" pitchFamily="34" charset="0"/>
                        <a:buChar char="•"/>
                      </a:pPr>
                      <a:r>
                        <a:rPr lang="en-CA" sz="1000" dirty="0"/>
                        <a:t>Citrix</a:t>
                      </a:r>
                    </a:p>
                    <a:p>
                      <a:pPr marL="171450" indent="-171450">
                        <a:lnSpc>
                          <a:spcPct val="150000"/>
                        </a:lnSpc>
                        <a:buFont typeface="Arial" panose="020B0604020202020204" pitchFamily="34" charset="0"/>
                        <a:buChar char="•"/>
                      </a:pPr>
                      <a:r>
                        <a:rPr lang="en-CA" sz="1000" dirty="0">
                          <a:hlinkClick r:id="rId11"/>
                        </a:rPr>
                        <a:t>Chipotle Mexican Grill</a:t>
                      </a:r>
                      <a:endParaRPr lang="en-US" sz="1000" dirty="0"/>
                    </a:p>
                  </a:txBody>
                  <a:tcPr/>
                </a:tc>
                <a:extLst>
                  <a:ext uri="{0D108BD9-81ED-4DB2-BD59-A6C34878D82A}">
                    <a16:rowId xmlns:a16="http://schemas.microsoft.com/office/drawing/2014/main" val="2015326241"/>
                  </a:ext>
                </a:extLst>
              </a:tr>
              <a:tr h="907229">
                <a:tc>
                  <a:txBody>
                    <a:bodyPr/>
                    <a:lstStyle/>
                    <a:p>
                      <a:r>
                        <a:rPr lang="en-CA" sz="1000" b="1"/>
                        <a:t>NoSQL migration</a:t>
                      </a:r>
                      <a:endParaRPr lang="en-US" sz="1000" b="1"/>
                    </a:p>
                  </a:txBody>
                  <a:tcPr/>
                </a:tc>
                <a:tc>
                  <a:txBody>
                    <a:bodyPr/>
                    <a:lstStyle/>
                    <a:p>
                      <a:r>
                        <a:rPr lang="en-CA" sz="1000"/>
                        <a:t>Move from self-managed NoSQL (e.g., MongoDB, Cassandra) to PaaS solution and stop managing clusters.</a:t>
                      </a:r>
                      <a:endParaRPr lang="en-US" sz="1000"/>
                    </a:p>
                  </a:txBody>
                  <a:tcPr/>
                </a:tc>
                <a:tc>
                  <a:txBody>
                    <a:bodyPr/>
                    <a:lstStyle/>
                    <a:p>
                      <a:pPr marL="171450" indent="-171450">
                        <a:buFont typeface="Wingdings" panose="05000000000000000000" pitchFamily="2" charset="2"/>
                        <a:buChar char="ü"/>
                      </a:pPr>
                      <a:r>
                        <a:rPr lang="en-CA" sz="1000" b="1" dirty="0"/>
                        <a:t>Full PaaS offering</a:t>
                      </a:r>
                      <a:r>
                        <a:rPr lang="en-CA" sz="1000" dirty="0"/>
                        <a:t> that handles all database/cluster management</a:t>
                      </a:r>
                    </a:p>
                    <a:p>
                      <a:pPr marL="171450" indent="-171450">
                        <a:buFont typeface="Wingdings" panose="05000000000000000000" pitchFamily="2" charset="2"/>
                        <a:buChar char="ü"/>
                      </a:pPr>
                      <a:r>
                        <a:rPr lang="en-US" sz="1000" b="1" dirty="0"/>
                        <a:t>APIs</a:t>
                      </a:r>
                      <a:r>
                        <a:rPr lang="en-US" sz="1000" dirty="0"/>
                        <a:t> for MongoDB, Cassandra, and other NoSQL enable migration with minimal code changes</a:t>
                      </a:r>
                    </a:p>
                  </a:txBody>
                  <a:tcPr/>
                </a:tc>
                <a:tc>
                  <a:txBody>
                    <a:bodyPr/>
                    <a:lstStyle/>
                    <a:p>
                      <a:pPr marL="171450" indent="-171450">
                        <a:buFont typeface="Arial" panose="020B0604020202020204" pitchFamily="34" charset="0"/>
                        <a:buChar char="•"/>
                      </a:pPr>
                      <a:r>
                        <a:rPr lang="en-CA" sz="1000" dirty="0"/>
                        <a:t>Create, manage, and tune clusters</a:t>
                      </a:r>
                    </a:p>
                    <a:p>
                      <a:pPr marL="171450" indent="-171450">
                        <a:buFont typeface="Arial" panose="020B0604020202020204" pitchFamily="34" charset="0"/>
                        <a:buChar char="•"/>
                      </a:pPr>
                      <a:r>
                        <a:rPr lang="en-US" sz="1000" dirty="0"/>
                        <a:t>Manage upgrades, patching, </a:t>
                      </a:r>
                      <a:r>
                        <a:rPr lang="en-US" sz="1000" dirty="0" err="1"/>
                        <a:t>etc</a:t>
                      </a:r>
                      <a:endParaRPr lang="en-US" sz="1000" dirty="0"/>
                    </a:p>
                    <a:p>
                      <a:pPr marL="171450" indent="-171450">
                        <a:buFont typeface="Arial" panose="020B0604020202020204" pitchFamily="34" charset="0"/>
                        <a:buChar char="•"/>
                      </a:pPr>
                      <a:r>
                        <a:rPr lang="en-US" sz="1000" dirty="0"/>
                        <a:t>24-7 internal team for monitoring, site reliability, and performance optimization</a:t>
                      </a:r>
                    </a:p>
                  </a:txBody>
                  <a:tcPr/>
                </a:tc>
                <a:tc>
                  <a:txBody>
                    <a:bodyPr/>
                    <a:lstStyle/>
                    <a:p>
                      <a:pPr marL="228600" indent="-228600">
                        <a:buAutoNum type="arabicPeriod"/>
                      </a:pPr>
                      <a:r>
                        <a:rPr lang="en-CA" sz="1000"/>
                        <a:t>Use Azure Data Migration Service to migrate to API for MongoDB</a:t>
                      </a:r>
                    </a:p>
                    <a:p>
                      <a:pPr marL="228600" indent="-228600">
                        <a:buAutoNum type="arabicPeriod"/>
                      </a:pPr>
                      <a:r>
                        <a:rPr lang="en-CA" sz="1000"/>
                        <a:t>Use Azure Data Factory to migrate to SQL (core) API</a:t>
                      </a:r>
                    </a:p>
                    <a:p>
                      <a:pPr marL="228600" indent="-228600">
                        <a:buAutoNum type="arabicPeriod"/>
                      </a:pPr>
                      <a:r>
                        <a:rPr lang="en-CA" sz="1000"/>
                        <a:t>Use </a:t>
                      </a:r>
                      <a:r>
                        <a:rPr lang="en-CA" sz="1000" err="1"/>
                        <a:t>Striim</a:t>
                      </a:r>
                      <a:r>
                        <a:rPr lang="en-CA" sz="1000"/>
                        <a:t> (or other </a:t>
                      </a:r>
                      <a:r>
                        <a:rPr lang="en-CA" sz="1000">
                          <a:hlinkClick r:id="rId12"/>
                        </a:rPr>
                        <a:t>preferred partner</a:t>
                      </a:r>
                      <a:r>
                        <a:rPr lang="en-CA" sz="1000"/>
                        <a:t>) for any migration</a:t>
                      </a:r>
                    </a:p>
                    <a:p>
                      <a:pPr marL="228600" indent="-228600">
                        <a:buAutoNum type="arabicPeriod"/>
                      </a:pPr>
                      <a:endParaRPr lang="en-US" sz="1000"/>
                    </a:p>
                  </a:txBody>
                  <a:tcPr/>
                </a:tc>
                <a:tc>
                  <a:txBody>
                    <a:bodyPr/>
                    <a:lstStyle/>
                    <a:p>
                      <a:pPr marL="171450" indent="-171450">
                        <a:lnSpc>
                          <a:spcPct val="150000"/>
                        </a:lnSpc>
                        <a:buFont typeface="Arial" panose="020B0604020202020204" pitchFamily="34" charset="0"/>
                        <a:buChar char="•"/>
                      </a:pPr>
                      <a:r>
                        <a:rPr lang="en-CA" sz="1000" dirty="0">
                          <a:hlinkClick r:id="rId13"/>
                        </a:rPr>
                        <a:t>Bentley Systems</a:t>
                      </a:r>
                      <a:endParaRPr lang="en-CA" sz="1000" dirty="0"/>
                    </a:p>
                    <a:p>
                      <a:pPr marL="171450" indent="-171450">
                        <a:lnSpc>
                          <a:spcPct val="150000"/>
                        </a:lnSpc>
                        <a:buFont typeface="Arial" panose="020B0604020202020204" pitchFamily="34" charset="0"/>
                        <a:buChar char="•"/>
                      </a:pPr>
                      <a:r>
                        <a:rPr lang="en-CA" sz="1000" dirty="0">
                          <a:hlinkClick r:id="rId14"/>
                        </a:rPr>
                        <a:t>Symantec</a:t>
                      </a:r>
                      <a:r>
                        <a:rPr lang="en-CA" sz="1000" dirty="0"/>
                        <a:t> (Norton)</a:t>
                      </a:r>
                      <a:endParaRPr lang="en-US" sz="1000" dirty="0"/>
                    </a:p>
                  </a:txBody>
                  <a:tcPr/>
                </a:tc>
                <a:extLst>
                  <a:ext uri="{0D108BD9-81ED-4DB2-BD59-A6C34878D82A}">
                    <a16:rowId xmlns:a16="http://schemas.microsoft.com/office/drawing/2014/main" val="3199166130"/>
                  </a:ext>
                </a:extLst>
              </a:tr>
            </a:tbl>
          </a:graphicData>
        </a:graphic>
      </p:graphicFrame>
    </p:spTree>
    <p:extLst>
      <p:ext uri="{BB962C8B-B14F-4D97-AF65-F5344CB8AC3E}">
        <p14:creationId xmlns:p14="http://schemas.microsoft.com/office/powerpoint/2010/main" val="324928504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37318" y="2139702"/>
            <a:ext cx="5134143" cy="2831544"/>
          </a:xfrm>
        </p:spPr>
        <p:txBody>
          <a:bodyPr/>
          <a:lstStyle/>
          <a:p>
            <a:pPr lvl="0">
              <a:lnSpc>
                <a:spcPct val="100000"/>
              </a:lnSpc>
              <a:spcAft>
                <a:spcPts val="1200"/>
              </a:spcAft>
            </a:pPr>
            <a:r>
              <a:rPr lang="en-US" sz="1600" b="1" dirty="0">
                <a:solidFill>
                  <a:schemeClr val="tx2"/>
                </a:solidFill>
                <a:latin typeface="Segoe UI Semibold" panose="020B0502040204020203" pitchFamily="34" charset="0"/>
                <a:cs typeface="Segoe UI Semibold" panose="020B0502040204020203" pitchFamily="34" charset="0"/>
              </a:rPr>
              <a:t>Stay agile by analyzing and predicting your needs and actions before they occur.</a:t>
            </a:r>
          </a:p>
          <a:p>
            <a:pPr marL="0" lvl="1">
              <a:lnSpc>
                <a:spcPct val="100000"/>
              </a:lnSpc>
              <a:spcAft>
                <a:spcPts val="1200"/>
              </a:spcAft>
              <a:buClr>
                <a:srgbClr val="0078D4"/>
              </a:buClr>
              <a:buSzPct val="100000"/>
            </a:pPr>
            <a:r>
              <a:rPr lang="en-US" sz="1600" dirty="0">
                <a:solidFill>
                  <a:schemeClr val="tx1"/>
                </a:solidFill>
                <a:latin typeface="Segoe UI Semilight" panose="020B0402040204020203" pitchFamily="34" charset="0"/>
                <a:cs typeface="Segoe UI Semilight" panose="020B0402040204020203" pitchFamily="34" charset="0"/>
              </a:rPr>
              <a:t>Machine learning models generate real-time recommendations across physical processes and digital click streams</a:t>
            </a:r>
          </a:p>
          <a:p>
            <a:pPr marL="0" lvl="1">
              <a:lnSpc>
                <a:spcPct val="100000"/>
              </a:lnSpc>
              <a:spcAft>
                <a:spcPts val="1200"/>
              </a:spcAft>
              <a:buClr>
                <a:srgbClr val="0078D4"/>
              </a:buClr>
              <a:buSzPct val="100000"/>
            </a:pPr>
            <a:r>
              <a:rPr lang="en-US" sz="1600" dirty="0">
                <a:solidFill>
                  <a:schemeClr val="tx1"/>
                </a:solidFill>
                <a:latin typeface="Segoe UI Semilight" panose="020B0402040204020203" pitchFamily="34" charset="0"/>
                <a:cs typeface="Segoe UI Semilight" panose="020B0402040204020203" pitchFamily="34" charset="0"/>
              </a:rPr>
              <a:t>High volumes of IoT data can be analyzed in milliseconds</a:t>
            </a:r>
          </a:p>
          <a:p>
            <a:pPr marL="0" lvl="1">
              <a:lnSpc>
                <a:spcPct val="100000"/>
              </a:lnSpc>
              <a:spcAft>
                <a:spcPts val="1200"/>
              </a:spcAft>
              <a:buClr>
                <a:srgbClr val="0078D4"/>
              </a:buClr>
              <a:buSzPct val="100000"/>
            </a:pPr>
            <a:r>
              <a:rPr lang="en-US" sz="1600" dirty="0">
                <a:solidFill>
                  <a:schemeClr val="tx1"/>
                </a:solidFill>
                <a:latin typeface="Segoe UI Semilight" panose="020B0402040204020203" pitchFamily="34" charset="0"/>
                <a:cs typeface="Segoe UI Semilight" panose="020B0402040204020203" pitchFamily="34" charset="0"/>
              </a:rPr>
              <a:t>Low-latency ensures high app performance and instant efficiency insights worldwide</a:t>
            </a:r>
          </a:p>
          <a:p>
            <a:pPr marL="0" lvl="1">
              <a:lnSpc>
                <a:spcPct val="100000"/>
              </a:lnSpc>
              <a:spcAft>
                <a:spcPts val="1200"/>
              </a:spcAft>
              <a:buClr>
                <a:srgbClr val="0078D4"/>
              </a:buClr>
              <a:buSzPct val="100000"/>
            </a:pPr>
            <a:r>
              <a:rPr lang="en-US" sz="1600" dirty="0">
                <a:solidFill>
                  <a:schemeClr val="tx1"/>
                </a:solidFill>
                <a:latin typeface="Segoe UI Semilight" panose="020B0402040204020203" pitchFamily="34" charset="0"/>
                <a:cs typeface="Segoe UI Semilight" panose="020B0402040204020203" pitchFamily="34" charset="0"/>
              </a:rPr>
              <a:t>Tunable data consistency models for rapid insight</a:t>
            </a:r>
          </a:p>
        </p:txBody>
      </p:sp>
      <p:sp>
        <p:nvSpPr>
          <p:cNvPr id="2" name="Title 1"/>
          <p:cNvSpPr>
            <a:spLocks noGrp="1"/>
          </p:cNvSpPr>
          <p:nvPr>
            <p:ph type="title"/>
          </p:nvPr>
        </p:nvSpPr>
        <p:spPr/>
        <p:txBody>
          <a:bodyPr/>
          <a:lstStyle/>
          <a:p>
            <a:pPr>
              <a:lnSpc>
                <a:spcPct val="100000"/>
              </a:lnSpc>
            </a:pPr>
            <a:r>
              <a:rPr lang="en-US" sz="2800" dirty="0">
                <a:solidFill>
                  <a:schemeClr val="tx2"/>
                </a:solidFill>
                <a:latin typeface="Segoe UI Semilight" panose="020B0402040204020203" pitchFamily="34" charset="0"/>
                <a:cs typeface="Segoe UI Semilight" panose="020B0402040204020203" pitchFamily="34" charset="0"/>
              </a:rPr>
              <a:t>REAL-TIME TELEMETRY (IoT and user actions)</a:t>
            </a:r>
          </a:p>
        </p:txBody>
      </p:sp>
      <p:sp>
        <p:nvSpPr>
          <p:cNvPr id="6" name="TextBox 5">
            <a:extLst>
              <a:ext uri="{FF2B5EF4-FFF2-40B4-BE49-F238E27FC236}">
                <a16:creationId xmlns:a16="http://schemas.microsoft.com/office/drawing/2014/main" id="{47E66EC0-DE1A-0C49-94E0-F9CE9FCEF294}"/>
              </a:ext>
            </a:extLst>
          </p:cNvPr>
          <p:cNvSpPr txBox="1"/>
          <p:nvPr/>
        </p:nvSpPr>
        <p:spPr>
          <a:xfrm>
            <a:off x="7192796" y="2257849"/>
            <a:ext cx="1100103" cy="23852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Azure </a:t>
            </a:r>
            <a:r>
              <a:rPr kumimoji="0" lang="en-US" sz="9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Iot</a:t>
            </a: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 Hub</a:t>
            </a:r>
          </a:p>
        </p:txBody>
      </p:sp>
      <p:sp>
        <p:nvSpPr>
          <p:cNvPr id="7" name="TextBox 6">
            <a:extLst>
              <a:ext uri="{FF2B5EF4-FFF2-40B4-BE49-F238E27FC236}">
                <a16:creationId xmlns:a16="http://schemas.microsoft.com/office/drawing/2014/main" id="{8E664F09-8E70-1744-B212-90B8567F5448}"/>
              </a:ext>
            </a:extLst>
          </p:cNvPr>
          <p:cNvSpPr txBox="1"/>
          <p:nvPr/>
        </p:nvSpPr>
        <p:spPr>
          <a:xfrm>
            <a:off x="8212948" y="2257849"/>
            <a:ext cx="1422000" cy="369332"/>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Azure Databricks Spark (Structured Streaming)</a:t>
            </a:r>
          </a:p>
        </p:txBody>
      </p:sp>
      <p:sp>
        <p:nvSpPr>
          <p:cNvPr id="8" name="TextBox 7">
            <a:extLst>
              <a:ext uri="{FF2B5EF4-FFF2-40B4-BE49-F238E27FC236}">
                <a16:creationId xmlns:a16="http://schemas.microsoft.com/office/drawing/2014/main" id="{C9866ADE-140D-1B4F-9034-853D825A3181}"/>
              </a:ext>
            </a:extLst>
          </p:cNvPr>
          <p:cNvSpPr txBox="1"/>
          <p:nvPr/>
        </p:nvSpPr>
        <p:spPr>
          <a:xfrm>
            <a:off x="9411025" y="2257849"/>
            <a:ext cx="1422000" cy="50783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Azure Cosmos DB</a:t>
            </a:r>
            <a:b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Ho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TTL = 90 days)</a:t>
            </a:r>
          </a:p>
        </p:txBody>
      </p:sp>
      <p:sp>
        <p:nvSpPr>
          <p:cNvPr id="9" name="TextBox 8">
            <a:extLst>
              <a:ext uri="{FF2B5EF4-FFF2-40B4-BE49-F238E27FC236}">
                <a16:creationId xmlns:a16="http://schemas.microsoft.com/office/drawing/2014/main" id="{D258B79D-663C-AF42-8692-AA66C9354C2D}"/>
              </a:ext>
            </a:extLst>
          </p:cNvPr>
          <p:cNvSpPr txBox="1"/>
          <p:nvPr/>
        </p:nvSpPr>
        <p:spPr>
          <a:xfrm>
            <a:off x="10549499" y="2257849"/>
            <a:ext cx="1422000" cy="369332"/>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Azure API App</a:t>
            </a:r>
            <a:b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user facing app)</a:t>
            </a:r>
          </a:p>
        </p:txBody>
      </p:sp>
      <p:sp>
        <p:nvSpPr>
          <p:cNvPr id="10" name="TextBox 9">
            <a:extLst>
              <a:ext uri="{FF2B5EF4-FFF2-40B4-BE49-F238E27FC236}">
                <a16:creationId xmlns:a16="http://schemas.microsoft.com/office/drawing/2014/main" id="{01D9B101-5817-F540-9E1B-4FF6F2F93423}"/>
              </a:ext>
            </a:extLst>
          </p:cNvPr>
          <p:cNvSpPr txBox="1"/>
          <p:nvPr/>
        </p:nvSpPr>
        <p:spPr>
          <a:xfrm>
            <a:off x="8294039" y="3429000"/>
            <a:ext cx="1422000" cy="50783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Azure Function</a:t>
            </a:r>
            <a:b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triggered via Cosmos DB change feed)</a:t>
            </a:r>
          </a:p>
        </p:txBody>
      </p:sp>
      <p:sp>
        <p:nvSpPr>
          <p:cNvPr id="11" name="TextBox 10">
            <a:extLst>
              <a:ext uri="{FF2B5EF4-FFF2-40B4-BE49-F238E27FC236}">
                <a16:creationId xmlns:a16="http://schemas.microsoft.com/office/drawing/2014/main" id="{9EEB27FD-B1C1-C849-9319-4C865F5C27E2}"/>
              </a:ext>
            </a:extLst>
          </p:cNvPr>
          <p:cNvSpPr txBox="1"/>
          <p:nvPr/>
        </p:nvSpPr>
        <p:spPr>
          <a:xfrm>
            <a:off x="9411025" y="3429000"/>
            <a:ext cx="1422000" cy="369332"/>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Azure Storage</a:t>
            </a:r>
            <a:b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Cold)</a:t>
            </a:r>
          </a:p>
        </p:txBody>
      </p:sp>
      <p:sp>
        <p:nvSpPr>
          <p:cNvPr id="12" name="TextBox 11">
            <a:extLst>
              <a:ext uri="{FF2B5EF4-FFF2-40B4-BE49-F238E27FC236}">
                <a16:creationId xmlns:a16="http://schemas.microsoft.com/office/drawing/2014/main" id="{F7667E19-A051-E043-8A06-A9AFF947C83D}"/>
              </a:ext>
            </a:extLst>
          </p:cNvPr>
          <p:cNvSpPr txBox="1"/>
          <p:nvPr/>
        </p:nvSpPr>
        <p:spPr>
          <a:xfrm>
            <a:off x="9435123" y="4678631"/>
            <a:ext cx="1422000" cy="50783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Azure SQL DW</a:t>
            </a:r>
            <a:b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Col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Summarized Telemetry)</a:t>
            </a:r>
          </a:p>
        </p:txBody>
      </p:sp>
      <p:sp>
        <p:nvSpPr>
          <p:cNvPr id="13" name="TextBox 12">
            <a:extLst>
              <a:ext uri="{FF2B5EF4-FFF2-40B4-BE49-F238E27FC236}">
                <a16:creationId xmlns:a16="http://schemas.microsoft.com/office/drawing/2014/main" id="{D86594C6-6565-164B-AC58-50432610A8B4}"/>
              </a:ext>
            </a:extLst>
          </p:cNvPr>
          <p:cNvSpPr txBox="1"/>
          <p:nvPr/>
        </p:nvSpPr>
        <p:spPr>
          <a:xfrm>
            <a:off x="10561548" y="4677676"/>
            <a:ext cx="1422000" cy="230832"/>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Power BI Dashboard</a:t>
            </a:r>
          </a:p>
        </p:txBody>
      </p:sp>
      <p:sp>
        <p:nvSpPr>
          <p:cNvPr id="15" name="Freeform: Shape 222">
            <a:extLst>
              <a:ext uri="{FF2B5EF4-FFF2-40B4-BE49-F238E27FC236}">
                <a16:creationId xmlns:a16="http://schemas.microsoft.com/office/drawing/2014/main" id="{FEB1771F-C55D-EA45-B0C7-5BDE95A8E40B}"/>
              </a:ext>
            </a:extLst>
          </p:cNvPr>
          <p:cNvSpPr/>
          <p:nvPr/>
        </p:nvSpPr>
        <p:spPr bwMode="auto">
          <a:xfrm>
            <a:off x="8858530" y="3161011"/>
            <a:ext cx="330304" cy="277060"/>
          </a:xfrm>
          <a:custGeom>
            <a:avLst/>
            <a:gdLst>
              <a:gd name="connsiteX0" fmla="*/ 369535 w 495815"/>
              <a:gd name="connsiteY0" fmla="*/ 64089 h 415892"/>
              <a:gd name="connsiteX1" fmla="*/ 491077 w 495815"/>
              <a:gd name="connsiteY1" fmla="*/ 185632 h 415892"/>
              <a:gd name="connsiteX2" fmla="*/ 491077 w 495815"/>
              <a:gd name="connsiteY2" fmla="*/ 208509 h 415892"/>
              <a:gd name="connsiteX3" fmla="*/ 369535 w 495815"/>
              <a:gd name="connsiteY3" fmla="*/ 330051 h 415892"/>
              <a:gd name="connsiteX4" fmla="*/ 347634 w 495815"/>
              <a:gd name="connsiteY4" fmla="*/ 308149 h 415892"/>
              <a:gd name="connsiteX5" fmla="*/ 458712 w 495815"/>
              <a:gd name="connsiteY5" fmla="*/ 197070 h 415892"/>
              <a:gd name="connsiteX6" fmla="*/ 347634 w 495815"/>
              <a:gd name="connsiteY6" fmla="*/ 85991 h 415892"/>
              <a:gd name="connsiteX7" fmla="*/ 126279 w 495815"/>
              <a:gd name="connsiteY7" fmla="*/ 64089 h 415892"/>
              <a:gd name="connsiteX8" fmla="*/ 148181 w 495815"/>
              <a:gd name="connsiteY8" fmla="*/ 85991 h 415892"/>
              <a:gd name="connsiteX9" fmla="*/ 37102 w 495815"/>
              <a:gd name="connsiteY9" fmla="*/ 197070 h 415892"/>
              <a:gd name="connsiteX10" fmla="*/ 148181 w 495815"/>
              <a:gd name="connsiteY10" fmla="*/ 308149 h 415892"/>
              <a:gd name="connsiteX11" fmla="*/ 126279 w 495815"/>
              <a:gd name="connsiteY11" fmla="*/ 330051 h 415892"/>
              <a:gd name="connsiteX12" fmla="*/ 4737 w 495815"/>
              <a:gd name="connsiteY12" fmla="*/ 208509 h 415892"/>
              <a:gd name="connsiteX13" fmla="*/ 4737 w 495815"/>
              <a:gd name="connsiteY13" fmla="*/ 185632 h 415892"/>
              <a:gd name="connsiteX14" fmla="*/ 220081 w 495815"/>
              <a:gd name="connsiteY14" fmla="*/ 0 h 415892"/>
              <a:gd name="connsiteX15" fmla="*/ 355421 w 495815"/>
              <a:gd name="connsiteY15" fmla="*/ 0 h 415892"/>
              <a:gd name="connsiteX16" fmla="*/ 270833 w 495815"/>
              <a:gd name="connsiteY16" fmla="*/ 141446 h 415892"/>
              <a:gd name="connsiteX17" fmla="*/ 361765 w 495815"/>
              <a:gd name="connsiteY17" fmla="*/ 141446 h 415892"/>
              <a:gd name="connsiteX18" fmla="*/ 165099 w 495815"/>
              <a:gd name="connsiteY18" fmla="*/ 415892 h 415892"/>
              <a:gd name="connsiteX19" fmla="*/ 239113 w 495815"/>
              <a:gd name="connsiteY19" fmla="*/ 211113 h 415892"/>
              <a:gd name="connsiteX20" fmla="*/ 148181 w 495815"/>
              <a:gd name="connsiteY20" fmla="*/ 211113 h 4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5815" h="415892">
                <a:moveTo>
                  <a:pt x="369535" y="64089"/>
                </a:moveTo>
                <a:lnTo>
                  <a:pt x="491077" y="185632"/>
                </a:lnTo>
                <a:cubicBezTo>
                  <a:pt x="497395" y="191949"/>
                  <a:pt x="497395" y="202191"/>
                  <a:pt x="491077" y="208509"/>
                </a:cubicBezTo>
                <a:lnTo>
                  <a:pt x="369535" y="330051"/>
                </a:lnTo>
                <a:lnTo>
                  <a:pt x="347634" y="308149"/>
                </a:lnTo>
                <a:lnTo>
                  <a:pt x="458712" y="197070"/>
                </a:lnTo>
                <a:lnTo>
                  <a:pt x="347634" y="85991"/>
                </a:lnTo>
                <a:close/>
                <a:moveTo>
                  <a:pt x="126279" y="64089"/>
                </a:moveTo>
                <a:lnTo>
                  <a:pt x="148181" y="85991"/>
                </a:lnTo>
                <a:lnTo>
                  <a:pt x="37102" y="197070"/>
                </a:lnTo>
                <a:lnTo>
                  <a:pt x="148181" y="308149"/>
                </a:lnTo>
                <a:lnTo>
                  <a:pt x="126279" y="330051"/>
                </a:lnTo>
                <a:lnTo>
                  <a:pt x="4737" y="208509"/>
                </a:lnTo>
                <a:cubicBezTo>
                  <a:pt x="-1580" y="202191"/>
                  <a:pt x="-1580" y="191949"/>
                  <a:pt x="4737" y="185632"/>
                </a:cubicBezTo>
                <a:close/>
                <a:moveTo>
                  <a:pt x="220081" y="0"/>
                </a:moveTo>
                <a:lnTo>
                  <a:pt x="355421" y="0"/>
                </a:lnTo>
                <a:lnTo>
                  <a:pt x="270833" y="141446"/>
                </a:lnTo>
                <a:lnTo>
                  <a:pt x="361765" y="141446"/>
                </a:lnTo>
                <a:lnTo>
                  <a:pt x="165099" y="415892"/>
                </a:lnTo>
                <a:lnTo>
                  <a:pt x="239113" y="211113"/>
                </a:lnTo>
                <a:lnTo>
                  <a:pt x="148181" y="211113"/>
                </a:lnTo>
                <a:close/>
              </a:path>
            </a:pathLst>
          </a:custGeom>
          <a:solidFill>
            <a:schemeClr val="tx2"/>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Freeform 15">
            <a:extLst>
              <a:ext uri="{FF2B5EF4-FFF2-40B4-BE49-F238E27FC236}">
                <a16:creationId xmlns:a16="http://schemas.microsoft.com/office/drawing/2014/main" id="{A737564E-917D-B241-B187-5445CA1F932B}"/>
              </a:ext>
            </a:extLst>
          </p:cNvPr>
          <p:cNvSpPr/>
          <p:nvPr/>
        </p:nvSpPr>
        <p:spPr bwMode="auto">
          <a:xfrm>
            <a:off x="9985819" y="3151938"/>
            <a:ext cx="323230" cy="277062"/>
          </a:xfrm>
          <a:custGeom>
            <a:avLst/>
            <a:gdLst>
              <a:gd name="connsiteX0" fmla="*/ 362857 w 5905319"/>
              <a:gd name="connsiteY0" fmla="*/ 3102425 h 5061856"/>
              <a:gd name="connsiteX1" fmla="*/ 362857 w 5905319"/>
              <a:gd name="connsiteY1" fmla="*/ 3599539 h 5061856"/>
              <a:gd name="connsiteX2" fmla="*/ 1208314 w 5905319"/>
              <a:gd name="connsiteY2" fmla="*/ 3599539 h 5061856"/>
              <a:gd name="connsiteX3" fmla="*/ 1208314 w 5905319"/>
              <a:gd name="connsiteY3" fmla="*/ 3102425 h 5061856"/>
              <a:gd name="connsiteX4" fmla="*/ 1389952 w 5905319"/>
              <a:gd name="connsiteY4" fmla="*/ 3102424 h 5061856"/>
              <a:gd name="connsiteX5" fmla="*/ 1389952 w 5905319"/>
              <a:gd name="connsiteY5" fmla="*/ 3599538 h 5061856"/>
              <a:gd name="connsiteX6" fmla="*/ 2235409 w 5905319"/>
              <a:gd name="connsiteY6" fmla="*/ 3599538 h 5061856"/>
              <a:gd name="connsiteX7" fmla="*/ 2235409 w 5905319"/>
              <a:gd name="connsiteY7" fmla="*/ 3102424 h 5061856"/>
              <a:gd name="connsiteX8" fmla="*/ 2417047 w 5905319"/>
              <a:gd name="connsiteY8" fmla="*/ 3102423 h 5061856"/>
              <a:gd name="connsiteX9" fmla="*/ 2417047 w 5905319"/>
              <a:gd name="connsiteY9" fmla="*/ 3399907 h 5061856"/>
              <a:gd name="connsiteX10" fmla="*/ 2583882 w 5905319"/>
              <a:gd name="connsiteY10" fmla="*/ 3102423 h 5061856"/>
              <a:gd name="connsiteX11" fmla="*/ 362857 w 5905319"/>
              <a:gd name="connsiteY11" fmla="*/ 2416626 h 5061856"/>
              <a:gd name="connsiteX12" fmla="*/ 362857 w 5905319"/>
              <a:gd name="connsiteY12" fmla="*/ 2913740 h 5061856"/>
              <a:gd name="connsiteX13" fmla="*/ 1208314 w 5905319"/>
              <a:gd name="connsiteY13" fmla="*/ 2913740 h 5061856"/>
              <a:gd name="connsiteX14" fmla="*/ 1208314 w 5905319"/>
              <a:gd name="connsiteY14" fmla="*/ 2416626 h 5061856"/>
              <a:gd name="connsiteX15" fmla="*/ 1389952 w 5905319"/>
              <a:gd name="connsiteY15" fmla="*/ 2416625 h 5061856"/>
              <a:gd name="connsiteX16" fmla="*/ 1389952 w 5905319"/>
              <a:gd name="connsiteY16" fmla="*/ 2913739 h 5061856"/>
              <a:gd name="connsiteX17" fmla="*/ 2235409 w 5905319"/>
              <a:gd name="connsiteY17" fmla="*/ 2913739 h 5061856"/>
              <a:gd name="connsiteX18" fmla="*/ 2235409 w 5905319"/>
              <a:gd name="connsiteY18" fmla="*/ 2416625 h 5061856"/>
              <a:gd name="connsiteX19" fmla="*/ 2417047 w 5905319"/>
              <a:gd name="connsiteY19" fmla="*/ 2416624 h 5061856"/>
              <a:gd name="connsiteX20" fmla="*/ 2417047 w 5905319"/>
              <a:gd name="connsiteY20" fmla="*/ 2913738 h 5061856"/>
              <a:gd name="connsiteX21" fmla="*/ 2689701 w 5905319"/>
              <a:gd name="connsiteY21" fmla="*/ 2913738 h 5061856"/>
              <a:gd name="connsiteX22" fmla="*/ 2968492 w 5905319"/>
              <a:gd name="connsiteY22" fmla="*/ 2416624 h 5061856"/>
              <a:gd name="connsiteX23" fmla="*/ 362857 w 5905319"/>
              <a:gd name="connsiteY23" fmla="*/ 1730827 h 5061856"/>
              <a:gd name="connsiteX24" fmla="*/ 362857 w 5905319"/>
              <a:gd name="connsiteY24" fmla="*/ 2227941 h 5061856"/>
              <a:gd name="connsiteX25" fmla="*/ 1208314 w 5905319"/>
              <a:gd name="connsiteY25" fmla="*/ 2227941 h 5061856"/>
              <a:gd name="connsiteX26" fmla="*/ 1208314 w 5905319"/>
              <a:gd name="connsiteY26" fmla="*/ 1730827 h 5061856"/>
              <a:gd name="connsiteX27" fmla="*/ 1389952 w 5905319"/>
              <a:gd name="connsiteY27" fmla="*/ 1730826 h 5061856"/>
              <a:gd name="connsiteX28" fmla="*/ 1389952 w 5905319"/>
              <a:gd name="connsiteY28" fmla="*/ 2227940 h 5061856"/>
              <a:gd name="connsiteX29" fmla="*/ 2235409 w 5905319"/>
              <a:gd name="connsiteY29" fmla="*/ 2227940 h 5061856"/>
              <a:gd name="connsiteX30" fmla="*/ 2235409 w 5905319"/>
              <a:gd name="connsiteY30" fmla="*/ 1730826 h 5061856"/>
              <a:gd name="connsiteX31" fmla="*/ 2417047 w 5905319"/>
              <a:gd name="connsiteY31" fmla="*/ 1730825 h 5061856"/>
              <a:gd name="connsiteX32" fmla="*/ 2417047 w 5905319"/>
              <a:gd name="connsiteY32" fmla="*/ 2227939 h 5061856"/>
              <a:gd name="connsiteX33" fmla="*/ 3074311 w 5905319"/>
              <a:gd name="connsiteY33" fmla="*/ 2227939 h 5061856"/>
              <a:gd name="connsiteX34" fmla="*/ 3224896 w 5905319"/>
              <a:gd name="connsiteY34" fmla="*/ 1959429 h 5061856"/>
              <a:gd name="connsiteX35" fmla="*/ 3262504 w 5905319"/>
              <a:gd name="connsiteY35" fmla="*/ 1959429 h 5061856"/>
              <a:gd name="connsiteX36" fmla="*/ 3262504 w 5905319"/>
              <a:gd name="connsiteY36" fmla="*/ 1730825 h 5061856"/>
              <a:gd name="connsiteX37" fmla="*/ 3444143 w 5905319"/>
              <a:gd name="connsiteY37" fmla="*/ 1730824 h 5061856"/>
              <a:gd name="connsiteX38" fmla="*/ 3444143 w 5905319"/>
              <a:gd name="connsiteY38" fmla="*/ 1959429 h 5061856"/>
              <a:gd name="connsiteX39" fmla="*/ 4289600 w 5905319"/>
              <a:gd name="connsiteY39" fmla="*/ 1959429 h 5061856"/>
              <a:gd name="connsiteX40" fmla="*/ 4289600 w 5905319"/>
              <a:gd name="connsiteY40" fmla="*/ 1730824 h 5061856"/>
              <a:gd name="connsiteX41" fmla="*/ 362857 w 5905319"/>
              <a:gd name="connsiteY41" fmla="*/ 1045028 h 5061856"/>
              <a:gd name="connsiteX42" fmla="*/ 362857 w 5905319"/>
              <a:gd name="connsiteY42" fmla="*/ 1542142 h 5061856"/>
              <a:gd name="connsiteX43" fmla="*/ 1208314 w 5905319"/>
              <a:gd name="connsiteY43" fmla="*/ 1542142 h 5061856"/>
              <a:gd name="connsiteX44" fmla="*/ 1208314 w 5905319"/>
              <a:gd name="connsiteY44" fmla="*/ 1045028 h 5061856"/>
              <a:gd name="connsiteX45" fmla="*/ 1389952 w 5905319"/>
              <a:gd name="connsiteY45" fmla="*/ 1045027 h 5061856"/>
              <a:gd name="connsiteX46" fmla="*/ 1389952 w 5905319"/>
              <a:gd name="connsiteY46" fmla="*/ 1542141 h 5061856"/>
              <a:gd name="connsiteX47" fmla="*/ 2235409 w 5905319"/>
              <a:gd name="connsiteY47" fmla="*/ 1542141 h 5061856"/>
              <a:gd name="connsiteX48" fmla="*/ 2235409 w 5905319"/>
              <a:gd name="connsiteY48" fmla="*/ 1045027 h 5061856"/>
              <a:gd name="connsiteX49" fmla="*/ 2417047 w 5905319"/>
              <a:gd name="connsiteY49" fmla="*/ 1045026 h 5061856"/>
              <a:gd name="connsiteX50" fmla="*/ 2417047 w 5905319"/>
              <a:gd name="connsiteY50" fmla="*/ 1542140 h 5061856"/>
              <a:gd name="connsiteX51" fmla="*/ 3262504 w 5905319"/>
              <a:gd name="connsiteY51" fmla="*/ 1542140 h 5061856"/>
              <a:gd name="connsiteX52" fmla="*/ 3262504 w 5905319"/>
              <a:gd name="connsiteY52" fmla="*/ 1045026 h 5061856"/>
              <a:gd name="connsiteX53" fmla="*/ 3444143 w 5905319"/>
              <a:gd name="connsiteY53" fmla="*/ 1045025 h 5061856"/>
              <a:gd name="connsiteX54" fmla="*/ 3444143 w 5905319"/>
              <a:gd name="connsiteY54" fmla="*/ 1542139 h 5061856"/>
              <a:gd name="connsiteX55" fmla="*/ 4289600 w 5905319"/>
              <a:gd name="connsiteY55" fmla="*/ 1542139 h 5061856"/>
              <a:gd name="connsiteX56" fmla="*/ 4289600 w 5905319"/>
              <a:gd name="connsiteY56" fmla="*/ 1045025 h 5061856"/>
              <a:gd name="connsiteX57" fmla="*/ 173592 w 5905319"/>
              <a:gd name="connsiteY57" fmla="*/ 0 h 5061856"/>
              <a:gd name="connsiteX58" fmla="*/ 4474608 w 5905319"/>
              <a:gd name="connsiteY58" fmla="*/ 0 h 5061856"/>
              <a:gd name="connsiteX59" fmla="*/ 4648200 w 5905319"/>
              <a:gd name="connsiteY59" fmla="*/ 173592 h 5061856"/>
              <a:gd name="connsiteX60" fmla="*/ 4648200 w 5905319"/>
              <a:gd name="connsiteY60" fmla="*/ 1959429 h 5061856"/>
              <a:gd name="connsiteX61" fmla="*/ 5035367 w 5905319"/>
              <a:gd name="connsiteY61" fmla="*/ 1959429 h 5061856"/>
              <a:gd name="connsiteX62" fmla="*/ 5905319 w 5905319"/>
              <a:gd name="connsiteY62" fmla="*/ 3510643 h 5061856"/>
              <a:gd name="connsiteX63" fmla="*/ 5035367 w 5905319"/>
              <a:gd name="connsiteY63" fmla="*/ 5061856 h 5061856"/>
              <a:gd name="connsiteX64" fmla="*/ 3224896 w 5905319"/>
              <a:gd name="connsiteY64" fmla="*/ 5061856 h 5061856"/>
              <a:gd name="connsiteX65" fmla="*/ 2606264 w 5905319"/>
              <a:gd name="connsiteY65" fmla="*/ 3958771 h 5061856"/>
              <a:gd name="connsiteX66" fmla="*/ 173592 w 5905319"/>
              <a:gd name="connsiteY66" fmla="*/ 3958771 h 5061856"/>
              <a:gd name="connsiteX67" fmla="*/ 0 w 5905319"/>
              <a:gd name="connsiteY67" fmla="*/ 3785179 h 5061856"/>
              <a:gd name="connsiteX68" fmla="*/ 0 w 5905319"/>
              <a:gd name="connsiteY68" fmla="*/ 173592 h 5061856"/>
              <a:gd name="connsiteX69" fmla="*/ 173592 w 5905319"/>
              <a:gd name="connsiteY69" fmla="*/ 0 h 506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905319" h="5061856">
                <a:moveTo>
                  <a:pt x="362857" y="3102425"/>
                </a:moveTo>
                <a:lnTo>
                  <a:pt x="362857" y="3599539"/>
                </a:lnTo>
                <a:lnTo>
                  <a:pt x="1208314" y="3599539"/>
                </a:lnTo>
                <a:lnTo>
                  <a:pt x="1208314" y="3102425"/>
                </a:lnTo>
                <a:close/>
                <a:moveTo>
                  <a:pt x="1389952" y="3102424"/>
                </a:moveTo>
                <a:lnTo>
                  <a:pt x="1389952" y="3599538"/>
                </a:lnTo>
                <a:lnTo>
                  <a:pt x="2235409" y="3599538"/>
                </a:lnTo>
                <a:lnTo>
                  <a:pt x="2235409" y="3102424"/>
                </a:lnTo>
                <a:close/>
                <a:moveTo>
                  <a:pt x="2417047" y="3102423"/>
                </a:moveTo>
                <a:lnTo>
                  <a:pt x="2417047" y="3399907"/>
                </a:lnTo>
                <a:lnTo>
                  <a:pt x="2583882" y="3102423"/>
                </a:lnTo>
                <a:close/>
                <a:moveTo>
                  <a:pt x="362857" y="2416626"/>
                </a:moveTo>
                <a:lnTo>
                  <a:pt x="362857" y="2913740"/>
                </a:lnTo>
                <a:lnTo>
                  <a:pt x="1208314" y="2913740"/>
                </a:lnTo>
                <a:lnTo>
                  <a:pt x="1208314" y="2416626"/>
                </a:lnTo>
                <a:close/>
                <a:moveTo>
                  <a:pt x="1389952" y="2416625"/>
                </a:moveTo>
                <a:lnTo>
                  <a:pt x="1389952" y="2913739"/>
                </a:lnTo>
                <a:lnTo>
                  <a:pt x="2235409" y="2913739"/>
                </a:lnTo>
                <a:lnTo>
                  <a:pt x="2235409" y="2416625"/>
                </a:lnTo>
                <a:close/>
                <a:moveTo>
                  <a:pt x="2417047" y="2416624"/>
                </a:moveTo>
                <a:lnTo>
                  <a:pt x="2417047" y="2913738"/>
                </a:lnTo>
                <a:lnTo>
                  <a:pt x="2689701" y="2913738"/>
                </a:lnTo>
                <a:lnTo>
                  <a:pt x="2968492" y="2416624"/>
                </a:lnTo>
                <a:close/>
                <a:moveTo>
                  <a:pt x="362857" y="1730827"/>
                </a:moveTo>
                <a:lnTo>
                  <a:pt x="362857" y="2227941"/>
                </a:lnTo>
                <a:lnTo>
                  <a:pt x="1208314" y="2227941"/>
                </a:lnTo>
                <a:lnTo>
                  <a:pt x="1208314" y="1730827"/>
                </a:lnTo>
                <a:close/>
                <a:moveTo>
                  <a:pt x="1389952" y="1730826"/>
                </a:moveTo>
                <a:lnTo>
                  <a:pt x="1389952" y="2227940"/>
                </a:lnTo>
                <a:lnTo>
                  <a:pt x="2235409" y="2227940"/>
                </a:lnTo>
                <a:lnTo>
                  <a:pt x="2235409" y="1730826"/>
                </a:lnTo>
                <a:close/>
                <a:moveTo>
                  <a:pt x="2417047" y="1730825"/>
                </a:moveTo>
                <a:lnTo>
                  <a:pt x="2417047" y="2227939"/>
                </a:lnTo>
                <a:lnTo>
                  <a:pt x="3074311" y="2227939"/>
                </a:lnTo>
                <a:lnTo>
                  <a:pt x="3224896" y="1959429"/>
                </a:lnTo>
                <a:lnTo>
                  <a:pt x="3262504" y="1959429"/>
                </a:lnTo>
                <a:lnTo>
                  <a:pt x="3262504" y="1730825"/>
                </a:lnTo>
                <a:close/>
                <a:moveTo>
                  <a:pt x="3444143" y="1730824"/>
                </a:moveTo>
                <a:lnTo>
                  <a:pt x="3444143" y="1959429"/>
                </a:lnTo>
                <a:lnTo>
                  <a:pt x="4289600" y="1959429"/>
                </a:lnTo>
                <a:lnTo>
                  <a:pt x="4289600" y="1730824"/>
                </a:lnTo>
                <a:close/>
                <a:moveTo>
                  <a:pt x="362857" y="1045028"/>
                </a:moveTo>
                <a:lnTo>
                  <a:pt x="362857" y="1542142"/>
                </a:lnTo>
                <a:lnTo>
                  <a:pt x="1208314" y="1542142"/>
                </a:lnTo>
                <a:lnTo>
                  <a:pt x="1208314" y="1045028"/>
                </a:lnTo>
                <a:close/>
                <a:moveTo>
                  <a:pt x="1389952" y="1045027"/>
                </a:moveTo>
                <a:lnTo>
                  <a:pt x="1389952" y="1542141"/>
                </a:lnTo>
                <a:lnTo>
                  <a:pt x="2235409" y="1542141"/>
                </a:lnTo>
                <a:lnTo>
                  <a:pt x="2235409" y="1045027"/>
                </a:lnTo>
                <a:close/>
                <a:moveTo>
                  <a:pt x="2417047" y="1045026"/>
                </a:moveTo>
                <a:lnTo>
                  <a:pt x="2417047" y="1542140"/>
                </a:lnTo>
                <a:lnTo>
                  <a:pt x="3262504" y="1542140"/>
                </a:lnTo>
                <a:lnTo>
                  <a:pt x="3262504" y="1045026"/>
                </a:lnTo>
                <a:close/>
                <a:moveTo>
                  <a:pt x="3444143" y="1045025"/>
                </a:moveTo>
                <a:lnTo>
                  <a:pt x="3444143" y="1542139"/>
                </a:lnTo>
                <a:lnTo>
                  <a:pt x="4289600" y="1542139"/>
                </a:lnTo>
                <a:lnTo>
                  <a:pt x="4289600" y="1045025"/>
                </a:lnTo>
                <a:close/>
                <a:moveTo>
                  <a:pt x="173592" y="0"/>
                </a:moveTo>
                <a:lnTo>
                  <a:pt x="4474608" y="0"/>
                </a:lnTo>
                <a:cubicBezTo>
                  <a:pt x="4570480" y="0"/>
                  <a:pt x="4648200" y="77720"/>
                  <a:pt x="4648200" y="173592"/>
                </a:cubicBezTo>
                <a:lnTo>
                  <a:pt x="4648200" y="1959429"/>
                </a:lnTo>
                <a:lnTo>
                  <a:pt x="5035367" y="1959429"/>
                </a:lnTo>
                <a:lnTo>
                  <a:pt x="5905319" y="3510643"/>
                </a:lnTo>
                <a:lnTo>
                  <a:pt x="5035367" y="5061856"/>
                </a:lnTo>
                <a:lnTo>
                  <a:pt x="3224896" y="5061856"/>
                </a:lnTo>
                <a:lnTo>
                  <a:pt x="2606264" y="3958771"/>
                </a:lnTo>
                <a:lnTo>
                  <a:pt x="173592" y="3958771"/>
                </a:lnTo>
                <a:cubicBezTo>
                  <a:pt x="77720" y="3958771"/>
                  <a:pt x="0" y="3881051"/>
                  <a:pt x="0" y="3785179"/>
                </a:cubicBezTo>
                <a:lnTo>
                  <a:pt x="0" y="173592"/>
                </a:lnTo>
                <a:cubicBezTo>
                  <a:pt x="0" y="77720"/>
                  <a:pt x="77720" y="0"/>
                  <a:pt x="17359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16">
            <a:extLst>
              <a:ext uri="{FF2B5EF4-FFF2-40B4-BE49-F238E27FC236}">
                <a16:creationId xmlns:a16="http://schemas.microsoft.com/office/drawing/2014/main" id="{8B4E7EEE-8A9B-3A4B-AC9B-1B154737E7ED}"/>
              </a:ext>
            </a:extLst>
          </p:cNvPr>
          <p:cNvSpPr/>
          <p:nvPr/>
        </p:nvSpPr>
        <p:spPr>
          <a:xfrm>
            <a:off x="11090074" y="4368986"/>
            <a:ext cx="319247" cy="241031"/>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tx2"/>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Freeform 17">
            <a:extLst>
              <a:ext uri="{FF2B5EF4-FFF2-40B4-BE49-F238E27FC236}">
                <a16:creationId xmlns:a16="http://schemas.microsoft.com/office/drawing/2014/main" id="{ED487083-BC61-D046-AEF8-A40762BE6CAA}"/>
              </a:ext>
            </a:extLst>
          </p:cNvPr>
          <p:cNvSpPr/>
          <p:nvPr/>
        </p:nvSpPr>
        <p:spPr bwMode="auto">
          <a:xfrm flipH="1">
            <a:off x="9978199" y="4350113"/>
            <a:ext cx="319248" cy="294016"/>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Light"/>
              <a:ea typeface="Segoe UI" pitchFamily="34" charset="0"/>
              <a:cs typeface="Segoe UI" pitchFamily="34" charset="0"/>
            </a:endParaRPr>
          </a:p>
        </p:txBody>
      </p:sp>
      <p:grpSp>
        <p:nvGrpSpPr>
          <p:cNvPr id="19" name="Group 18">
            <a:extLst>
              <a:ext uri="{FF2B5EF4-FFF2-40B4-BE49-F238E27FC236}">
                <a16:creationId xmlns:a16="http://schemas.microsoft.com/office/drawing/2014/main" id="{23E31F79-C5ED-CB46-A568-9E7EF29E5806}"/>
              </a:ext>
            </a:extLst>
          </p:cNvPr>
          <p:cNvGrpSpPr/>
          <p:nvPr/>
        </p:nvGrpSpPr>
        <p:grpSpPr>
          <a:xfrm>
            <a:off x="6547201" y="1953363"/>
            <a:ext cx="336355" cy="334966"/>
            <a:chOff x="7643146" y="2995601"/>
            <a:chExt cx="270958" cy="269839"/>
          </a:xfrm>
        </p:grpSpPr>
        <p:sp>
          <p:nvSpPr>
            <p:cNvPr id="20" name="Freeform 78">
              <a:extLst>
                <a:ext uri="{FF2B5EF4-FFF2-40B4-BE49-F238E27FC236}">
                  <a16:creationId xmlns:a16="http://schemas.microsoft.com/office/drawing/2014/main" id="{5AC70A89-7797-8F45-B0A6-BCA09B49F06F}"/>
                </a:ext>
              </a:extLst>
            </p:cNvPr>
            <p:cNvSpPr>
              <a:spLocks/>
            </p:cNvSpPr>
            <p:nvPr/>
          </p:nvSpPr>
          <p:spPr bwMode="auto">
            <a:xfrm>
              <a:off x="7676736" y="3031430"/>
              <a:ext cx="201539" cy="200420"/>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solidFill>
              <a:schemeClr val="tx2"/>
            </a:solid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 name="Line 79">
              <a:extLst>
                <a:ext uri="{FF2B5EF4-FFF2-40B4-BE49-F238E27FC236}">
                  <a16:creationId xmlns:a16="http://schemas.microsoft.com/office/drawing/2014/main" id="{5DBA2073-CC00-654A-8B1C-65EA3DF22FFC}"/>
                </a:ext>
              </a:extLst>
            </p:cNvPr>
            <p:cNvSpPr>
              <a:spLocks noChangeShapeType="1"/>
            </p:cNvSpPr>
            <p:nvPr/>
          </p:nvSpPr>
          <p:spPr bwMode="auto">
            <a:xfrm>
              <a:off x="7709206" y="2995601"/>
              <a:ext cx="0" cy="31351"/>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 name="Line 80">
              <a:extLst>
                <a:ext uri="{FF2B5EF4-FFF2-40B4-BE49-F238E27FC236}">
                  <a16:creationId xmlns:a16="http://schemas.microsoft.com/office/drawing/2014/main" id="{897C9434-9D9A-644A-BF03-D10969FF3966}"/>
                </a:ext>
              </a:extLst>
            </p:cNvPr>
            <p:cNvSpPr>
              <a:spLocks noChangeShapeType="1"/>
            </p:cNvSpPr>
            <p:nvPr/>
          </p:nvSpPr>
          <p:spPr bwMode="auto">
            <a:xfrm>
              <a:off x="7742796" y="2995601"/>
              <a:ext cx="0" cy="31351"/>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3" name="Line 81">
              <a:extLst>
                <a:ext uri="{FF2B5EF4-FFF2-40B4-BE49-F238E27FC236}">
                  <a16:creationId xmlns:a16="http://schemas.microsoft.com/office/drawing/2014/main" id="{BCF637EC-1EA3-4041-BD60-5934974FE258}"/>
                </a:ext>
              </a:extLst>
            </p:cNvPr>
            <p:cNvSpPr>
              <a:spLocks noChangeShapeType="1"/>
            </p:cNvSpPr>
            <p:nvPr/>
          </p:nvSpPr>
          <p:spPr bwMode="auto">
            <a:xfrm>
              <a:off x="7778625" y="2995601"/>
              <a:ext cx="0" cy="31351"/>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4" name="Line 82">
              <a:extLst>
                <a:ext uri="{FF2B5EF4-FFF2-40B4-BE49-F238E27FC236}">
                  <a16:creationId xmlns:a16="http://schemas.microsoft.com/office/drawing/2014/main" id="{1F222316-E1E7-F647-B8BA-EF017EAE4D40}"/>
                </a:ext>
              </a:extLst>
            </p:cNvPr>
            <p:cNvSpPr>
              <a:spLocks noChangeShapeType="1"/>
            </p:cNvSpPr>
            <p:nvPr/>
          </p:nvSpPr>
          <p:spPr bwMode="auto">
            <a:xfrm>
              <a:off x="7812215" y="2995601"/>
              <a:ext cx="0" cy="31351"/>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5" name="Line 83">
              <a:extLst>
                <a:ext uri="{FF2B5EF4-FFF2-40B4-BE49-F238E27FC236}">
                  <a16:creationId xmlns:a16="http://schemas.microsoft.com/office/drawing/2014/main" id="{2A66105B-48AA-3447-81A4-501D422DDDF3}"/>
                </a:ext>
              </a:extLst>
            </p:cNvPr>
            <p:cNvSpPr>
              <a:spLocks noChangeShapeType="1"/>
            </p:cNvSpPr>
            <p:nvPr/>
          </p:nvSpPr>
          <p:spPr bwMode="auto">
            <a:xfrm>
              <a:off x="7846924" y="2995601"/>
              <a:ext cx="0" cy="31351"/>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6" name="Line 84">
              <a:extLst>
                <a:ext uri="{FF2B5EF4-FFF2-40B4-BE49-F238E27FC236}">
                  <a16:creationId xmlns:a16="http://schemas.microsoft.com/office/drawing/2014/main" id="{412DC43E-DAAB-9F4F-A4A9-58D53D2E9C90}"/>
                </a:ext>
              </a:extLst>
            </p:cNvPr>
            <p:cNvSpPr>
              <a:spLocks noChangeShapeType="1"/>
            </p:cNvSpPr>
            <p:nvPr/>
          </p:nvSpPr>
          <p:spPr bwMode="auto">
            <a:xfrm flipH="1">
              <a:off x="7882753" y="3060542"/>
              <a:ext cx="31351" cy="0"/>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7" name="Line 85">
              <a:extLst>
                <a:ext uri="{FF2B5EF4-FFF2-40B4-BE49-F238E27FC236}">
                  <a16:creationId xmlns:a16="http://schemas.microsoft.com/office/drawing/2014/main" id="{072316C8-7067-6846-8025-346744F494CA}"/>
                </a:ext>
              </a:extLst>
            </p:cNvPr>
            <p:cNvSpPr>
              <a:spLocks noChangeShapeType="1"/>
            </p:cNvSpPr>
            <p:nvPr/>
          </p:nvSpPr>
          <p:spPr bwMode="auto">
            <a:xfrm flipH="1">
              <a:off x="7882753" y="3096371"/>
              <a:ext cx="31351" cy="0"/>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8" name="Line 86">
              <a:extLst>
                <a:ext uri="{FF2B5EF4-FFF2-40B4-BE49-F238E27FC236}">
                  <a16:creationId xmlns:a16="http://schemas.microsoft.com/office/drawing/2014/main" id="{AB65A80A-8653-7140-811E-52DF3104C44A}"/>
                </a:ext>
              </a:extLst>
            </p:cNvPr>
            <p:cNvSpPr>
              <a:spLocks noChangeShapeType="1"/>
            </p:cNvSpPr>
            <p:nvPr/>
          </p:nvSpPr>
          <p:spPr bwMode="auto">
            <a:xfrm flipH="1">
              <a:off x="7882753" y="3129961"/>
              <a:ext cx="31351" cy="0"/>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9" name="Line 87">
              <a:extLst>
                <a:ext uri="{FF2B5EF4-FFF2-40B4-BE49-F238E27FC236}">
                  <a16:creationId xmlns:a16="http://schemas.microsoft.com/office/drawing/2014/main" id="{869D76F0-9195-4E44-A0DE-A82DAA64025C}"/>
                </a:ext>
              </a:extLst>
            </p:cNvPr>
            <p:cNvSpPr>
              <a:spLocks noChangeShapeType="1"/>
            </p:cNvSpPr>
            <p:nvPr/>
          </p:nvSpPr>
          <p:spPr bwMode="auto">
            <a:xfrm flipH="1">
              <a:off x="7882753" y="3164670"/>
              <a:ext cx="31351" cy="0"/>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0" name="Line 88">
              <a:extLst>
                <a:ext uri="{FF2B5EF4-FFF2-40B4-BE49-F238E27FC236}">
                  <a16:creationId xmlns:a16="http://schemas.microsoft.com/office/drawing/2014/main" id="{D48A6F8E-A97A-8740-9F2C-AE631141243C}"/>
                </a:ext>
              </a:extLst>
            </p:cNvPr>
            <p:cNvSpPr>
              <a:spLocks noChangeShapeType="1"/>
            </p:cNvSpPr>
            <p:nvPr/>
          </p:nvSpPr>
          <p:spPr bwMode="auto">
            <a:xfrm flipH="1">
              <a:off x="7882753" y="3200500"/>
              <a:ext cx="31351" cy="0"/>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1" name="Line 89">
              <a:extLst>
                <a:ext uri="{FF2B5EF4-FFF2-40B4-BE49-F238E27FC236}">
                  <a16:creationId xmlns:a16="http://schemas.microsoft.com/office/drawing/2014/main" id="{846CDCF6-D620-4F4A-92D4-53998CB657AC}"/>
                </a:ext>
              </a:extLst>
            </p:cNvPr>
            <p:cNvSpPr>
              <a:spLocks noChangeShapeType="1"/>
            </p:cNvSpPr>
            <p:nvPr/>
          </p:nvSpPr>
          <p:spPr bwMode="auto">
            <a:xfrm flipH="1">
              <a:off x="7643146" y="3060542"/>
              <a:ext cx="31351" cy="0"/>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2" name="Line 90">
              <a:extLst>
                <a:ext uri="{FF2B5EF4-FFF2-40B4-BE49-F238E27FC236}">
                  <a16:creationId xmlns:a16="http://schemas.microsoft.com/office/drawing/2014/main" id="{61AAB1D5-DD4E-E64E-87F0-56FDFDBAB3E2}"/>
                </a:ext>
              </a:extLst>
            </p:cNvPr>
            <p:cNvSpPr>
              <a:spLocks noChangeShapeType="1"/>
            </p:cNvSpPr>
            <p:nvPr/>
          </p:nvSpPr>
          <p:spPr bwMode="auto">
            <a:xfrm flipH="1">
              <a:off x="7643146" y="3096371"/>
              <a:ext cx="31351" cy="0"/>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3" name="Line 91">
              <a:extLst>
                <a:ext uri="{FF2B5EF4-FFF2-40B4-BE49-F238E27FC236}">
                  <a16:creationId xmlns:a16="http://schemas.microsoft.com/office/drawing/2014/main" id="{AFDDDC3C-7123-FA44-9E9C-0C07E08CED55}"/>
                </a:ext>
              </a:extLst>
            </p:cNvPr>
            <p:cNvSpPr>
              <a:spLocks noChangeShapeType="1"/>
            </p:cNvSpPr>
            <p:nvPr/>
          </p:nvSpPr>
          <p:spPr bwMode="auto">
            <a:xfrm flipH="1">
              <a:off x="7643146" y="3129961"/>
              <a:ext cx="31351" cy="0"/>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4" name="Line 92">
              <a:extLst>
                <a:ext uri="{FF2B5EF4-FFF2-40B4-BE49-F238E27FC236}">
                  <a16:creationId xmlns:a16="http://schemas.microsoft.com/office/drawing/2014/main" id="{572B221D-2A8F-6641-8D0E-D81C52AD376E}"/>
                </a:ext>
              </a:extLst>
            </p:cNvPr>
            <p:cNvSpPr>
              <a:spLocks noChangeShapeType="1"/>
            </p:cNvSpPr>
            <p:nvPr/>
          </p:nvSpPr>
          <p:spPr bwMode="auto">
            <a:xfrm flipH="1">
              <a:off x="7643146" y="3164670"/>
              <a:ext cx="31351" cy="0"/>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Line 93">
              <a:extLst>
                <a:ext uri="{FF2B5EF4-FFF2-40B4-BE49-F238E27FC236}">
                  <a16:creationId xmlns:a16="http://schemas.microsoft.com/office/drawing/2014/main" id="{1D8E6148-6B29-0242-A2EC-83BCCC800061}"/>
                </a:ext>
              </a:extLst>
            </p:cNvPr>
            <p:cNvSpPr>
              <a:spLocks noChangeShapeType="1"/>
            </p:cNvSpPr>
            <p:nvPr/>
          </p:nvSpPr>
          <p:spPr bwMode="auto">
            <a:xfrm flipH="1">
              <a:off x="7643146" y="3200500"/>
              <a:ext cx="31351" cy="0"/>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6" name="Line 94">
              <a:extLst>
                <a:ext uri="{FF2B5EF4-FFF2-40B4-BE49-F238E27FC236}">
                  <a16:creationId xmlns:a16="http://schemas.microsoft.com/office/drawing/2014/main" id="{E4D4061C-70A4-0848-B8D8-ED60C03E3385}"/>
                </a:ext>
              </a:extLst>
            </p:cNvPr>
            <p:cNvSpPr>
              <a:spLocks noChangeShapeType="1"/>
            </p:cNvSpPr>
            <p:nvPr/>
          </p:nvSpPr>
          <p:spPr bwMode="auto">
            <a:xfrm>
              <a:off x="7709206" y="3234089"/>
              <a:ext cx="0" cy="31351"/>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7" name="Line 95">
              <a:extLst>
                <a:ext uri="{FF2B5EF4-FFF2-40B4-BE49-F238E27FC236}">
                  <a16:creationId xmlns:a16="http://schemas.microsoft.com/office/drawing/2014/main" id="{637AB58B-2BD3-D548-AFAE-92518BF8614B}"/>
                </a:ext>
              </a:extLst>
            </p:cNvPr>
            <p:cNvSpPr>
              <a:spLocks noChangeShapeType="1"/>
            </p:cNvSpPr>
            <p:nvPr/>
          </p:nvSpPr>
          <p:spPr bwMode="auto">
            <a:xfrm>
              <a:off x="7742796" y="3234089"/>
              <a:ext cx="0" cy="31351"/>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8" name="Line 96">
              <a:extLst>
                <a:ext uri="{FF2B5EF4-FFF2-40B4-BE49-F238E27FC236}">
                  <a16:creationId xmlns:a16="http://schemas.microsoft.com/office/drawing/2014/main" id="{885E81D3-AB8D-6B43-8B1F-3962E1C38ADA}"/>
                </a:ext>
              </a:extLst>
            </p:cNvPr>
            <p:cNvSpPr>
              <a:spLocks noChangeShapeType="1"/>
            </p:cNvSpPr>
            <p:nvPr/>
          </p:nvSpPr>
          <p:spPr bwMode="auto">
            <a:xfrm>
              <a:off x="7778625" y="3234089"/>
              <a:ext cx="0" cy="31351"/>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39" name="Line 97">
              <a:extLst>
                <a:ext uri="{FF2B5EF4-FFF2-40B4-BE49-F238E27FC236}">
                  <a16:creationId xmlns:a16="http://schemas.microsoft.com/office/drawing/2014/main" id="{A77C4A8F-5EDC-4F44-B143-278DC1A26904}"/>
                </a:ext>
              </a:extLst>
            </p:cNvPr>
            <p:cNvSpPr>
              <a:spLocks noChangeShapeType="1"/>
            </p:cNvSpPr>
            <p:nvPr/>
          </p:nvSpPr>
          <p:spPr bwMode="auto">
            <a:xfrm>
              <a:off x="7812215" y="3234089"/>
              <a:ext cx="0" cy="31351"/>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40" name="Line 98">
              <a:extLst>
                <a:ext uri="{FF2B5EF4-FFF2-40B4-BE49-F238E27FC236}">
                  <a16:creationId xmlns:a16="http://schemas.microsoft.com/office/drawing/2014/main" id="{31BA1627-D511-AB4C-B8EA-E3FAE99DF178}"/>
                </a:ext>
              </a:extLst>
            </p:cNvPr>
            <p:cNvSpPr>
              <a:spLocks noChangeShapeType="1"/>
            </p:cNvSpPr>
            <p:nvPr/>
          </p:nvSpPr>
          <p:spPr bwMode="auto">
            <a:xfrm>
              <a:off x="7846924" y="3234089"/>
              <a:ext cx="0" cy="31351"/>
            </a:xfrm>
            <a:prstGeom prst="line">
              <a:avLst/>
            </a:prstGeom>
            <a:noFill/>
            <a:ln w="12700" cap="flat">
              <a:solidFill>
                <a:schemeClr val="tx2"/>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42" name="Graphic 40">
            <a:extLst>
              <a:ext uri="{FF2B5EF4-FFF2-40B4-BE49-F238E27FC236}">
                <a16:creationId xmlns:a16="http://schemas.microsoft.com/office/drawing/2014/main" id="{C3581CEE-6CD5-714F-AD95-0BECD2294D6D}"/>
              </a:ext>
            </a:extLst>
          </p:cNvPr>
          <p:cNvGrpSpPr/>
          <p:nvPr/>
        </p:nvGrpSpPr>
        <p:grpSpPr>
          <a:xfrm>
            <a:off x="7637403" y="1949872"/>
            <a:ext cx="280703" cy="280703"/>
            <a:chOff x="5943600" y="3276600"/>
            <a:chExt cx="304800" cy="304800"/>
          </a:xfrm>
        </p:grpSpPr>
        <p:sp>
          <p:nvSpPr>
            <p:cNvPr id="43" name="Freeform 42">
              <a:extLst>
                <a:ext uri="{FF2B5EF4-FFF2-40B4-BE49-F238E27FC236}">
                  <a16:creationId xmlns:a16="http://schemas.microsoft.com/office/drawing/2014/main" id="{103C5F66-5375-984F-893A-5B3CA53757E3}"/>
                </a:ext>
              </a:extLst>
            </p:cNvPr>
            <p:cNvSpPr/>
            <p:nvPr/>
          </p:nvSpPr>
          <p:spPr>
            <a:xfrm>
              <a:off x="6041708" y="3293745"/>
              <a:ext cx="57150" cy="57150"/>
            </a:xfrm>
            <a:custGeom>
              <a:avLst/>
              <a:gdLst>
                <a:gd name="connsiteX0" fmla="*/ 59055 w 57150"/>
                <a:gd name="connsiteY0" fmla="*/ 29528 h 57150"/>
                <a:gd name="connsiteX1" fmla="*/ 29527 w 57150"/>
                <a:gd name="connsiteY1" fmla="*/ 59055 h 57150"/>
                <a:gd name="connsiteX2" fmla="*/ 0 w 57150"/>
                <a:gd name="connsiteY2" fmla="*/ 29528 h 57150"/>
                <a:gd name="connsiteX3" fmla="*/ 29527 w 57150"/>
                <a:gd name="connsiteY3" fmla="*/ 0 h 57150"/>
                <a:gd name="connsiteX4" fmla="*/ 59055 w 57150"/>
                <a:gd name="connsiteY4" fmla="*/ 29528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9055" y="29528"/>
                  </a:moveTo>
                  <a:cubicBezTo>
                    <a:pt x="59055" y="45835"/>
                    <a:pt x="45835" y="59055"/>
                    <a:pt x="29527" y="59055"/>
                  </a:cubicBezTo>
                  <a:cubicBezTo>
                    <a:pt x="13220" y="59055"/>
                    <a:pt x="0" y="45835"/>
                    <a:pt x="0" y="29528"/>
                  </a:cubicBezTo>
                  <a:cubicBezTo>
                    <a:pt x="0" y="13220"/>
                    <a:pt x="13220" y="0"/>
                    <a:pt x="29527" y="0"/>
                  </a:cubicBezTo>
                  <a:cubicBezTo>
                    <a:pt x="45835" y="0"/>
                    <a:pt x="59055" y="13220"/>
                    <a:pt x="59055" y="29528"/>
                  </a:cubicBezTo>
                  <a:close/>
                </a:path>
              </a:pathLst>
            </a:custGeom>
            <a:solidFill>
              <a:srgbClr val="006D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43">
              <a:extLst>
                <a:ext uri="{FF2B5EF4-FFF2-40B4-BE49-F238E27FC236}">
                  <a16:creationId xmlns:a16="http://schemas.microsoft.com/office/drawing/2014/main" id="{0AEA1644-975D-AB43-95D1-07B93DA618BF}"/>
                </a:ext>
              </a:extLst>
            </p:cNvPr>
            <p:cNvSpPr/>
            <p:nvPr/>
          </p:nvSpPr>
          <p:spPr>
            <a:xfrm>
              <a:off x="6103620" y="3383280"/>
              <a:ext cx="66675" cy="66675"/>
            </a:xfrm>
            <a:custGeom>
              <a:avLst/>
              <a:gdLst>
                <a:gd name="connsiteX0" fmla="*/ 70485 w 66675"/>
                <a:gd name="connsiteY0" fmla="*/ 35242 h 66675"/>
                <a:gd name="connsiteX1" fmla="*/ 35243 w 66675"/>
                <a:gd name="connsiteY1" fmla="*/ 70485 h 66675"/>
                <a:gd name="connsiteX2" fmla="*/ 0 w 66675"/>
                <a:gd name="connsiteY2" fmla="*/ 35243 h 66675"/>
                <a:gd name="connsiteX3" fmla="*/ 35243 w 66675"/>
                <a:gd name="connsiteY3" fmla="*/ 0 h 66675"/>
                <a:gd name="connsiteX4" fmla="*/ 70485 w 66675"/>
                <a:gd name="connsiteY4" fmla="*/ 35242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70485" y="35242"/>
                  </a:moveTo>
                  <a:cubicBezTo>
                    <a:pt x="70485" y="54706"/>
                    <a:pt x="54706" y="70485"/>
                    <a:pt x="35243" y="70485"/>
                  </a:cubicBezTo>
                  <a:cubicBezTo>
                    <a:pt x="15779" y="70485"/>
                    <a:pt x="0" y="54706"/>
                    <a:pt x="0" y="35243"/>
                  </a:cubicBezTo>
                  <a:cubicBezTo>
                    <a:pt x="0" y="15779"/>
                    <a:pt x="15779" y="0"/>
                    <a:pt x="35243" y="0"/>
                  </a:cubicBezTo>
                  <a:cubicBezTo>
                    <a:pt x="54706" y="0"/>
                    <a:pt x="70485" y="15779"/>
                    <a:pt x="70485" y="35242"/>
                  </a:cubicBezTo>
                  <a:close/>
                </a:path>
              </a:pathLst>
            </a:custGeom>
            <a:solidFill>
              <a:srgbClr val="006D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44">
              <a:extLst>
                <a:ext uri="{FF2B5EF4-FFF2-40B4-BE49-F238E27FC236}">
                  <a16:creationId xmlns:a16="http://schemas.microsoft.com/office/drawing/2014/main" id="{96D5C5F3-F5A5-E647-A972-803EA21BD86D}"/>
                </a:ext>
              </a:extLst>
            </p:cNvPr>
            <p:cNvSpPr/>
            <p:nvPr/>
          </p:nvSpPr>
          <p:spPr>
            <a:xfrm>
              <a:off x="6170295" y="3495675"/>
              <a:ext cx="47625" cy="47625"/>
            </a:xfrm>
            <a:custGeom>
              <a:avLst/>
              <a:gdLst>
                <a:gd name="connsiteX0" fmla="*/ 55245 w 47625"/>
                <a:gd name="connsiteY0" fmla="*/ 27622 h 47625"/>
                <a:gd name="connsiteX1" fmla="*/ 27623 w 47625"/>
                <a:gd name="connsiteY1" fmla="*/ 55245 h 47625"/>
                <a:gd name="connsiteX2" fmla="*/ 0 w 47625"/>
                <a:gd name="connsiteY2" fmla="*/ 27622 h 47625"/>
                <a:gd name="connsiteX3" fmla="*/ 27623 w 47625"/>
                <a:gd name="connsiteY3" fmla="*/ 0 h 47625"/>
                <a:gd name="connsiteX4" fmla="*/ 55245 w 47625"/>
                <a:gd name="connsiteY4" fmla="*/ 276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5245" y="27622"/>
                  </a:moveTo>
                  <a:cubicBezTo>
                    <a:pt x="55245" y="42878"/>
                    <a:pt x="42878" y="55245"/>
                    <a:pt x="27623" y="55245"/>
                  </a:cubicBezTo>
                  <a:cubicBezTo>
                    <a:pt x="12367" y="55245"/>
                    <a:pt x="0" y="42878"/>
                    <a:pt x="0" y="27622"/>
                  </a:cubicBezTo>
                  <a:cubicBezTo>
                    <a:pt x="0" y="12367"/>
                    <a:pt x="12367" y="0"/>
                    <a:pt x="27623" y="0"/>
                  </a:cubicBezTo>
                  <a:cubicBezTo>
                    <a:pt x="42878" y="0"/>
                    <a:pt x="55245" y="12367"/>
                    <a:pt x="55245" y="27622"/>
                  </a:cubicBezTo>
                  <a:close/>
                </a:path>
              </a:pathLst>
            </a:custGeom>
            <a:solidFill>
              <a:srgbClr val="006D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6" name="Freeform 45">
              <a:extLst>
                <a:ext uri="{FF2B5EF4-FFF2-40B4-BE49-F238E27FC236}">
                  <a16:creationId xmlns:a16="http://schemas.microsoft.com/office/drawing/2014/main" id="{D65C75C4-FDBB-5A42-BE7D-4CACBD4292E4}"/>
                </a:ext>
              </a:extLst>
            </p:cNvPr>
            <p:cNvSpPr/>
            <p:nvPr/>
          </p:nvSpPr>
          <p:spPr>
            <a:xfrm>
              <a:off x="6064568" y="3480435"/>
              <a:ext cx="47625" cy="47625"/>
            </a:xfrm>
            <a:custGeom>
              <a:avLst/>
              <a:gdLst>
                <a:gd name="connsiteX0" fmla="*/ 47625 w 47625"/>
                <a:gd name="connsiteY0" fmla="*/ 23812 h 47625"/>
                <a:gd name="connsiteX1" fmla="*/ 23813 w 47625"/>
                <a:gd name="connsiteY1" fmla="*/ 47625 h 47625"/>
                <a:gd name="connsiteX2" fmla="*/ 0 w 47625"/>
                <a:gd name="connsiteY2" fmla="*/ 23812 h 47625"/>
                <a:gd name="connsiteX3" fmla="*/ 23813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3" y="47625"/>
                  </a:cubicBezTo>
                  <a:cubicBezTo>
                    <a:pt x="10661" y="47625"/>
                    <a:pt x="0" y="36964"/>
                    <a:pt x="0" y="23812"/>
                  </a:cubicBezTo>
                  <a:cubicBezTo>
                    <a:pt x="0" y="10661"/>
                    <a:pt x="10661" y="0"/>
                    <a:pt x="23813" y="0"/>
                  </a:cubicBezTo>
                  <a:cubicBezTo>
                    <a:pt x="36964" y="0"/>
                    <a:pt x="47625" y="10661"/>
                    <a:pt x="47625" y="23812"/>
                  </a:cubicBezTo>
                  <a:close/>
                </a:path>
              </a:pathLst>
            </a:custGeom>
            <a:solidFill>
              <a:srgbClr val="006D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46">
              <a:extLst>
                <a:ext uri="{FF2B5EF4-FFF2-40B4-BE49-F238E27FC236}">
                  <a16:creationId xmlns:a16="http://schemas.microsoft.com/office/drawing/2014/main" id="{33EBA17F-3A56-C541-8B15-C3079C07B4E4}"/>
                </a:ext>
              </a:extLst>
            </p:cNvPr>
            <p:cNvSpPr/>
            <p:nvPr/>
          </p:nvSpPr>
          <p:spPr>
            <a:xfrm>
              <a:off x="5968365" y="3408045"/>
              <a:ext cx="47625" cy="47625"/>
            </a:xfrm>
            <a:custGeom>
              <a:avLst/>
              <a:gdLst>
                <a:gd name="connsiteX0" fmla="*/ 47625 w 47625"/>
                <a:gd name="connsiteY0" fmla="*/ 23812 h 47625"/>
                <a:gd name="connsiteX1" fmla="*/ 23813 w 47625"/>
                <a:gd name="connsiteY1" fmla="*/ 47625 h 47625"/>
                <a:gd name="connsiteX2" fmla="*/ 0 w 47625"/>
                <a:gd name="connsiteY2" fmla="*/ 23812 h 47625"/>
                <a:gd name="connsiteX3" fmla="*/ 23813 w 47625"/>
                <a:gd name="connsiteY3" fmla="*/ 0 h 47625"/>
                <a:gd name="connsiteX4" fmla="*/ 47625 w 47625"/>
                <a:gd name="connsiteY4" fmla="*/ 2381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7625" y="23812"/>
                  </a:moveTo>
                  <a:cubicBezTo>
                    <a:pt x="47625" y="36964"/>
                    <a:pt x="36964" y="47625"/>
                    <a:pt x="23813" y="47625"/>
                  </a:cubicBezTo>
                  <a:cubicBezTo>
                    <a:pt x="10661" y="47625"/>
                    <a:pt x="0" y="36964"/>
                    <a:pt x="0" y="23812"/>
                  </a:cubicBezTo>
                  <a:cubicBezTo>
                    <a:pt x="0" y="10661"/>
                    <a:pt x="10661" y="0"/>
                    <a:pt x="23813" y="0"/>
                  </a:cubicBezTo>
                  <a:cubicBezTo>
                    <a:pt x="36964" y="0"/>
                    <a:pt x="47625" y="10661"/>
                    <a:pt x="47625" y="23812"/>
                  </a:cubicBezTo>
                  <a:close/>
                </a:path>
              </a:pathLst>
            </a:custGeom>
            <a:solidFill>
              <a:srgbClr val="006D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8" name="Freeform 47">
              <a:extLst>
                <a:ext uri="{FF2B5EF4-FFF2-40B4-BE49-F238E27FC236}">
                  <a16:creationId xmlns:a16="http://schemas.microsoft.com/office/drawing/2014/main" id="{B9170A46-2531-494A-81BB-FBE6D236BCD2}"/>
                </a:ext>
              </a:extLst>
            </p:cNvPr>
            <p:cNvSpPr/>
            <p:nvPr/>
          </p:nvSpPr>
          <p:spPr>
            <a:xfrm>
              <a:off x="6063928" y="3317610"/>
              <a:ext cx="76200" cy="95250"/>
            </a:xfrm>
            <a:custGeom>
              <a:avLst/>
              <a:gdLst>
                <a:gd name="connsiteX0" fmla="*/ 12468 w 76200"/>
                <a:gd name="connsiteY0" fmla="*/ 0 h 95250"/>
                <a:gd name="connsiteX1" fmla="*/ 79845 w 76200"/>
                <a:gd name="connsiteY1" fmla="*/ 95847 h 95250"/>
                <a:gd name="connsiteX2" fmla="*/ 67377 w 76200"/>
                <a:gd name="connsiteY2" fmla="*/ 104611 h 95250"/>
                <a:gd name="connsiteX3" fmla="*/ 0 w 76200"/>
                <a:gd name="connsiteY3" fmla="*/ 8765 h 95250"/>
              </a:gdLst>
              <a:ahLst/>
              <a:cxnLst>
                <a:cxn ang="0">
                  <a:pos x="connsiteX0" y="connsiteY0"/>
                </a:cxn>
                <a:cxn ang="0">
                  <a:pos x="connsiteX1" y="connsiteY1"/>
                </a:cxn>
                <a:cxn ang="0">
                  <a:pos x="connsiteX2" y="connsiteY2"/>
                </a:cxn>
                <a:cxn ang="0">
                  <a:pos x="connsiteX3" y="connsiteY3"/>
                </a:cxn>
              </a:cxnLst>
              <a:rect l="l" t="t" r="r" b="b"/>
              <a:pathLst>
                <a:path w="76200" h="95250">
                  <a:moveTo>
                    <a:pt x="12468" y="0"/>
                  </a:moveTo>
                  <a:lnTo>
                    <a:pt x="79845" y="95847"/>
                  </a:lnTo>
                  <a:lnTo>
                    <a:pt x="67377" y="104611"/>
                  </a:lnTo>
                  <a:lnTo>
                    <a:pt x="0" y="8765"/>
                  </a:lnTo>
                  <a:close/>
                </a:path>
              </a:pathLst>
            </a:custGeom>
            <a:solidFill>
              <a:srgbClr val="006D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9" name="Freeform 48">
              <a:extLst>
                <a:ext uri="{FF2B5EF4-FFF2-40B4-BE49-F238E27FC236}">
                  <a16:creationId xmlns:a16="http://schemas.microsoft.com/office/drawing/2014/main" id="{0F59DD77-2961-1C42-AEE1-B5981CBAA3C2}"/>
                </a:ext>
              </a:extLst>
            </p:cNvPr>
            <p:cNvSpPr/>
            <p:nvPr/>
          </p:nvSpPr>
          <p:spPr>
            <a:xfrm>
              <a:off x="6131509" y="3413498"/>
              <a:ext cx="66675" cy="104775"/>
            </a:xfrm>
            <a:custGeom>
              <a:avLst/>
              <a:gdLst>
                <a:gd name="connsiteX0" fmla="*/ 13227 w 66675"/>
                <a:gd name="connsiteY0" fmla="*/ 0 h 104775"/>
                <a:gd name="connsiteX1" fmla="*/ 72850 w 66675"/>
                <a:gd name="connsiteY1" fmla="*/ 104161 h 104775"/>
                <a:gd name="connsiteX2" fmla="*/ 59623 w 66675"/>
                <a:gd name="connsiteY2" fmla="*/ 111732 h 104775"/>
                <a:gd name="connsiteX3" fmla="*/ 0 w 66675"/>
                <a:gd name="connsiteY3" fmla="*/ 7571 h 104775"/>
              </a:gdLst>
              <a:ahLst/>
              <a:cxnLst>
                <a:cxn ang="0">
                  <a:pos x="connsiteX0" y="connsiteY0"/>
                </a:cxn>
                <a:cxn ang="0">
                  <a:pos x="connsiteX1" y="connsiteY1"/>
                </a:cxn>
                <a:cxn ang="0">
                  <a:pos x="connsiteX2" y="connsiteY2"/>
                </a:cxn>
                <a:cxn ang="0">
                  <a:pos x="connsiteX3" y="connsiteY3"/>
                </a:cxn>
              </a:cxnLst>
              <a:rect l="l" t="t" r="r" b="b"/>
              <a:pathLst>
                <a:path w="66675" h="104775">
                  <a:moveTo>
                    <a:pt x="13227" y="0"/>
                  </a:moveTo>
                  <a:lnTo>
                    <a:pt x="72850" y="104161"/>
                  </a:lnTo>
                  <a:lnTo>
                    <a:pt x="59623" y="111732"/>
                  </a:lnTo>
                  <a:lnTo>
                    <a:pt x="0" y="7571"/>
                  </a:lnTo>
                  <a:close/>
                </a:path>
              </a:pathLst>
            </a:custGeom>
            <a:solidFill>
              <a:srgbClr val="006D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Freeform 49">
              <a:extLst>
                <a:ext uri="{FF2B5EF4-FFF2-40B4-BE49-F238E27FC236}">
                  <a16:creationId xmlns:a16="http://schemas.microsoft.com/office/drawing/2014/main" id="{910E2430-8EB6-6B4C-8027-E64237461537}"/>
                </a:ext>
              </a:extLst>
            </p:cNvPr>
            <p:cNvSpPr/>
            <p:nvPr/>
          </p:nvSpPr>
          <p:spPr>
            <a:xfrm>
              <a:off x="5991429" y="3410326"/>
              <a:ext cx="142875" cy="19050"/>
            </a:xfrm>
            <a:custGeom>
              <a:avLst/>
              <a:gdLst>
                <a:gd name="connsiteX0" fmla="*/ 145237 w 142875"/>
                <a:gd name="connsiteY0" fmla="*/ 0 h 19050"/>
                <a:gd name="connsiteX1" fmla="*/ 146498 w 142875"/>
                <a:gd name="connsiteY1" fmla="*/ 15188 h 19050"/>
                <a:gd name="connsiteX2" fmla="*/ 1261 w 142875"/>
                <a:gd name="connsiteY2" fmla="*/ 27247 h 19050"/>
                <a:gd name="connsiteX3" fmla="*/ 0 w 142875"/>
                <a:gd name="connsiteY3" fmla="*/ 12059 h 19050"/>
              </a:gdLst>
              <a:ahLst/>
              <a:cxnLst>
                <a:cxn ang="0">
                  <a:pos x="connsiteX0" y="connsiteY0"/>
                </a:cxn>
                <a:cxn ang="0">
                  <a:pos x="connsiteX1" y="connsiteY1"/>
                </a:cxn>
                <a:cxn ang="0">
                  <a:pos x="connsiteX2" y="connsiteY2"/>
                </a:cxn>
                <a:cxn ang="0">
                  <a:pos x="connsiteX3" y="connsiteY3"/>
                </a:cxn>
              </a:cxnLst>
              <a:rect l="l" t="t" r="r" b="b"/>
              <a:pathLst>
                <a:path w="142875" h="19050">
                  <a:moveTo>
                    <a:pt x="145237" y="0"/>
                  </a:moveTo>
                  <a:lnTo>
                    <a:pt x="146498" y="15188"/>
                  </a:lnTo>
                  <a:lnTo>
                    <a:pt x="1261" y="27247"/>
                  </a:lnTo>
                  <a:lnTo>
                    <a:pt x="0" y="12059"/>
                  </a:lnTo>
                  <a:close/>
                </a:path>
              </a:pathLst>
            </a:custGeom>
            <a:solidFill>
              <a:srgbClr val="006D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50">
              <a:extLst>
                <a:ext uri="{FF2B5EF4-FFF2-40B4-BE49-F238E27FC236}">
                  <a16:creationId xmlns:a16="http://schemas.microsoft.com/office/drawing/2014/main" id="{95D2CDE2-537B-F142-8E38-733C7D003E04}"/>
                </a:ext>
              </a:extLst>
            </p:cNvPr>
            <p:cNvSpPr/>
            <p:nvPr/>
          </p:nvSpPr>
          <p:spPr>
            <a:xfrm>
              <a:off x="6080212" y="3414142"/>
              <a:ext cx="57150" cy="85725"/>
            </a:xfrm>
            <a:custGeom>
              <a:avLst/>
              <a:gdLst>
                <a:gd name="connsiteX0" fmla="*/ 51125 w 57150"/>
                <a:gd name="connsiteY0" fmla="*/ 0 h 85725"/>
                <a:gd name="connsiteX1" fmla="*/ 64178 w 57150"/>
                <a:gd name="connsiteY1" fmla="*/ 7865 h 85725"/>
                <a:gd name="connsiteX2" fmla="*/ 13053 w 57150"/>
                <a:gd name="connsiteY2" fmla="*/ 92710 h 85725"/>
                <a:gd name="connsiteX3" fmla="*/ 0 w 57150"/>
                <a:gd name="connsiteY3" fmla="*/ 84845 h 85725"/>
              </a:gdLst>
              <a:ahLst/>
              <a:cxnLst>
                <a:cxn ang="0">
                  <a:pos x="connsiteX0" y="connsiteY0"/>
                </a:cxn>
                <a:cxn ang="0">
                  <a:pos x="connsiteX1" y="connsiteY1"/>
                </a:cxn>
                <a:cxn ang="0">
                  <a:pos x="connsiteX2" y="connsiteY2"/>
                </a:cxn>
                <a:cxn ang="0">
                  <a:pos x="connsiteX3" y="connsiteY3"/>
                </a:cxn>
              </a:cxnLst>
              <a:rect l="l" t="t" r="r" b="b"/>
              <a:pathLst>
                <a:path w="57150" h="85725">
                  <a:moveTo>
                    <a:pt x="51125" y="0"/>
                  </a:moveTo>
                  <a:lnTo>
                    <a:pt x="64178" y="7865"/>
                  </a:lnTo>
                  <a:lnTo>
                    <a:pt x="13053" y="92710"/>
                  </a:lnTo>
                  <a:lnTo>
                    <a:pt x="0" y="84845"/>
                  </a:lnTo>
                  <a:close/>
                </a:path>
              </a:pathLst>
            </a:custGeom>
            <a:solidFill>
              <a:srgbClr val="006D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51">
              <a:extLst>
                <a:ext uri="{FF2B5EF4-FFF2-40B4-BE49-F238E27FC236}">
                  <a16:creationId xmlns:a16="http://schemas.microsoft.com/office/drawing/2014/main" id="{5557B379-CD8F-CE42-9574-CC0FF7246A86}"/>
                </a:ext>
              </a:extLst>
            </p:cNvPr>
            <p:cNvSpPr/>
            <p:nvPr/>
          </p:nvSpPr>
          <p:spPr>
            <a:xfrm>
              <a:off x="6161722" y="3276600"/>
              <a:ext cx="85725" cy="85725"/>
            </a:xfrm>
            <a:custGeom>
              <a:avLst/>
              <a:gdLst>
                <a:gd name="connsiteX0" fmla="*/ 81915 w 85725"/>
                <a:gd name="connsiteY0" fmla="*/ 0 h 85725"/>
                <a:gd name="connsiteX1" fmla="*/ 4763 w 85725"/>
                <a:gd name="connsiteY1" fmla="*/ 0 h 85725"/>
                <a:gd name="connsiteX2" fmla="*/ 0 w 85725"/>
                <a:gd name="connsiteY2" fmla="*/ 5715 h 85725"/>
                <a:gd name="connsiteX3" fmla="*/ 0 w 85725"/>
                <a:gd name="connsiteY3" fmla="*/ 33338 h 85725"/>
                <a:gd name="connsiteX4" fmla="*/ 4763 w 85725"/>
                <a:gd name="connsiteY4" fmla="*/ 38100 h 85725"/>
                <a:gd name="connsiteX5" fmla="*/ 48578 w 85725"/>
                <a:gd name="connsiteY5" fmla="*/ 38100 h 85725"/>
                <a:gd name="connsiteX6" fmla="*/ 48578 w 85725"/>
                <a:gd name="connsiteY6" fmla="*/ 80963 h 85725"/>
                <a:gd name="connsiteX7" fmla="*/ 54293 w 85725"/>
                <a:gd name="connsiteY7" fmla="*/ 85725 h 85725"/>
                <a:gd name="connsiteX8" fmla="*/ 81915 w 85725"/>
                <a:gd name="connsiteY8" fmla="*/ 85725 h 85725"/>
                <a:gd name="connsiteX9" fmla="*/ 86678 w 85725"/>
                <a:gd name="connsiteY9" fmla="*/ 80963 h 85725"/>
                <a:gd name="connsiteX10" fmla="*/ 86678 w 85725"/>
                <a:gd name="connsiteY10" fmla="*/ 4763 h 85725"/>
                <a:gd name="connsiteX11" fmla="*/ 81915 w 85725"/>
                <a:gd name="connsiteY11" fmla="*/ 0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85725">
                  <a:moveTo>
                    <a:pt x="81915" y="0"/>
                  </a:moveTo>
                  <a:lnTo>
                    <a:pt x="4763" y="0"/>
                  </a:lnTo>
                  <a:cubicBezTo>
                    <a:pt x="1905" y="0"/>
                    <a:pt x="0" y="1905"/>
                    <a:pt x="0" y="5715"/>
                  </a:cubicBezTo>
                  <a:lnTo>
                    <a:pt x="0" y="33338"/>
                  </a:lnTo>
                  <a:cubicBezTo>
                    <a:pt x="0" y="36195"/>
                    <a:pt x="1905" y="38100"/>
                    <a:pt x="4763" y="38100"/>
                  </a:cubicBezTo>
                  <a:lnTo>
                    <a:pt x="48578" y="38100"/>
                  </a:lnTo>
                  <a:lnTo>
                    <a:pt x="48578" y="80963"/>
                  </a:lnTo>
                  <a:cubicBezTo>
                    <a:pt x="48578" y="83820"/>
                    <a:pt x="50483" y="85725"/>
                    <a:pt x="54293" y="85725"/>
                  </a:cubicBezTo>
                  <a:lnTo>
                    <a:pt x="81915" y="85725"/>
                  </a:lnTo>
                  <a:cubicBezTo>
                    <a:pt x="84773" y="85725"/>
                    <a:pt x="86678" y="83820"/>
                    <a:pt x="86678" y="80963"/>
                  </a:cubicBezTo>
                  <a:lnTo>
                    <a:pt x="86678" y="4763"/>
                  </a:lnTo>
                  <a:cubicBezTo>
                    <a:pt x="86678" y="1905"/>
                    <a:pt x="84773" y="0"/>
                    <a:pt x="81915" y="0"/>
                  </a:cubicBezTo>
                  <a:close/>
                </a:path>
              </a:pathLst>
            </a:custGeom>
            <a:solidFill>
              <a:srgbClr val="006D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52">
              <a:extLst>
                <a:ext uri="{FF2B5EF4-FFF2-40B4-BE49-F238E27FC236}">
                  <a16:creationId xmlns:a16="http://schemas.microsoft.com/office/drawing/2014/main" id="{F4D9570A-EB06-5649-9126-F937D3209D65}"/>
                </a:ext>
              </a:extLst>
            </p:cNvPr>
            <p:cNvSpPr/>
            <p:nvPr/>
          </p:nvSpPr>
          <p:spPr>
            <a:xfrm>
              <a:off x="5943600" y="3494722"/>
              <a:ext cx="85725" cy="85725"/>
            </a:xfrm>
            <a:custGeom>
              <a:avLst/>
              <a:gdLst>
                <a:gd name="connsiteX0" fmla="*/ 4763 w 85725"/>
                <a:gd name="connsiteY0" fmla="*/ 85725 h 85725"/>
                <a:gd name="connsiteX1" fmla="*/ 81915 w 85725"/>
                <a:gd name="connsiteY1" fmla="*/ 85725 h 85725"/>
                <a:gd name="connsiteX2" fmla="*/ 86678 w 85725"/>
                <a:gd name="connsiteY2" fmla="*/ 80010 h 85725"/>
                <a:gd name="connsiteX3" fmla="*/ 86678 w 85725"/>
                <a:gd name="connsiteY3" fmla="*/ 52388 h 85725"/>
                <a:gd name="connsiteX4" fmla="*/ 81915 w 85725"/>
                <a:gd name="connsiteY4" fmla="*/ 47625 h 85725"/>
                <a:gd name="connsiteX5" fmla="*/ 38100 w 85725"/>
                <a:gd name="connsiteY5" fmla="*/ 47625 h 85725"/>
                <a:gd name="connsiteX6" fmla="*/ 38100 w 85725"/>
                <a:gd name="connsiteY6" fmla="*/ 4763 h 85725"/>
                <a:gd name="connsiteX7" fmla="*/ 32385 w 85725"/>
                <a:gd name="connsiteY7" fmla="*/ 0 h 85725"/>
                <a:gd name="connsiteX8" fmla="*/ 4763 w 85725"/>
                <a:gd name="connsiteY8" fmla="*/ 0 h 85725"/>
                <a:gd name="connsiteX9" fmla="*/ 0 w 85725"/>
                <a:gd name="connsiteY9" fmla="*/ 4763 h 85725"/>
                <a:gd name="connsiteX10" fmla="*/ 0 w 85725"/>
                <a:gd name="connsiteY10" fmla="*/ 80963 h 85725"/>
                <a:gd name="connsiteX11" fmla="*/ 4763 w 85725"/>
                <a:gd name="connsiteY11" fmla="*/ 8572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85725">
                  <a:moveTo>
                    <a:pt x="4763" y="85725"/>
                  </a:moveTo>
                  <a:lnTo>
                    <a:pt x="81915" y="85725"/>
                  </a:lnTo>
                  <a:cubicBezTo>
                    <a:pt x="84773" y="85725"/>
                    <a:pt x="86678" y="83820"/>
                    <a:pt x="86678" y="80010"/>
                  </a:cubicBezTo>
                  <a:lnTo>
                    <a:pt x="86678" y="52388"/>
                  </a:lnTo>
                  <a:cubicBezTo>
                    <a:pt x="86678" y="49530"/>
                    <a:pt x="84773" y="47625"/>
                    <a:pt x="81915" y="47625"/>
                  </a:cubicBezTo>
                  <a:lnTo>
                    <a:pt x="38100" y="47625"/>
                  </a:lnTo>
                  <a:lnTo>
                    <a:pt x="38100" y="4763"/>
                  </a:lnTo>
                  <a:cubicBezTo>
                    <a:pt x="38100" y="1905"/>
                    <a:pt x="36195" y="0"/>
                    <a:pt x="32385" y="0"/>
                  </a:cubicBezTo>
                  <a:lnTo>
                    <a:pt x="4763" y="0"/>
                  </a:lnTo>
                  <a:cubicBezTo>
                    <a:pt x="1905" y="0"/>
                    <a:pt x="0" y="1905"/>
                    <a:pt x="0" y="4763"/>
                  </a:cubicBezTo>
                  <a:lnTo>
                    <a:pt x="0" y="80963"/>
                  </a:lnTo>
                  <a:cubicBezTo>
                    <a:pt x="0" y="83820"/>
                    <a:pt x="1905" y="85725"/>
                    <a:pt x="4763" y="85725"/>
                  </a:cubicBezTo>
                  <a:close/>
                </a:path>
              </a:pathLst>
            </a:custGeom>
            <a:solidFill>
              <a:srgbClr val="006DD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55" name="Straight Connector 54">
            <a:extLst>
              <a:ext uri="{FF2B5EF4-FFF2-40B4-BE49-F238E27FC236}">
                <a16:creationId xmlns:a16="http://schemas.microsoft.com/office/drawing/2014/main" id="{F1444AD0-40EE-624B-B48F-65A4F066E967}"/>
              </a:ext>
            </a:extLst>
          </p:cNvPr>
          <p:cNvCxnSpPr/>
          <p:nvPr/>
        </p:nvCxnSpPr>
        <p:spPr>
          <a:xfrm>
            <a:off x="6945087" y="2120151"/>
            <a:ext cx="478971" cy="0"/>
          </a:xfrm>
          <a:prstGeom prst="line">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992598E-382C-4045-A21E-E0D8CAAC3F10}"/>
              </a:ext>
            </a:extLst>
          </p:cNvPr>
          <p:cNvCxnSpPr/>
          <p:nvPr/>
        </p:nvCxnSpPr>
        <p:spPr>
          <a:xfrm>
            <a:off x="8055429" y="2120151"/>
            <a:ext cx="478971" cy="0"/>
          </a:xfrm>
          <a:prstGeom prst="line">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D9C65FD-8C24-5346-A1E4-D562FD157247}"/>
              </a:ext>
            </a:extLst>
          </p:cNvPr>
          <p:cNvCxnSpPr/>
          <p:nvPr/>
        </p:nvCxnSpPr>
        <p:spPr>
          <a:xfrm>
            <a:off x="9241974" y="2120151"/>
            <a:ext cx="478971" cy="0"/>
          </a:xfrm>
          <a:prstGeom prst="line">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Freeform: Shape 203">
            <a:extLst>
              <a:ext uri="{FF2B5EF4-FFF2-40B4-BE49-F238E27FC236}">
                <a16:creationId xmlns:a16="http://schemas.microsoft.com/office/drawing/2014/main" id="{A506D3CE-2ACD-7448-B13D-E9E2D4737ABD}"/>
              </a:ext>
            </a:extLst>
          </p:cNvPr>
          <p:cNvSpPr/>
          <p:nvPr/>
        </p:nvSpPr>
        <p:spPr bwMode="auto">
          <a:xfrm>
            <a:off x="9974912" y="1965662"/>
            <a:ext cx="298126" cy="276080"/>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Freeform 13">
            <a:extLst>
              <a:ext uri="{FF2B5EF4-FFF2-40B4-BE49-F238E27FC236}">
                <a16:creationId xmlns:a16="http://schemas.microsoft.com/office/drawing/2014/main" id="{7FDBCBF0-960B-3241-9FB3-6B4244EC8ADE}"/>
              </a:ext>
            </a:extLst>
          </p:cNvPr>
          <p:cNvSpPr>
            <a:spLocks/>
          </p:cNvSpPr>
          <p:nvPr/>
        </p:nvSpPr>
        <p:spPr bwMode="auto">
          <a:xfrm>
            <a:off x="11103318" y="1971644"/>
            <a:ext cx="290178" cy="321464"/>
          </a:xfrm>
          <a:custGeom>
            <a:avLst/>
            <a:gdLst>
              <a:gd name="T0" fmla="*/ 639 w 2226"/>
              <a:gd name="T1" fmla="*/ 1845 h 2466"/>
              <a:gd name="T2" fmla="*/ 676 w 2226"/>
              <a:gd name="T3" fmla="*/ 1909 h 2466"/>
              <a:gd name="T4" fmla="*/ 773 w 2226"/>
              <a:gd name="T5" fmla="*/ 1997 h 2466"/>
              <a:gd name="T6" fmla="*/ 925 w 2226"/>
              <a:gd name="T7" fmla="*/ 2044 h 2466"/>
              <a:gd name="T8" fmla="*/ 1013 w 2226"/>
              <a:gd name="T9" fmla="*/ 2038 h 2466"/>
              <a:gd name="T10" fmla="*/ 1086 w 2226"/>
              <a:gd name="T11" fmla="*/ 2012 h 2466"/>
              <a:gd name="T12" fmla="*/ 1182 w 2226"/>
              <a:gd name="T13" fmla="*/ 1944 h 2466"/>
              <a:gd name="T14" fmla="*/ 1261 w 2226"/>
              <a:gd name="T15" fmla="*/ 1809 h 2466"/>
              <a:gd name="T16" fmla="*/ 1273 w 2226"/>
              <a:gd name="T17" fmla="*/ 1721 h 2466"/>
              <a:gd name="T18" fmla="*/ 1259 w 2226"/>
              <a:gd name="T19" fmla="*/ 1624 h 2466"/>
              <a:gd name="T20" fmla="*/ 1179 w 2226"/>
              <a:gd name="T21" fmla="*/ 1493 h 2466"/>
              <a:gd name="T22" fmla="*/ 1042 w 2226"/>
              <a:gd name="T23" fmla="*/ 1410 h 2466"/>
              <a:gd name="T24" fmla="*/ 914 w 2226"/>
              <a:gd name="T25" fmla="*/ 1395 h 2466"/>
              <a:gd name="T26" fmla="*/ 772 w 2226"/>
              <a:gd name="T27" fmla="*/ 1445 h 2466"/>
              <a:gd name="T28" fmla="*/ 664 w 2226"/>
              <a:gd name="T29" fmla="*/ 1552 h 2466"/>
              <a:gd name="T30" fmla="*/ 634 w 2226"/>
              <a:gd name="T31" fmla="*/ 1597 h 2466"/>
              <a:gd name="T32" fmla="*/ 573 w 2226"/>
              <a:gd name="T33" fmla="*/ 1603 h 2466"/>
              <a:gd name="T34" fmla="*/ 2014 w 2226"/>
              <a:gd name="T35" fmla="*/ 1615 h 2466"/>
              <a:gd name="T36" fmla="*/ 1689 w 2226"/>
              <a:gd name="T37" fmla="*/ 1616 h 2466"/>
              <a:gd name="T38" fmla="*/ 1650 w 2226"/>
              <a:gd name="T39" fmla="*/ 1585 h 2466"/>
              <a:gd name="T40" fmla="*/ 1610 w 2226"/>
              <a:gd name="T41" fmla="*/ 1453 h 2466"/>
              <a:gd name="T42" fmla="*/ 1515 w 2226"/>
              <a:gd name="T43" fmla="*/ 1288 h 2466"/>
              <a:gd name="T44" fmla="*/ 1380 w 2226"/>
              <a:gd name="T45" fmla="*/ 1150 h 2466"/>
              <a:gd name="T46" fmla="*/ 1213 w 2226"/>
              <a:gd name="T47" fmla="*/ 1050 h 2466"/>
              <a:gd name="T48" fmla="*/ 1018 w 2226"/>
              <a:gd name="T49" fmla="*/ 1000 h 2466"/>
              <a:gd name="T50" fmla="*/ 836 w 2226"/>
              <a:gd name="T51" fmla="*/ 1001 h 2466"/>
              <a:gd name="T52" fmla="*/ 609 w 2226"/>
              <a:gd name="T53" fmla="*/ 1067 h 2466"/>
              <a:gd name="T54" fmla="*/ 609 w 2226"/>
              <a:gd name="T55" fmla="*/ 1185 h 2466"/>
              <a:gd name="T56" fmla="*/ 733 w 2226"/>
              <a:gd name="T57" fmla="*/ 1237 h 2466"/>
              <a:gd name="T58" fmla="*/ 877 w 2226"/>
              <a:gd name="T59" fmla="*/ 1202 h 2466"/>
              <a:gd name="T60" fmla="*/ 1017 w 2226"/>
              <a:gd name="T61" fmla="*/ 1205 h 2466"/>
              <a:gd name="T62" fmla="*/ 1148 w 2226"/>
              <a:gd name="T63" fmla="*/ 1244 h 2466"/>
              <a:gd name="T64" fmla="*/ 1263 w 2226"/>
              <a:gd name="T65" fmla="*/ 1313 h 2466"/>
              <a:gd name="T66" fmla="*/ 1343 w 2226"/>
              <a:gd name="T67" fmla="*/ 1390 h 2466"/>
              <a:gd name="T68" fmla="*/ 1410 w 2226"/>
              <a:gd name="T69" fmla="*/ 1497 h 2466"/>
              <a:gd name="T70" fmla="*/ 1451 w 2226"/>
              <a:gd name="T71" fmla="*/ 1615 h 2466"/>
              <a:gd name="T72" fmla="*/ 1464 w 2226"/>
              <a:gd name="T73" fmla="*/ 1738 h 2466"/>
              <a:gd name="T74" fmla="*/ 1448 w 2226"/>
              <a:gd name="T75" fmla="*/ 1861 h 2466"/>
              <a:gd name="T76" fmla="*/ 1402 w 2226"/>
              <a:gd name="T77" fmla="*/ 1976 h 2466"/>
              <a:gd name="T78" fmla="*/ 1340 w 2226"/>
              <a:gd name="T79" fmla="*/ 2066 h 2466"/>
              <a:gd name="T80" fmla="*/ 1243 w 2226"/>
              <a:gd name="T81" fmla="*/ 2157 h 2466"/>
              <a:gd name="T82" fmla="*/ 1125 w 2226"/>
              <a:gd name="T83" fmla="*/ 2219 h 2466"/>
              <a:gd name="T84" fmla="*/ 990 w 2226"/>
              <a:gd name="T85" fmla="*/ 2252 h 2466"/>
              <a:gd name="T86" fmla="*/ 825 w 2226"/>
              <a:gd name="T87" fmla="*/ 2245 h 2466"/>
              <a:gd name="T88" fmla="*/ 664 w 2226"/>
              <a:gd name="T89" fmla="*/ 2182 h 2466"/>
              <a:gd name="T90" fmla="*/ 604 w 2226"/>
              <a:gd name="T91" fmla="*/ 2388 h 2466"/>
              <a:gd name="T92" fmla="*/ 766 w 2226"/>
              <a:gd name="T93" fmla="*/ 2446 h 2466"/>
              <a:gd name="T94" fmla="*/ 936 w 2226"/>
              <a:gd name="T95" fmla="*/ 2466 h 2466"/>
              <a:gd name="T96" fmla="*/ 1080 w 2226"/>
              <a:gd name="T97" fmla="*/ 2452 h 2466"/>
              <a:gd name="T98" fmla="*/ 1243 w 2226"/>
              <a:gd name="T99" fmla="*/ 2398 h 2466"/>
              <a:gd name="T100" fmla="*/ 1387 w 2226"/>
              <a:gd name="T101" fmla="*/ 2309 h 2466"/>
              <a:gd name="T102" fmla="*/ 1507 w 2226"/>
              <a:gd name="T103" fmla="*/ 2190 h 2466"/>
              <a:gd name="T104" fmla="*/ 1599 w 2226"/>
              <a:gd name="T105" fmla="*/ 2047 h 2466"/>
              <a:gd name="T106" fmla="*/ 1653 w 2226"/>
              <a:gd name="T107" fmla="*/ 1886 h 2466"/>
              <a:gd name="T108" fmla="*/ 2226 w 2226"/>
              <a:gd name="T109" fmla="*/ 0 h 2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6" h="2466">
                <a:moveTo>
                  <a:pt x="2226" y="0"/>
                </a:moveTo>
                <a:lnTo>
                  <a:pt x="0" y="0"/>
                </a:lnTo>
                <a:lnTo>
                  <a:pt x="0" y="1843"/>
                </a:lnTo>
                <a:lnTo>
                  <a:pt x="638" y="1843"/>
                </a:lnTo>
                <a:lnTo>
                  <a:pt x="638" y="1843"/>
                </a:lnTo>
                <a:lnTo>
                  <a:pt x="639" y="1845"/>
                </a:lnTo>
                <a:lnTo>
                  <a:pt x="639" y="1845"/>
                </a:lnTo>
                <a:lnTo>
                  <a:pt x="645" y="1858"/>
                </a:lnTo>
                <a:lnTo>
                  <a:pt x="652" y="1872"/>
                </a:lnTo>
                <a:lnTo>
                  <a:pt x="659" y="1885"/>
                </a:lnTo>
                <a:lnTo>
                  <a:pt x="667" y="1897"/>
                </a:lnTo>
                <a:lnTo>
                  <a:pt x="676" y="1909"/>
                </a:lnTo>
                <a:lnTo>
                  <a:pt x="685" y="1921"/>
                </a:lnTo>
                <a:lnTo>
                  <a:pt x="693" y="1932"/>
                </a:lnTo>
                <a:lnTo>
                  <a:pt x="703" y="1943"/>
                </a:lnTo>
                <a:lnTo>
                  <a:pt x="725" y="1963"/>
                </a:lnTo>
                <a:lnTo>
                  <a:pt x="748" y="1982"/>
                </a:lnTo>
                <a:lnTo>
                  <a:pt x="773" y="1997"/>
                </a:lnTo>
                <a:lnTo>
                  <a:pt x="798" y="2011"/>
                </a:lnTo>
                <a:lnTo>
                  <a:pt x="825" y="2023"/>
                </a:lnTo>
                <a:lnTo>
                  <a:pt x="852" y="2032"/>
                </a:lnTo>
                <a:lnTo>
                  <a:pt x="881" y="2039"/>
                </a:lnTo>
                <a:lnTo>
                  <a:pt x="910" y="2043"/>
                </a:lnTo>
                <a:lnTo>
                  <a:pt x="925" y="2044"/>
                </a:lnTo>
                <a:lnTo>
                  <a:pt x="939" y="2045"/>
                </a:lnTo>
                <a:lnTo>
                  <a:pt x="954" y="2045"/>
                </a:lnTo>
                <a:lnTo>
                  <a:pt x="969" y="2044"/>
                </a:lnTo>
                <a:lnTo>
                  <a:pt x="983" y="2043"/>
                </a:lnTo>
                <a:lnTo>
                  <a:pt x="998" y="2041"/>
                </a:lnTo>
                <a:lnTo>
                  <a:pt x="1013" y="2038"/>
                </a:lnTo>
                <a:lnTo>
                  <a:pt x="1028" y="2034"/>
                </a:lnTo>
                <a:lnTo>
                  <a:pt x="1028" y="2034"/>
                </a:lnTo>
                <a:lnTo>
                  <a:pt x="1043" y="2030"/>
                </a:lnTo>
                <a:lnTo>
                  <a:pt x="1057" y="2025"/>
                </a:lnTo>
                <a:lnTo>
                  <a:pt x="1072" y="2019"/>
                </a:lnTo>
                <a:lnTo>
                  <a:pt x="1086" y="2012"/>
                </a:lnTo>
                <a:lnTo>
                  <a:pt x="1099" y="2006"/>
                </a:lnTo>
                <a:lnTo>
                  <a:pt x="1112" y="1999"/>
                </a:lnTo>
                <a:lnTo>
                  <a:pt x="1125" y="1990"/>
                </a:lnTo>
                <a:lnTo>
                  <a:pt x="1138" y="1983"/>
                </a:lnTo>
                <a:lnTo>
                  <a:pt x="1161" y="1964"/>
                </a:lnTo>
                <a:lnTo>
                  <a:pt x="1182" y="1944"/>
                </a:lnTo>
                <a:lnTo>
                  <a:pt x="1202" y="1923"/>
                </a:lnTo>
                <a:lnTo>
                  <a:pt x="1218" y="1899"/>
                </a:lnTo>
                <a:lnTo>
                  <a:pt x="1234" y="1875"/>
                </a:lnTo>
                <a:lnTo>
                  <a:pt x="1246" y="1850"/>
                </a:lnTo>
                <a:lnTo>
                  <a:pt x="1257" y="1822"/>
                </a:lnTo>
                <a:lnTo>
                  <a:pt x="1261" y="1809"/>
                </a:lnTo>
                <a:lnTo>
                  <a:pt x="1265" y="1794"/>
                </a:lnTo>
                <a:lnTo>
                  <a:pt x="1268" y="1780"/>
                </a:lnTo>
                <a:lnTo>
                  <a:pt x="1270" y="1766"/>
                </a:lnTo>
                <a:lnTo>
                  <a:pt x="1272" y="1750"/>
                </a:lnTo>
                <a:lnTo>
                  <a:pt x="1273" y="1736"/>
                </a:lnTo>
                <a:lnTo>
                  <a:pt x="1273" y="1721"/>
                </a:lnTo>
                <a:lnTo>
                  <a:pt x="1273" y="1705"/>
                </a:lnTo>
                <a:lnTo>
                  <a:pt x="1272" y="1691"/>
                </a:lnTo>
                <a:lnTo>
                  <a:pt x="1270" y="1676"/>
                </a:lnTo>
                <a:lnTo>
                  <a:pt x="1270" y="1676"/>
                </a:lnTo>
                <a:lnTo>
                  <a:pt x="1266" y="1649"/>
                </a:lnTo>
                <a:lnTo>
                  <a:pt x="1259" y="1624"/>
                </a:lnTo>
                <a:lnTo>
                  <a:pt x="1250" y="1600"/>
                </a:lnTo>
                <a:lnTo>
                  <a:pt x="1239" y="1575"/>
                </a:lnTo>
                <a:lnTo>
                  <a:pt x="1227" y="1553"/>
                </a:lnTo>
                <a:lnTo>
                  <a:pt x="1213" y="1531"/>
                </a:lnTo>
                <a:lnTo>
                  <a:pt x="1196" y="1512"/>
                </a:lnTo>
                <a:lnTo>
                  <a:pt x="1179" y="1493"/>
                </a:lnTo>
                <a:lnTo>
                  <a:pt x="1159" y="1475"/>
                </a:lnTo>
                <a:lnTo>
                  <a:pt x="1138" y="1459"/>
                </a:lnTo>
                <a:lnTo>
                  <a:pt x="1116" y="1444"/>
                </a:lnTo>
                <a:lnTo>
                  <a:pt x="1093" y="1431"/>
                </a:lnTo>
                <a:lnTo>
                  <a:pt x="1068" y="1420"/>
                </a:lnTo>
                <a:lnTo>
                  <a:pt x="1042" y="1410"/>
                </a:lnTo>
                <a:lnTo>
                  <a:pt x="1015" y="1403"/>
                </a:lnTo>
                <a:lnTo>
                  <a:pt x="988" y="1397"/>
                </a:lnTo>
                <a:lnTo>
                  <a:pt x="988" y="1397"/>
                </a:lnTo>
                <a:lnTo>
                  <a:pt x="964" y="1394"/>
                </a:lnTo>
                <a:lnTo>
                  <a:pt x="939" y="1394"/>
                </a:lnTo>
                <a:lnTo>
                  <a:pt x="914" y="1395"/>
                </a:lnTo>
                <a:lnTo>
                  <a:pt x="890" y="1399"/>
                </a:lnTo>
                <a:lnTo>
                  <a:pt x="865" y="1405"/>
                </a:lnTo>
                <a:lnTo>
                  <a:pt x="841" y="1412"/>
                </a:lnTo>
                <a:lnTo>
                  <a:pt x="817" y="1421"/>
                </a:lnTo>
                <a:lnTo>
                  <a:pt x="794" y="1432"/>
                </a:lnTo>
                <a:lnTo>
                  <a:pt x="772" y="1445"/>
                </a:lnTo>
                <a:lnTo>
                  <a:pt x="750" y="1460"/>
                </a:lnTo>
                <a:lnTo>
                  <a:pt x="730" y="1475"/>
                </a:lnTo>
                <a:lnTo>
                  <a:pt x="711" y="1493"/>
                </a:lnTo>
                <a:lnTo>
                  <a:pt x="693" y="1512"/>
                </a:lnTo>
                <a:lnTo>
                  <a:pt x="678" y="1531"/>
                </a:lnTo>
                <a:lnTo>
                  <a:pt x="664" y="1552"/>
                </a:lnTo>
                <a:lnTo>
                  <a:pt x="653" y="1574"/>
                </a:lnTo>
                <a:lnTo>
                  <a:pt x="653" y="1574"/>
                </a:lnTo>
                <a:lnTo>
                  <a:pt x="648" y="1582"/>
                </a:lnTo>
                <a:lnTo>
                  <a:pt x="644" y="1589"/>
                </a:lnTo>
                <a:lnTo>
                  <a:pt x="639" y="1593"/>
                </a:lnTo>
                <a:lnTo>
                  <a:pt x="634" y="1597"/>
                </a:lnTo>
                <a:lnTo>
                  <a:pt x="627" y="1601"/>
                </a:lnTo>
                <a:lnTo>
                  <a:pt x="621" y="1602"/>
                </a:lnTo>
                <a:lnTo>
                  <a:pt x="614" y="1603"/>
                </a:lnTo>
                <a:lnTo>
                  <a:pt x="605" y="1603"/>
                </a:lnTo>
                <a:lnTo>
                  <a:pt x="605" y="1603"/>
                </a:lnTo>
                <a:lnTo>
                  <a:pt x="573" y="1603"/>
                </a:lnTo>
                <a:lnTo>
                  <a:pt x="521" y="1602"/>
                </a:lnTo>
                <a:lnTo>
                  <a:pt x="390" y="1602"/>
                </a:lnTo>
                <a:lnTo>
                  <a:pt x="217" y="1603"/>
                </a:lnTo>
                <a:lnTo>
                  <a:pt x="217" y="456"/>
                </a:lnTo>
                <a:lnTo>
                  <a:pt x="2014" y="456"/>
                </a:lnTo>
                <a:lnTo>
                  <a:pt x="2014" y="1615"/>
                </a:lnTo>
                <a:lnTo>
                  <a:pt x="2014" y="1615"/>
                </a:lnTo>
                <a:lnTo>
                  <a:pt x="1890" y="1615"/>
                </a:lnTo>
                <a:lnTo>
                  <a:pt x="1786" y="1615"/>
                </a:lnTo>
                <a:lnTo>
                  <a:pt x="1700" y="1616"/>
                </a:lnTo>
                <a:lnTo>
                  <a:pt x="1700" y="1616"/>
                </a:lnTo>
                <a:lnTo>
                  <a:pt x="1689" y="1616"/>
                </a:lnTo>
                <a:lnTo>
                  <a:pt x="1679" y="1615"/>
                </a:lnTo>
                <a:lnTo>
                  <a:pt x="1670" y="1612"/>
                </a:lnTo>
                <a:lnTo>
                  <a:pt x="1664" y="1608"/>
                </a:lnTo>
                <a:lnTo>
                  <a:pt x="1658" y="1602"/>
                </a:lnTo>
                <a:lnTo>
                  <a:pt x="1654" y="1595"/>
                </a:lnTo>
                <a:lnTo>
                  <a:pt x="1650" y="1585"/>
                </a:lnTo>
                <a:lnTo>
                  <a:pt x="1647" y="1574"/>
                </a:lnTo>
                <a:lnTo>
                  <a:pt x="1647" y="1574"/>
                </a:lnTo>
                <a:lnTo>
                  <a:pt x="1641" y="1543"/>
                </a:lnTo>
                <a:lnTo>
                  <a:pt x="1632" y="1513"/>
                </a:lnTo>
                <a:lnTo>
                  <a:pt x="1621" y="1483"/>
                </a:lnTo>
                <a:lnTo>
                  <a:pt x="1610" y="1453"/>
                </a:lnTo>
                <a:lnTo>
                  <a:pt x="1596" y="1425"/>
                </a:lnTo>
                <a:lnTo>
                  <a:pt x="1583" y="1396"/>
                </a:lnTo>
                <a:lnTo>
                  <a:pt x="1568" y="1367"/>
                </a:lnTo>
                <a:lnTo>
                  <a:pt x="1551" y="1340"/>
                </a:lnTo>
                <a:lnTo>
                  <a:pt x="1534" y="1313"/>
                </a:lnTo>
                <a:lnTo>
                  <a:pt x="1515" y="1288"/>
                </a:lnTo>
                <a:lnTo>
                  <a:pt x="1495" y="1263"/>
                </a:lnTo>
                <a:lnTo>
                  <a:pt x="1474" y="1239"/>
                </a:lnTo>
                <a:lnTo>
                  <a:pt x="1452" y="1214"/>
                </a:lnTo>
                <a:lnTo>
                  <a:pt x="1430" y="1192"/>
                </a:lnTo>
                <a:lnTo>
                  <a:pt x="1406" y="1170"/>
                </a:lnTo>
                <a:lnTo>
                  <a:pt x="1380" y="1150"/>
                </a:lnTo>
                <a:lnTo>
                  <a:pt x="1355" y="1131"/>
                </a:lnTo>
                <a:lnTo>
                  <a:pt x="1329" y="1112"/>
                </a:lnTo>
                <a:lnTo>
                  <a:pt x="1301" y="1095"/>
                </a:lnTo>
                <a:lnTo>
                  <a:pt x="1272" y="1079"/>
                </a:lnTo>
                <a:lnTo>
                  <a:pt x="1244" y="1065"/>
                </a:lnTo>
                <a:lnTo>
                  <a:pt x="1213" y="1050"/>
                </a:lnTo>
                <a:lnTo>
                  <a:pt x="1182" y="1038"/>
                </a:lnTo>
                <a:lnTo>
                  <a:pt x="1151" y="1027"/>
                </a:lnTo>
                <a:lnTo>
                  <a:pt x="1119" y="1018"/>
                </a:lnTo>
                <a:lnTo>
                  <a:pt x="1086" y="1011"/>
                </a:lnTo>
                <a:lnTo>
                  <a:pt x="1052" y="1004"/>
                </a:lnTo>
                <a:lnTo>
                  <a:pt x="1018" y="1000"/>
                </a:lnTo>
                <a:lnTo>
                  <a:pt x="983" y="996"/>
                </a:lnTo>
                <a:lnTo>
                  <a:pt x="948" y="994"/>
                </a:lnTo>
                <a:lnTo>
                  <a:pt x="912" y="994"/>
                </a:lnTo>
                <a:lnTo>
                  <a:pt x="877" y="996"/>
                </a:lnTo>
                <a:lnTo>
                  <a:pt x="877" y="996"/>
                </a:lnTo>
                <a:lnTo>
                  <a:pt x="836" y="1001"/>
                </a:lnTo>
                <a:lnTo>
                  <a:pt x="797" y="1007"/>
                </a:lnTo>
                <a:lnTo>
                  <a:pt x="757" y="1015"/>
                </a:lnTo>
                <a:lnTo>
                  <a:pt x="720" y="1025"/>
                </a:lnTo>
                <a:lnTo>
                  <a:pt x="682" y="1037"/>
                </a:lnTo>
                <a:lnTo>
                  <a:pt x="645" y="1051"/>
                </a:lnTo>
                <a:lnTo>
                  <a:pt x="609" y="1067"/>
                </a:lnTo>
                <a:lnTo>
                  <a:pt x="573" y="1084"/>
                </a:lnTo>
                <a:lnTo>
                  <a:pt x="573" y="1084"/>
                </a:lnTo>
                <a:lnTo>
                  <a:pt x="564" y="1090"/>
                </a:lnTo>
                <a:lnTo>
                  <a:pt x="555" y="1096"/>
                </a:lnTo>
                <a:lnTo>
                  <a:pt x="555" y="1096"/>
                </a:lnTo>
                <a:lnTo>
                  <a:pt x="609" y="1185"/>
                </a:lnTo>
                <a:lnTo>
                  <a:pt x="609" y="1185"/>
                </a:lnTo>
                <a:lnTo>
                  <a:pt x="664" y="1270"/>
                </a:lnTo>
                <a:lnTo>
                  <a:pt x="664" y="1270"/>
                </a:lnTo>
                <a:lnTo>
                  <a:pt x="687" y="1258"/>
                </a:lnTo>
                <a:lnTo>
                  <a:pt x="710" y="1247"/>
                </a:lnTo>
                <a:lnTo>
                  <a:pt x="733" y="1237"/>
                </a:lnTo>
                <a:lnTo>
                  <a:pt x="757" y="1229"/>
                </a:lnTo>
                <a:lnTo>
                  <a:pt x="782" y="1221"/>
                </a:lnTo>
                <a:lnTo>
                  <a:pt x="805" y="1214"/>
                </a:lnTo>
                <a:lnTo>
                  <a:pt x="829" y="1209"/>
                </a:lnTo>
                <a:lnTo>
                  <a:pt x="852" y="1205"/>
                </a:lnTo>
                <a:lnTo>
                  <a:pt x="877" y="1202"/>
                </a:lnTo>
                <a:lnTo>
                  <a:pt x="901" y="1200"/>
                </a:lnTo>
                <a:lnTo>
                  <a:pt x="924" y="1199"/>
                </a:lnTo>
                <a:lnTo>
                  <a:pt x="947" y="1199"/>
                </a:lnTo>
                <a:lnTo>
                  <a:pt x="971" y="1200"/>
                </a:lnTo>
                <a:lnTo>
                  <a:pt x="994" y="1202"/>
                </a:lnTo>
                <a:lnTo>
                  <a:pt x="1017" y="1205"/>
                </a:lnTo>
                <a:lnTo>
                  <a:pt x="1040" y="1210"/>
                </a:lnTo>
                <a:lnTo>
                  <a:pt x="1062" y="1215"/>
                </a:lnTo>
                <a:lnTo>
                  <a:pt x="1084" y="1221"/>
                </a:lnTo>
                <a:lnTo>
                  <a:pt x="1106" y="1227"/>
                </a:lnTo>
                <a:lnTo>
                  <a:pt x="1127" y="1235"/>
                </a:lnTo>
                <a:lnTo>
                  <a:pt x="1148" y="1244"/>
                </a:lnTo>
                <a:lnTo>
                  <a:pt x="1169" y="1254"/>
                </a:lnTo>
                <a:lnTo>
                  <a:pt x="1189" y="1264"/>
                </a:lnTo>
                <a:lnTo>
                  <a:pt x="1208" y="1275"/>
                </a:lnTo>
                <a:lnTo>
                  <a:pt x="1227" y="1287"/>
                </a:lnTo>
                <a:lnTo>
                  <a:pt x="1246" y="1300"/>
                </a:lnTo>
                <a:lnTo>
                  <a:pt x="1263" y="1313"/>
                </a:lnTo>
                <a:lnTo>
                  <a:pt x="1281" y="1328"/>
                </a:lnTo>
                <a:lnTo>
                  <a:pt x="1298" y="1342"/>
                </a:lnTo>
                <a:lnTo>
                  <a:pt x="1313" y="1357"/>
                </a:lnTo>
                <a:lnTo>
                  <a:pt x="1329" y="1374"/>
                </a:lnTo>
                <a:lnTo>
                  <a:pt x="1343" y="1390"/>
                </a:lnTo>
                <a:lnTo>
                  <a:pt x="1343" y="1390"/>
                </a:lnTo>
                <a:lnTo>
                  <a:pt x="1356" y="1407"/>
                </a:lnTo>
                <a:lnTo>
                  <a:pt x="1368" y="1425"/>
                </a:lnTo>
                <a:lnTo>
                  <a:pt x="1379" y="1442"/>
                </a:lnTo>
                <a:lnTo>
                  <a:pt x="1390" y="1460"/>
                </a:lnTo>
                <a:lnTo>
                  <a:pt x="1400" y="1478"/>
                </a:lnTo>
                <a:lnTo>
                  <a:pt x="1410" y="1497"/>
                </a:lnTo>
                <a:lnTo>
                  <a:pt x="1419" y="1516"/>
                </a:lnTo>
                <a:lnTo>
                  <a:pt x="1427" y="1536"/>
                </a:lnTo>
                <a:lnTo>
                  <a:pt x="1434" y="1556"/>
                </a:lnTo>
                <a:lnTo>
                  <a:pt x="1440" y="1574"/>
                </a:lnTo>
                <a:lnTo>
                  <a:pt x="1445" y="1595"/>
                </a:lnTo>
                <a:lnTo>
                  <a:pt x="1451" y="1615"/>
                </a:lnTo>
                <a:lnTo>
                  <a:pt x="1455" y="1635"/>
                </a:lnTo>
                <a:lnTo>
                  <a:pt x="1459" y="1656"/>
                </a:lnTo>
                <a:lnTo>
                  <a:pt x="1461" y="1676"/>
                </a:lnTo>
                <a:lnTo>
                  <a:pt x="1463" y="1696"/>
                </a:lnTo>
                <a:lnTo>
                  <a:pt x="1464" y="1717"/>
                </a:lnTo>
                <a:lnTo>
                  <a:pt x="1464" y="1738"/>
                </a:lnTo>
                <a:lnTo>
                  <a:pt x="1463" y="1758"/>
                </a:lnTo>
                <a:lnTo>
                  <a:pt x="1462" y="1779"/>
                </a:lnTo>
                <a:lnTo>
                  <a:pt x="1460" y="1800"/>
                </a:lnTo>
                <a:lnTo>
                  <a:pt x="1456" y="1820"/>
                </a:lnTo>
                <a:lnTo>
                  <a:pt x="1453" y="1840"/>
                </a:lnTo>
                <a:lnTo>
                  <a:pt x="1448" y="1861"/>
                </a:lnTo>
                <a:lnTo>
                  <a:pt x="1442" y="1880"/>
                </a:lnTo>
                <a:lnTo>
                  <a:pt x="1437" y="1900"/>
                </a:lnTo>
                <a:lnTo>
                  <a:pt x="1429" y="1919"/>
                </a:lnTo>
                <a:lnTo>
                  <a:pt x="1421" y="1939"/>
                </a:lnTo>
                <a:lnTo>
                  <a:pt x="1412" y="1957"/>
                </a:lnTo>
                <a:lnTo>
                  <a:pt x="1402" y="1976"/>
                </a:lnTo>
                <a:lnTo>
                  <a:pt x="1392" y="1994"/>
                </a:lnTo>
                <a:lnTo>
                  <a:pt x="1381" y="2011"/>
                </a:lnTo>
                <a:lnTo>
                  <a:pt x="1381" y="2011"/>
                </a:lnTo>
                <a:lnTo>
                  <a:pt x="1368" y="2031"/>
                </a:lnTo>
                <a:lnTo>
                  <a:pt x="1354" y="2049"/>
                </a:lnTo>
                <a:lnTo>
                  <a:pt x="1340" y="2066"/>
                </a:lnTo>
                <a:lnTo>
                  <a:pt x="1325" y="2083"/>
                </a:lnTo>
                <a:lnTo>
                  <a:pt x="1310" y="2099"/>
                </a:lnTo>
                <a:lnTo>
                  <a:pt x="1294" y="2115"/>
                </a:lnTo>
                <a:lnTo>
                  <a:pt x="1278" y="2129"/>
                </a:lnTo>
                <a:lnTo>
                  <a:pt x="1260" y="2143"/>
                </a:lnTo>
                <a:lnTo>
                  <a:pt x="1243" y="2157"/>
                </a:lnTo>
                <a:lnTo>
                  <a:pt x="1225" y="2169"/>
                </a:lnTo>
                <a:lnTo>
                  <a:pt x="1206" y="2181"/>
                </a:lnTo>
                <a:lnTo>
                  <a:pt x="1186" y="2192"/>
                </a:lnTo>
                <a:lnTo>
                  <a:pt x="1166" y="2202"/>
                </a:lnTo>
                <a:lnTo>
                  <a:pt x="1146" y="2212"/>
                </a:lnTo>
                <a:lnTo>
                  <a:pt x="1125" y="2219"/>
                </a:lnTo>
                <a:lnTo>
                  <a:pt x="1103" y="2227"/>
                </a:lnTo>
                <a:lnTo>
                  <a:pt x="1103" y="2227"/>
                </a:lnTo>
                <a:lnTo>
                  <a:pt x="1075" y="2236"/>
                </a:lnTo>
                <a:lnTo>
                  <a:pt x="1046" y="2244"/>
                </a:lnTo>
                <a:lnTo>
                  <a:pt x="1018" y="2249"/>
                </a:lnTo>
                <a:lnTo>
                  <a:pt x="990" y="2252"/>
                </a:lnTo>
                <a:lnTo>
                  <a:pt x="963" y="2256"/>
                </a:lnTo>
                <a:lnTo>
                  <a:pt x="934" y="2257"/>
                </a:lnTo>
                <a:lnTo>
                  <a:pt x="906" y="2256"/>
                </a:lnTo>
                <a:lnTo>
                  <a:pt x="879" y="2254"/>
                </a:lnTo>
                <a:lnTo>
                  <a:pt x="851" y="2250"/>
                </a:lnTo>
                <a:lnTo>
                  <a:pt x="825" y="2245"/>
                </a:lnTo>
                <a:lnTo>
                  <a:pt x="797" y="2238"/>
                </a:lnTo>
                <a:lnTo>
                  <a:pt x="770" y="2230"/>
                </a:lnTo>
                <a:lnTo>
                  <a:pt x="743" y="2221"/>
                </a:lnTo>
                <a:lnTo>
                  <a:pt x="717" y="2209"/>
                </a:lnTo>
                <a:lnTo>
                  <a:pt x="690" y="2196"/>
                </a:lnTo>
                <a:lnTo>
                  <a:pt x="664" y="2182"/>
                </a:lnTo>
                <a:lnTo>
                  <a:pt x="664" y="2182"/>
                </a:lnTo>
                <a:lnTo>
                  <a:pt x="553" y="2359"/>
                </a:lnTo>
                <a:lnTo>
                  <a:pt x="553" y="2359"/>
                </a:lnTo>
                <a:lnTo>
                  <a:pt x="580" y="2375"/>
                </a:lnTo>
                <a:lnTo>
                  <a:pt x="604" y="2388"/>
                </a:lnTo>
                <a:lnTo>
                  <a:pt x="604" y="2388"/>
                </a:lnTo>
                <a:lnTo>
                  <a:pt x="631" y="2400"/>
                </a:lnTo>
                <a:lnTo>
                  <a:pt x="657" y="2411"/>
                </a:lnTo>
                <a:lnTo>
                  <a:pt x="685" y="2422"/>
                </a:lnTo>
                <a:lnTo>
                  <a:pt x="712" y="2431"/>
                </a:lnTo>
                <a:lnTo>
                  <a:pt x="739" y="2438"/>
                </a:lnTo>
                <a:lnTo>
                  <a:pt x="766" y="2446"/>
                </a:lnTo>
                <a:lnTo>
                  <a:pt x="795" y="2452"/>
                </a:lnTo>
                <a:lnTo>
                  <a:pt x="822" y="2457"/>
                </a:lnTo>
                <a:lnTo>
                  <a:pt x="850" y="2460"/>
                </a:lnTo>
                <a:lnTo>
                  <a:pt x="879" y="2464"/>
                </a:lnTo>
                <a:lnTo>
                  <a:pt x="907" y="2466"/>
                </a:lnTo>
                <a:lnTo>
                  <a:pt x="936" y="2466"/>
                </a:lnTo>
                <a:lnTo>
                  <a:pt x="965" y="2465"/>
                </a:lnTo>
                <a:lnTo>
                  <a:pt x="993" y="2464"/>
                </a:lnTo>
                <a:lnTo>
                  <a:pt x="1023" y="2460"/>
                </a:lnTo>
                <a:lnTo>
                  <a:pt x="1053" y="2457"/>
                </a:lnTo>
                <a:lnTo>
                  <a:pt x="1053" y="2457"/>
                </a:lnTo>
                <a:lnTo>
                  <a:pt x="1080" y="2452"/>
                </a:lnTo>
                <a:lnTo>
                  <a:pt x="1109" y="2445"/>
                </a:lnTo>
                <a:lnTo>
                  <a:pt x="1137" y="2438"/>
                </a:lnTo>
                <a:lnTo>
                  <a:pt x="1163" y="2430"/>
                </a:lnTo>
                <a:lnTo>
                  <a:pt x="1191" y="2420"/>
                </a:lnTo>
                <a:lnTo>
                  <a:pt x="1217" y="2410"/>
                </a:lnTo>
                <a:lnTo>
                  <a:pt x="1243" y="2398"/>
                </a:lnTo>
                <a:lnTo>
                  <a:pt x="1268" y="2386"/>
                </a:lnTo>
                <a:lnTo>
                  <a:pt x="1293" y="2372"/>
                </a:lnTo>
                <a:lnTo>
                  <a:pt x="1318" y="2358"/>
                </a:lnTo>
                <a:lnTo>
                  <a:pt x="1341" y="2343"/>
                </a:lnTo>
                <a:lnTo>
                  <a:pt x="1364" y="2326"/>
                </a:lnTo>
                <a:lnTo>
                  <a:pt x="1387" y="2309"/>
                </a:lnTo>
                <a:lnTo>
                  <a:pt x="1409" y="2291"/>
                </a:lnTo>
                <a:lnTo>
                  <a:pt x="1430" y="2272"/>
                </a:lnTo>
                <a:lnTo>
                  <a:pt x="1451" y="2252"/>
                </a:lnTo>
                <a:lnTo>
                  <a:pt x="1471" y="2233"/>
                </a:lnTo>
                <a:lnTo>
                  <a:pt x="1490" y="2212"/>
                </a:lnTo>
                <a:lnTo>
                  <a:pt x="1507" y="2190"/>
                </a:lnTo>
                <a:lnTo>
                  <a:pt x="1525" y="2168"/>
                </a:lnTo>
                <a:lnTo>
                  <a:pt x="1541" y="2145"/>
                </a:lnTo>
                <a:lnTo>
                  <a:pt x="1557" y="2121"/>
                </a:lnTo>
                <a:lnTo>
                  <a:pt x="1572" y="2097"/>
                </a:lnTo>
                <a:lnTo>
                  <a:pt x="1585" y="2072"/>
                </a:lnTo>
                <a:lnTo>
                  <a:pt x="1599" y="2047"/>
                </a:lnTo>
                <a:lnTo>
                  <a:pt x="1610" y="2021"/>
                </a:lnTo>
                <a:lnTo>
                  <a:pt x="1621" y="1995"/>
                </a:lnTo>
                <a:lnTo>
                  <a:pt x="1631" y="1968"/>
                </a:lnTo>
                <a:lnTo>
                  <a:pt x="1638" y="1941"/>
                </a:lnTo>
                <a:lnTo>
                  <a:pt x="1646" y="1913"/>
                </a:lnTo>
                <a:lnTo>
                  <a:pt x="1653" y="1886"/>
                </a:lnTo>
                <a:lnTo>
                  <a:pt x="1657" y="1858"/>
                </a:lnTo>
                <a:lnTo>
                  <a:pt x="1657" y="1858"/>
                </a:lnTo>
                <a:lnTo>
                  <a:pt x="1659" y="1850"/>
                </a:lnTo>
                <a:lnTo>
                  <a:pt x="1662" y="1843"/>
                </a:lnTo>
                <a:lnTo>
                  <a:pt x="2226" y="1843"/>
                </a:lnTo>
                <a:lnTo>
                  <a:pt x="222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61" name="Straight Connector 60">
            <a:extLst>
              <a:ext uri="{FF2B5EF4-FFF2-40B4-BE49-F238E27FC236}">
                <a16:creationId xmlns:a16="http://schemas.microsoft.com/office/drawing/2014/main" id="{60199BC7-4ED6-8841-AE02-C9D17F9A9F08}"/>
              </a:ext>
            </a:extLst>
          </p:cNvPr>
          <p:cNvCxnSpPr/>
          <p:nvPr/>
        </p:nvCxnSpPr>
        <p:spPr>
          <a:xfrm>
            <a:off x="10406747" y="2120151"/>
            <a:ext cx="478971" cy="0"/>
          </a:xfrm>
          <a:prstGeom prst="line">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88806CD-7755-E242-99EA-D16B0A13CF4C}"/>
              </a:ext>
            </a:extLst>
          </p:cNvPr>
          <p:cNvCxnSpPr/>
          <p:nvPr/>
        </p:nvCxnSpPr>
        <p:spPr>
          <a:xfrm>
            <a:off x="9296404" y="3372010"/>
            <a:ext cx="478971" cy="0"/>
          </a:xfrm>
          <a:prstGeom prst="line">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464B1B3-FF65-114C-90C9-60DDD1BAA6E6}"/>
              </a:ext>
            </a:extLst>
          </p:cNvPr>
          <p:cNvCxnSpPr/>
          <p:nvPr/>
        </p:nvCxnSpPr>
        <p:spPr>
          <a:xfrm>
            <a:off x="10417633" y="4580325"/>
            <a:ext cx="478971" cy="0"/>
          </a:xfrm>
          <a:prstGeom prst="line">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Freeform 55">
            <a:extLst>
              <a:ext uri="{FF2B5EF4-FFF2-40B4-BE49-F238E27FC236}">
                <a16:creationId xmlns:a16="http://schemas.microsoft.com/office/drawing/2014/main" id="{680FC31D-D16E-734A-A1BB-F1001399D2F5}"/>
              </a:ext>
            </a:extLst>
          </p:cNvPr>
          <p:cNvSpPr/>
          <p:nvPr/>
        </p:nvSpPr>
        <p:spPr bwMode="auto">
          <a:xfrm>
            <a:off x="7780387" y="2598737"/>
            <a:ext cx="819331" cy="773272"/>
          </a:xfrm>
          <a:custGeom>
            <a:avLst/>
            <a:gdLst>
              <a:gd name="connsiteX0" fmla="*/ 729343 w 729343"/>
              <a:gd name="connsiteY0" fmla="*/ 685800 h 685800"/>
              <a:gd name="connsiteX1" fmla="*/ 0 w 729343"/>
              <a:gd name="connsiteY1" fmla="*/ 685800 h 685800"/>
              <a:gd name="connsiteX2" fmla="*/ 0 w 729343"/>
              <a:gd name="connsiteY2" fmla="*/ 0 h 685800"/>
            </a:gdLst>
            <a:ahLst/>
            <a:cxnLst>
              <a:cxn ang="0">
                <a:pos x="connsiteX0" y="connsiteY0"/>
              </a:cxn>
              <a:cxn ang="0">
                <a:pos x="connsiteX1" y="connsiteY1"/>
              </a:cxn>
              <a:cxn ang="0">
                <a:pos x="connsiteX2" y="connsiteY2"/>
              </a:cxn>
            </a:cxnLst>
            <a:rect l="l" t="t" r="r" b="b"/>
            <a:pathLst>
              <a:path w="729343" h="685800">
                <a:moveTo>
                  <a:pt x="729343" y="685800"/>
                </a:moveTo>
                <a:lnTo>
                  <a:pt x="0" y="685800"/>
                </a:lnTo>
                <a:lnTo>
                  <a:pt x="0" y="0"/>
                </a:lnTo>
              </a:path>
            </a:pathLst>
          </a:custGeom>
          <a:noFill/>
          <a:ln w="127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128">
            <a:extLst>
              <a:ext uri="{FF2B5EF4-FFF2-40B4-BE49-F238E27FC236}">
                <a16:creationId xmlns:a16="http://schemas.microsoft.com/office/drawing/2014/main" id="{2395B90D-D5F0-8141-986E-6B5C39750B07}"/>
              </a:ext>
            </a:extLst>
          </p:cNvPr>
          <p:cNvSpPr/>
          <p:nvPr/>
        </p:nvSpPr>
        <p:spPr bwMode="auto">
          <a:xfrm>
            <a:off x="8989911" y="2833898"/>
            <a:ext cx="1132114" cy="223028"/>
          </a:xfrm>
          <a:custGeom>
            <a:avLst/>
            <a:gdLst>
              <a:gd name="connsiteX0" fmla="*/ 1132114 w 1132114"/>
              <a:gd name="connsiteY0" fmla="*/ 0 h 381000"/>
              <a:gd name="connsiteX1" fmla="*/ 1132114 w 1132114"/>
              <a:gd name="connsiteY1" fmla="*/ 163285 h 381000"/>
              <a:gd name="connsiteX2" fmla="*/ 0 w 1132114"/>
              <a:gd name="connsiteY2" fmla="*/ 163285 h 381000"/>
              <a:gd name="connsiteX3" fmla="*/ 0 w 1132114"/>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1132114" h="381000">
                <a:moveTo>
                  <a:pt x="1132114" y="0"/>
                </a:moveTo>
                <a:lnTo>
                  <a:pt x="1132114" y="163285"/>
                </a:lnTo>
                <a:lnTo>
                  <a:pt x="0" y="163285"/>
                </a:lnTo>
                <a:lnTo>
                  <a:pt x="0" y="381000"/>
                </a:lnTo>
              </a:path>
            </a:pathLst>
          </a:custGeom>
          <a:noFill/>
          <a:ln w="127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7" name="Freeform 66">
            <a:extLst>
              <a:ext uri="{FF2B5EF4-FFF2-40B4-BE49-F238E27FC236}">
                <a16:creationId xmlns:a16="http://schemas.microsoft.com/office/drawing/2014/main" id="{75EB1731-D7B1-0C44-830C-C094B0A01605}"/>
              </a:ext>
            </a:extLst>
          </p:cNvPr>
          <p:cNvSpPr/>
          <p:nvPr/>
        </p:nvSpPr>
        <p:spPr bwMode="auto">
          <a:xfrm flipH="1">
            <a:off x="8989911" y="4010635"/>
            <a:ext cx="1132114" cy="223028"/>
          </a:xfrm>
          <a:custGeom>
            <a:avLst/>
            <a:gdLst>
              <a:gd name="connsiteX0" fmla="*/ 1132114 w 1132114"/>
              <a:gd name="connsiteY0" fmla="*/ 0 h 381000"/>
              <a:gd name="connsiteX1" fmla="*/ 1132114 w 1132114"/>
              <a:gd name="connsiteY1" fmla="*/ 163285 h 381000"/>
              <a:gd name="connsiteX2" fmla="*/ 0 w 1132114"/>
              <a:gd name="connsiteY2" fmla="*/ 163285 h 381000"/>
              <a:gd name="connsiteX3" fmla="*/ 0 w 1132114"/>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1132114" h="381000">
                <a:moveTo>
                  <a:pt x="1132114" y="0"/>
                </a:moveTo>
                <a:lnTo>
                  <a:pt x="1132114" y="163285"/>
                </a:lnTo>
                <a:lnTo>
                  <a:pt x="0" y="163285"/>
                </a:lnTo>
                <a:lnTo>
                  <a:pt x="0" y="381000"/>
                </a:lnTo>
              </a:path>
            </a:pathLst>
          </a:custGeom>
          <a:noFill/>
          <a:ln w="127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32" name="Graphic 130">
            <a:extLst>
              <a:ext uri="{FF2B5EF4-FFF2-40B4-BE49-F238E27FC236}">
                <a16:creationId xmlns:a16="http://schemas.microsoft.com/office/drawing/2014/main" id="{E9C7CE4D-75C4-B742-87BC-CA107787F150}"/>
              </a:ext>
            </a:extLst>
          </p:cNvPr>
          <p:cNvGrpSpPr/>
          <p:nvPr/>
        </p:nvGrpSpPr>
        <p:grpSpPr>
          <a:xfrm>
            <a:off x="8701259" y="1953965"/>
            <a:ext cx="285915" cy="295446"/>
            <a:chOff x="7558367" y="1009526"/>
            <a:chExt cx="1905000" cy="1968500"/>
          </a:xfrm>
        </p:grpSpPr>
        <p:sp>
          <p:nvSpPr>
            <p:cNvPr id="133" name="Freeform 132">
              <a:extLst>
                <a:ext uri="{FF2B5EF4-FFF2-40B4-BE49-F238E27FC236}">
                  <a16:creationId xmlns:a16="http://schemas.microsoft.com/office/drawing/2014/main" id="{7D796A41-5036-0A40-B16E-1447A47D2DC2}"/>
                </a:ext>
              </a:extLst>
            </p:cNvPr>
            <p:cNvSpPr/>
            <p:nvPr/>
          </p:nvSpPr>
          <p:spPr>
            <a:xfrm>
              <a:off x="7558367" y="1009526"/>
              <a:ext cx="1905000" cy="1293314"/>
            </a:xfrm>
            <a:custGeom>
              <a:avLst/>
              <a:gdLst>
                <a:gd name="connsiteX0" fmla="*/ 1906048 w 1905000"/>
                <a:gd name="connsiteY0" fmla="*/ 494978 h 1293314"/>
                <a:gd name="connsiteX1" fmla="*/ 953072 w 1905000"/>
                <a:gd name="connsiteY1" fmla="*/ 0 h 1293314"/>
                <a:gd name="connsiteX2" fmla="*/ 0 w 1905000"/>
                <a:gd name="connsiteY2" fmla="*/ 494978 h 1293314"/>
                <a:gd name="connsiteX3" fmla="*/ 0 w 1905000"/>
                <a:gd name="connsiteY3" fmla="*/ 806990 h 1293314"/>
                <a:gd name="connsiteX4" fmla="*/ 953072 w 1905000"/>
                <a:gd name="connsiteY4" fmla="*/ 1302063 h 1293314"/>
                <a:gd name="connsiteX5" fmla="*/ 1906048 w 1905000"/>
                <a:gd name="connsiteY5" fmla="*/ 806990 h 1293314"/>
                <a:gd name="connsiteX6" fmla="*/ 1906048 w 1905000"/>
                <a:gd name="connsiteY6" fmla="*/ 494978 h 129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0" h="1293314">
                  <a:moveTo>
                    <a:pt x="1906048" y="494978"/>
                  </a:moveTo>
                  <a:lnTo>
                    <a:pt x="953072" y="0"/>
                  </a:lnTo>
                  <a:lnTo>
                    <a:pt x="0" y="494978"/>
                  </a:lnTo>
                  <a:lnTo>
                    <a:pt x="0" y="806990"/>
                  </a:lnTo>
                  <a:lnTo>
                    <a:pt x="953072" y="1302063"/>
                  </a:lnTo>
                  <a:lnTo>
                    <a:pt x="1906048" y="806990"/>
                  </a:lnTo>
                  <a:lnTo>
                    <a:pt x="1906048" y="494978"/>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4" name="Freeform 133">
              <a:extLst>
                <a:ext uri="{FF2B5EF4-FFF2-40B4-BE49-F238E27FC236}">
                  <a16:creationId xmlns:a16="http://schemas.microsoft.com/office/drawing/2014/main" id="{AAA396DB-3B9A-6145-9A93-921A02711E0B}"/>
                </a:ext>
              </a:extLst>
            </p:cNvPr>
            <p:cNvSpPr/>
            <p:nvPr/>
          </p:nvSpPr>
          <p:spPr>
            <a:xfrm>
              <a:off x="7558367" y="2018977"/>
              <a:ext cx="1905000" cy="960476"/>
            </a:xfrm>
            <a:custGeom>
              <a:avLst/>
              <a:gdLst>
                <a:gd name="connsiteX0" fmla="*/ 953072 w 1905000"/>
                <a:gd name="connsiteY0" fmla="*/ 339019 h 960475"/>
                <a:gd name="connsiteX1" fmla="*/ 300323 w 1905000"/>
                <a:gd name="connsiteY1" fmla="*/ 0 h 960475"/>
                <a:gd name="connsiteX2" fmla="*/ 0 w 1905000"/>
                <a:gd name="connsiteY2" fmla="*/ 155958 h 960475"/>
                <a:gd name="connsiteX3" fmla="*/ 0 w 1905000"/>
                <a:gd name="connsiteY3" fmla="*/ 467970 h 960475"/>
                <a:gd name="connsiteX4" fmla="*/ 953072 w 1905000"/>
                <a:gd name="connsiteY4" fmla="*/ 963043 h 960475"/>
                <a:gd name="connsiteX5" fmla="*/ 1906048 w 1905000"/>
                <a:gd name="connsiteY5" fmla="*/ 467970 h 960475"/>
                <a:gd name="connsiteX6" fmla="*/ 1906048 w 1905000"/>
                <a:gd name="connsiteY6" fmla="*/ 155958 h 960475"/>
                <a:gd name="connsiteX7" fmla="*/ 1605725 w 1905000"/>
                <a:gd name="connsiteY7" fmla="*/ 0 h 960475"/>
                <a:gd name="connsiteX8" fmla="*/ 953072 w 1905000"/>
                <a:gd name="connsiteY8" fmla="*/ 339019 h 96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0" h="960475">
                  <a:moveTo>
                    <a:pt x="953072" y="339019"/>
                  </a:moveTo>
                  <a:lnTo>
                    <a:pt x="300323" y="0"/>
                  </a:lnTo>
                  <a:lnTo>
                    <a:pt x="0" y="155958"/>
                  </a:lnTo>
                  <a:lnTo>
                    <a:pt x="0" y="467970"/>
                  </a:lnTo>
                  <a:lnTo>
                    <a:pt x="953072" y="963043"/>
                  </a:lnTo>
                  <a:lnTo>
                    <a:pt x="1906048" y="467970"/>
                  </a:lnTo>
                  <a:lnTo>
                    <a:pt x="1906048" y="155958"/>
                  </a:lnTo>
                  <a:lnTo>
                    <a:pt x="1605725" y="0"/>
                  </a:lnTo>
                  <a:lnTo>
                    <a:pt x="953072" y="339019"/>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pic>
        <p:nvPicPr>
          <p:cNvPr id="65" name="Picture 2" descr="https://seeklogo.com/images/T/toyota-logo-3A02221675-seeklogo.com.png">
            <a:extLst>
              <a:ext uri="{FF2B5EF4-FFF2-40B4-BE49-F238E27FC236}">
                <a16:creationId xmlns:a16="http://schemas.microsoft.com/office/drawing/2014/main" id="{3FBEE1B7-ECDE-4CEC-86AA-F014FCBBDA3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43941" y="5801865"/>
            <a:ext cx="737520" cy="612141"/>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0" descr="Image result for honeywell logo png">
            <a:extLst>
              <a:ext uri="{FF2B5EF4-FFF2-40B4-BE49-F238E27FC236}">
                <a16:creationId xmlns:a16="http://schemas.microsoft.com/office/drawing/2014/main" id="{AEC91EE1-F1A8-4117-A8DD-765C149AB141}"/>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350113" y="6046675"/>
            <a:ext cx="1371654" cy="24278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https://azurecomcdn.azureedge.net/cvt-4f63d0dc9876bb5804986b42c2edf6e24cecce5528e4ec21dd5a7c0c1c85fedb/images/shared/customers/johnson-controls_m.png">
            <a:extLst>
              <a:ext uri="{FF2B5EF4-FFF2-40B4-BE49-F238E27FC236}">
                <a16:creationId xmlns:a16="http://schemas.microsoft.com/office/drawing/2014/main" id="{8AD85D40-4AAE-41E4-B6AC-AF5CF20753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30725" y="5789568"/>
            <a:ext cx="1162264" cy="514213"/>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 descr="https://azurecomcdn.azureedge.net/cvt-725edb9c054ab6faada83f3baeeedea262a07f2463f45e04164657dd365068ff/images/shared/customers/lg-cns_m.png">
            <a:extLst>
              <a:ext uri="{FF2B5EF4-FFF2-40B4-BE49-F238E27FC236}">
                <a16:creationId xmlns:a16="http://schemas.microsoft.com/office/drawing/2014/main" id="{720EFB6E-57F7-42ED-A2A8-51F6D9FA41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90419" y="5982383"/>
            <a:ext cx="1371654" cy="371365"/>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a:extLst>
              <a:ext uri="{FF2B5EF4-FFF2-40B4-BE49-F238E27FC236}">
                <a16:creationId xmlns:a16="http://schemas.microsoft.com/office/drawing/2014/main" id="{EA5052A0-228E-44D1-8796-FBB5D3E3F380}"/>
              </a:ext>
            </a:extLst>
          </p:cNvPr>
          <p:cNvSpPr txBox="1"/>
          <p:nvPr/>
        </p:nvSpPr>
        <p:spPr>
          <a:xfrm>
            <a:off x="7139410" y="5871684"/>
            <a:ext cx="4773164" cy="683264"/>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CA" sz="1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See all Manufacturing and IoT use cases on </a:t>
            </a:r>
            <a:r>
              <a:rPr kumimoji="0" lang="en-CA" sz="1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hlinkClick r:id="rId7"/>
              </a:rPr>
              <a:t>aka.ms/</a:t>
            </a:r>
            <a:r>
              <a:rPr kumimoji="0" lang="en-CA" sz="14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hlinkClick r:id="rId7"/>
              </a:rPr>
              <a:t>AzureCosmosDBBOM</a:t>
            </a:r>
            <a:r>
              <a:rPr kumimoji="0" lang="en-CA" sz="1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nd IoT demo on </a:t>
            </a:r>
            <a:r>
              <a:rPr kumimoji="0" lang="en-CA" sz="1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hlinkClick r:id="rId8"/>
              </a:rPr>
              <a:t>GitHub</a:t>
            </a:r>
            <a:endParaRPr kumimoji="0" lang="en-US" sz="1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49228586"/>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2F93A47-E520-4975-A551-B1FF3C79A03C}"/>
              </a:ext>
            </a:extLst>
          </p:cNvPr>
          <p:cNvSpPr>
            <a:spLocks noGrp="1"/>
          </p:cNvSpPr>
          <p:nvPr>
            <p:ph type="title"/>
          </p:nvPr>
        </p:nvSpPr>
        <p:spPr>
          <a:xfrm>
            <a:off x="5210093" y="2775770"/>
            <a:ext cx="5725729" cy="572080"/>
          </a:xfrm>
        </p:spPr>
        <p:txBody>
          <a:bodyPr/>
          <a:lstStyle/>
          <a:p>
            <a:r>
              <a:rPr lang="en-IN" sz="3667" b="1" dirty="0">
                <a:latin typeface="Segoe UI" pitchFamily="34" charset="0"/>
              </a:rPr>
              <a:t>Saranya Sriram</a:t>
            </a:r>
            <a:endParaRPr lang="en-US" dirty="0"/>
          </a:p>
        </p:txBody>
      </p:sp>
      <p:sp>
        <p:nvSpPr>
          <p:cNvPr id="7" name="Text Placeholder 6">
            <a:extLst>
              <a:ext uri="{FF2B5EF4-FFF2-40B4-BE49-F238E27FC236}">
                <a16:creationId xmlns:a16="http://schemas.microsoft.com/office/drawing/2014/main" id="{985808BD-ED85-4361-809F-707298FFDF90}"/>
              </a:ext>
            </a:extLst>
          </p:cNvPr>
          <p:cNvSpPr>
            <a:spLocks noGrp="1"/>
          </p:cNvSpPr>
          <p:nvPr>
            <p:ph type="body" sz="quarter" idx="12"/>
          </p:nvPr>
        </p:nvSpPr>
        <p:spPr>
          <a:xfrm>
            <a:off x="5210093" y="3750391"/>
            <a:ext cx="4572000" cy="1051570"/>
          </a:xfrm>
          <a:prstGeom prst="rect">
            <a:avLst/>
          </a:prstGeom>
        </p:spPr>
        <p:txBody>
          <a:bodyPr/>
          <a:lstStyle/>
          <a:p>
            <a:r>
              <a:rPr lang="en-US" dirty="0">
                <a:latin typeface="Segoe UI" pitchFamily="34" charset="0"/>
              </a:rPr>
              <a:t>Principal PM Lead, Azure Cosmos DB, Microsoft</a:t>
            </a:r>
            <a:endParaRPr lang="en-IN" dirty="0">
              <a:latin typeface="Segoe UI" pitchFamily="34" charset="0"/>
            </a:endParaRPr>
          </a:p>
          <a:p>
            <a:endParaRPr lang="en-US" dirty="0"/>
          </a:p>
        </p:txBody>
      </p:sp>
      <p:pic>
        <p:nvPicPr>
          <p:cNvPr id="6" name="Picture Placeholder 5" descr="A person wearing a hat&#10;&#10;Description automatically generated with low confidence">
            <a:extLst>
              <a:ext uri="{FF2B5EF4-FFF2-40B4-BE49-F238E27FC236}">
                <a16:creationId xmlns:a16="http://schemas.microsoft.com/office/drawing/2014/main" id="{603A0782-B2AA-F530-D183-37476D2299CD}"/>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8327" b="18327"/>
          <a:stretch>
            <a:fillRect/>
          </a:stretch>
        </p:blipFill>
        <p:spPr>
          <a:xfrm>
            <a:off x="2409907" y="1986375"/>
            <a:ext cx="2601526" cy="260152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8173278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2614" y="339390"/>
            <a:ext cx="6012060" cy="899665"/>
          </a:xfrm>
        </p:spPr>
        <p:txBody>
          <a:bodyPr/>
          <a:lstStyle/>
          <a:p>
            <a:r>
              <a:rPr lang="en-US" dirty="0"/>
              <a:t>Real-time personalized recommendations</a:t>
            </a:r>
          </a:p>
        </p:txBody>
      </p:sp>
      <p:sp>
        <p:nvSpPr>
          <p:cNvPr id="3" name="Content Placeholder 2"/>
          <p:cNvSpPr>
            <a:spLocks noGrp="1"/>
          </p:cNvSpPr>
          <p:nvPr>
            <p:ph type="body" sz="quarter" idx="11"/>
          </p:nvPr>
        </p:nvSpPr>
        <p:spPr>
          <a:xfrm>
            <a:off x="261120" y="1773103"/>
            <a:ext cx="5246224" cy="3483005"/>
          </a:xfrm>
        </p:spPr>
        <p:txBody>
          <a:bodyPr/>
          <a:lstStyle/>
          <a:p>
            <a:pPr lvl="0"/>
            <a:r>
              <a:rPr lang="en-US" b="1" dirty="0">
                <a:solidFill>
                  <a:schemeClr val="tx2"/>
                </a:solidFill>
              </a:rPr>
              <a:t>Help customers discover items they’ll love with real-time personalization and product recommendations.</a:t>
            </a:r>
          </a:p>
          <a:p>
            <a:pPr marL="285750" lvl="1" indent="-285750">
              <a:spcBef>
                <a:spcPts val="1600"/>
              </a:spcBef>
              <a:spcAft>
                <a:spcPts val="0"/>
              </a:spcAft>
              <a:buFont typeface="Arial" charset="0"/>
              <a:buChar char="•"/>
            </a:pPr>
            <a:r>
              <a:rPr lang="en-US" sz="1600" dirty="0">
                <a:solidFill>
                  <a:schemeClr val="tx1"/>
                </a:solidFill>
              </a:rPr>
              <a:t>Machine learning models generate real-time recommendations across product catalogues</a:t>
            </a:r>
          </a:p>
          <a:p>
            <a:pPr marL="285750" lvl="1" indent="-285750">
              <a:spcBef>
                <a:spcPts val="1000"/>
              </a:spcBef>
              <a:spcAft>
                <a:spcPts val="0"/>
              </a:spcAft>
              <a:buFont typeface="Arial" charset="0"/>
              <a:buChar char="•"/>
            </a:pPr>
            <a:r>
              <a:rPr lang="en-US" sz="1600" dirty="0">
                <a:solidFill>
                  <a:schemeClr val="tx1"/>
                </a:solidFill>
              </a:rPr>
              <a:t>High volumes of product data can be analyzed in milliseconds</a:t>
            </a:r>
          </a:p>
          <a:p>
            <a:pPr marL="285750" lvl="1" indent="-285750">
              <a:spcBef>
                <a:spcPts val="1000"/>
              </a:spcBef>
              <a:spcAft>
                <a:spcPts val="0"/>
              </a:spcAft>
              <a:buFont typeface="Arial" charset="0"/>
              <a:buChar char="•"/>
            </a:pPr>
            <a:r>
              <a:rPr lang="en-US" sz="1600" dirty="0">
                <a:solidFill>
                  <a:schemeClr val="tx1"/>
                </a:solidFill>
              </a:rPr>
              <a:t>Low-latency ensures high app performance worldwide</a:t>
            </a:r>
          </a:p>
          <a:p>
            <a:pPr marL="285750" lvl="1" indent="-285750">
              <a:spcBef>
                <a:spcPts val="1000"/>
              </a:spcBef>
              <a:spcAft>
                <a:spcPts val="0"/>
              </a:spcAft>
              <a:buFont typeface="Arial" charset="0"/>
              <a:buChar char="•"/>
            </a:pPr>
            <a:r>
              <a:rPr lang="en-US" sz="1600" dirty="0">
                <a:solidFill>
                  <a:schemeClr val="tx1"/>
                </a:solidFill>
              </a:rPr>
              <a:t>Tunable data consistency models for rapid insight</a:t>
            </a:r>
          </a:p>
        </p:txBody>
      </p:sp>
      <p:grpSp>
        <p:nvGrpSpPr>
          <p:cNvPr id="4" name="Group 3"/>
          <p:cNvGrpSpPr/>
          <p:nvPr/>
        </p:nvGrpSpPr>
        <p:grpSpPr>
          <a:xfrm>
            <a:off x="5867163" y="603003"/>
            <a:ext cx="6072224" cy="4675475"/>
            <a:chOff x="5502524" y="603003"/>
            <a:chExt cx="6675353" cy="4675475"/>
          </a:xfrm>
        </p:grpSpPr>
        <p:sp>
          <p:nvSpPr>
            <p:cNvPr id="11" name="Rectangle 10">
              <a:extLst>
                <a:ext uri="{FF2B5EF4-FFF2-40B4-BE49-F238E27FC236}">
                  <a16:creationId xmlns:a16="http://schemas.microsoft.com/office/drawing/2014/main" id="{5A3777E1-0452-4889-9093-432098573143}"/>
                </a:ext>
              </a:extLst>
            </p:cNvPr>
            <p:cNvSpPr/>
            <p:nvPr/>
          </p:nvSpPr>
          <p:spPr>
            <a:xfrm>
              <a:off x="7753057" y="2779694"/>
              <a:ext cx="3144420" cy="2498784"/>
            </a:xfrm>
            <a:prstGeom prst="rect">
              <a:avLst/>
            </a:prstGeom>
            <a:solidFill>
              <a:srgbClr val="F3F3F3"/>
            </a:solidFill>
            <a:ln>
              <a:noFill/>
              <a:prstDash val="sysDot"/>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2" name="Rectangle 11">
              <a:extLst>
                <a:ext uri="{FF2B5EF4-FFF2-40B4-BE49-F238E27FC236}">
                  <a16:creationId xmlns:a16="http://schemas.microsoft.com/office/drawing/2014/main" id="{72D1AEC0-D7C7-4696-A8F5-43A308AD36D6}"/>
                </a:ext>
              </a:extLst>
            </p:cNvPr>
            <p:cNvSpPr/>
            <p:nvPr/>
          </p:nvSpPr>
          <p:spPr>
            <a:xfrm>
              <a:off x="7753057" y="603003"/>
              <a:ext cx="3144420" cy="1637687"/>
            </a:xfrm>
            <a:prstGeom prst="rect">
              <a:avLst/>
            </a:prstGeom>
            <a:solidFill>
              <a:srgbClr val="F3F3F3"/>
            </a:solidFill>
            <a:ln>
              <a:noFill/>
              <a:prstDash val="sysDot"/>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13" name="Straight Arrow Connector 12"/>
            <p:cNvCxnSpPr>
              <a:cxnSpLocks/>
            </p:cNvCxnSpPr>
            <p:nvPr/>
          </p:nvCxnSpPr>
          <p:spPr>
            <a:xfrm>
              <a:off x="6227247" y="2269389"/>
              <a:ext cx="401775"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6" name="TextBox 15"/>
            <p:cNvSpPr txBox="1"/>
            <p:nvPr/>
          </p:nvSpPr>
          <p:spPr>
            <a:xfrm>
              <a:off x="9471708" y="1678914"/>
              <a:ext cx="1168200" cy="530915"/>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distributed model store)</a:t>
              </a:r>
            </a:p>
          </p:txBody>
        </p:sp>
        <p:sp>
          <p:nvSpPr>
            <p:cNvPr id="17" name="TextBox 16"/>
            <p:cNvSpPr txBox="1"/>
            <p:nvPr/>
          </p:nvSpPr>
          <p:spPr>
            <a:xfrm>
              <a:off x="6401217" y="2474065"/>
              <a:ext cx="1368002" cy="3847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o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Product Details Page)</a:t>
              </a:r>
            </a:p>
          </p:txBody>
        </p:sp>
        <p:sp>
          <p:nvSpPr>
            <p:cNvPr id="20" name="TextBox 19"/>
            <p:cNvSpPr txBox="1"/>
            <p:nvPr/>
          </p:nvSpPr>
          <p:spPr>
            <a:xfrm>
              <a:off x="7824700" y="3354416"/>
              <a:ext cx="1263944" cy="23852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Event Hub</a:t>
              </a:r>
            </a:p>
          </p:txBody>
        </p:sp>
        <p:sp>
          <p:nvSpPr>
            <p:cNvPr id="21" name="TextBox 20"/>
            <p:cNvSpPr txBox="1"/>
            <p:nvPr/>
          </p:nvSpPr>
          <p:spPr>
            <a:xfrm>
              <a:off x="9284309" y="3354416"/>
              <a:ext cx="1542998" cy="384721"/>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Data Lake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offline raw data)</a:t>
              </a:r>
            </a:p>
          </p:txBody>
        </p:sp>
        <p:cxnSp>
          <p:nvCxnSpPr>
            <p:cNvPr id="23" name="Straight Arrow Connector 41"/>
            <p:cNvCxnSpPr>
              <a:cxnSpLocks/>
              <a:stCxn id="17" idx="2"/>
            </p:cNvCxnSpPr>
            <p:nvPr/>
          </p:nvCxnSpPr>
          <p:spPr>
            <a:xfrm rot="16200000" flipH="1">
              <a:off x="7433561" y="2510443"/>
              <a:ext cx="290970" cy="987656"/>
            </a:xfrm>
            <a:prstGeom prst="bentConnector2">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6" name="TextBox 25">
              <a:extLst>
                <a:ext uri="{FF2B5EF4-FFF2-40B4-BE49-F238E27FC236}">
                  <a16:creationId xmlns:a16="http://schemas.microsoft.com/office/drawing/2014/main" id="{9C1B3F7D-B30B-4F47-9C8E-E1CC6809D4C9}"/>
                </a:ext>
              </a:extLst>
            </p:cNvPr>
            <p:cNvSpPr txBox="1"/>
            <p:nvPr/>
          </p:nvSpPr>
          <p:spPr>
            <a:xfrm>
              <a:off x="8765207" y="4485291"/>
              <a:ext cx="2088818" cy="23852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pache Spark on Azure HDInsight</a:t>
              </a:r>
            </a:p>
          </p:txBody>
        </p:sp>
        <p:pic>
          <p:nvPicPr>
            <p:cNvPr id="28" name="Picture 2">
              <a:extLst>
                <a:ext uri="{FF2B5EF4-FFF2-40B4-BE49-F238E27FC236}">
                  <a16:creationId xmlns:a16="http://schemas.microsoft.com/office/drawing/2014/main" id="{B7F6519C-2086-4F3E-A3EE-7195D4AC6149}"/>
                </a:ext>
              </a:extLst>
            </p:cNvPr>
            <p:cNvPicPr>
              <a:picLocks noChangeAspect="1" noChangeArrowheads="1"/>
            </p:cNvPicPr>
            <p:nvPr/>
          </p:nvPicPr>
          <p:blipFill>
            <a:blip r:embed="rId3"/>
            <a:stretch>
              <a:fillRect/>
            </a:stretch>
          </p:blipFill>
          <p:spPr bwMode="auto">
            <a:xfrm>
              <a:off x="9316587" y="4166695"/>
              <a:ext cx="535872" cy="280288"/>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C9CD829A-7CF2-4DE4-AF34-CFE136686BA3}"/>
                </a:ext>
              </a:extLst>
            </p:cNvPr>
            <p:cNvSpPr txBox="1"/>
            <p:nvPr/>
          </p:nvSpPr>
          <p:spPr>
            <a:xfrm>
              <a:off x="10909072" y="2230582"/>
              <a:ext cx="1268805" cy="677108"/>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Data Facto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scheduled job to refresh persisted models)</a:t>
              </a:r>
            </a:p>
          </p:txBody>
        </p:sp>
        <p:cxnSp>
          <p:nvCxnSpPr>
            <p:cNvPr id="34" name="Straight Arrow Connector 41">
              <a:extLst>
                <a:ext uri="{FF2B5EF4-FFF2-40B4-BE49-F238E27FC236}">
                  <a16:creationId xmlns:a16="http://schemas.microsoft.com/office/drawing/2014/main" id="{31B900EF-DD0B-4013-9C25-7FF7FEAEF621}"/>
                </a:ext>
              </a:extLst>
            </p:cNvPr>
            <p:cNvCxnSpPr>
              <a:cxnSpLocks/>
            </p:cNvCxnSpPr>
            <p:nvPr/>
          </p:nvCxnSpPr>
          <p:spPr>
            <a:xfrm flipV="1">
              <a:off x="7103942" y="1489293"/>
              <a:ext cx="833949" cy="379947"/>
            </a:xfrm>
            <a:prstGeom prst="bentConnector3">
              <a:avLst>
                <a:gd name="adj1" fmla="val 398"/>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7" name="TextBox 36">
              <a:extLst>
                <a:ext uri="{FF2B5EF4-FFF2-40B4-BE49-F238E27FC236}">
                  <a16:creationId xmlns:a16="http://schemas.microsoft.com/office/drawing/2014/main" id="{B353F165-77DB-4164-BA81-EA5AEC0FBD10}"/>
                </a:ext>
              </a:extLst>
            </p:cNvPr>
            <p:cNvSpPr txBox="1"/>
            <p:nvPr/>
          </p:nvSpPr>
          <p:spPr>
            <a:xfrm>
              <a:off x="7706713" y="1675099"/>
              <a:ext cx="1499918" cy="530915"/>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Service Fabr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Personalization Decision Engine)</a:t>
              </a:r>
            </a:p>
          </p:txBody>
        </p:sp>
        <p:cxnSp>
          <p:nvCxnSpPr>
            <p:cNvPr id="19" name="Straight Arrow Connector 18"/>
            <p:cNvCxnSpPr>
              <a:cxnSpLocks/>
            </p:cNvCxnSpPr>
            <p:nvPr/>
          </p:nvCxnSpPr>
          <p:spPr>
            <a:xfrm>
              <a:off x="8953251" y="3191375"/>
              <a:ext cx="658435"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Arrow Connector 37">
              <a:extLst>
                <a:ext uri="{FF2B5EF4-FFF2-40B4-BE49-F238E27FC236}">
                  <a16:creationId xmlns:a16="http://schemas.microsoft.com/office/drawing/2014/main" id="{CF5BFEE9-EFE4-4392-8A59-CA0D37AECE24}"/>
                </a:ext>
              </a:extLst>
            </p:cNvPr>
            <p:cNvCxnSpPr>
              <a:cxnSpLocks/>
            </p:cNvCxnSpPr>
            <p:nvPr/>
          </p:nvCxnSpPr>
          <p:spPr>
            <a:xfrm>
              <a:off x="8953250" y="1397314"/>
              <a:ext cx="483602" cy="0"/>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9" name="TextBox 38">
              <a:extLst>
                <a:ext uri="{FF2B5EF4-FFF2-40B4-BE49-F238E27FC236}">
                  <a16:creationId xmlns:a16="http://schemas.microsoft.com/office/drawing/2014/main" id="{4DF7BCE1-1DF4-457B-A3FC-43AD70D230C5}"/>
                </a:ext>
              </a:extLst>
            </p:cNvPr>
            <p:cNvSpPr txBox="1"/>
            <p:nvPr/>
          </p:nvSpPr>
          <p:spPr>
            <a:xfrm>
              <a:off x="8123428" y="639754"/>
              <a:ext cx="2397066"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mn-cs"/>
                </a:rPr>
                <a:t>Online Recommendations Serv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0000"/>
                  </a:solidFill>
                  <a:effectLst/>
                  <a:uLnTx/>
                  <a:uFillTx/>
                  <a:latin typeface="Segoe UI" panose="020B0502040204020203" pitchFamily="34" charset="0"/>
                  <a:ea typeface="+mn-ea"/>
                  <a:cs typeface="Segoe UI" panose="020B0502040204020203" pitchFamily="34" charset="0"/>
                </a:rPr>
                <a:t>HOT</a:t>
              </a:r>
              <a:r>
                <a:rPr kumimoji="0" lang="en-US" sz="1200" b="0" i="0" u="none" strike="noStrike" kern="1200" cap="none" spc="0" normalizeH="0" baseline="0" noProof="0">
                  <a:ln>
                    <a:noFill/>
                  </a:ln>
                  <a:solidFill>
                    <a:srgbClr val="FF0000"/>
                  </a:solidFill>
                  <a:effectLst/>
                  <a:uLnTx/>
                  <a:uFillTx/>
                  <a:latin typeface="Segoe UI Semilight"/>
                  <a:ea typeface="+mn-ea"/>
                  <a:cs typeface="+mn-cs"/>
                </a:rPr>
                <a:t> path</a:t>
              </a:r>
              <a:endParaRPr kumimoji="0" lang="en-US" sz="12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 name="TextBox 39">
              <a:extLst>
                <a:ext uri="{FF2B5EF4-FFF2-40B4-BE49-F238E27FC236}">
                  <a16:creationId xmlns:a16="http://schemas.microsoft.com/office/drawing/2014/main" id="{20A303A2-175C-47CD-9A15-3E1A6DAB0066}"/>
                </a:ext>
              </a:extLst>
            </p:cNvPr>
            <p:cNvSpPr txBox="1"/>
            <p:nvPr/>
          </p:nvSpPr>
          <p:spPr>
            <a:xfrm>
              <a:off x="8132117" y="4816813"/>
              <a:ext cx="2379689"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mn-cs"/>
                </a:rPr>
                <a:t>Offline Recommendations Engine</a:t>
              </a:r>
              <a:br>
                <a:rPr kumimoji="0" lang="en-US" sz="1200" b="0" i="0" u="none" strike="noStrike" kern="1200" cap="none" spc="0" normalizeH="0" baseline="0" noProof="0">
                  <a:ln>
                    <a:noFill/>
                  </a:ln>
                  <a:solidFill>
                    <a:srgbClr val="505050"/>
                  </a:solidFill>
                  <a:effectLst/>
                  <a:uLnTx/>
                  <a:uFillTx/>
                  <a:latin typeface="Segoe UI Semilight"/>
                  <a:ea typeface="+mn-ea"/>
                  <a:cs typeface="+mn-cs"/>
                </a:rPr>
              </a:br>
              <a:r>
                <a:rPr kumimoji="0" lang="en-US" sz="1200" b="0" i="0" u="none" strike="noStrike" kern="1200" cap="none" spc="0" normalizeH="0" baseline="0" noProof="0">
                  <a:ln>
                    <a:noFill/>
                  </a:ln>
                  <a:solidFill>
                    <a:srgbClr val="00BCF2"/>
                  </a:solidFill>
                  <a:effectLst/>
                  <a:uLnTx/>
                  <a:uFillTx/>
                  <a:latin typeface="Segoe UI" panose="020B0502040204020203" pitchFamily="34" charset="0"/>
                  <a:ea typeface="+mn-ea"/>
                  <a:cs typeface="Segoe UI" panose="020B0502040204020203" pitchFamily="34" charset="0"/>
                </a:rPr>
                <a:t>COLD</a:t>
              </a:r>
              <a:r>
                <a:rPr kumimoji="0" lang="en-US" sz="1200" b="0" i="0" u="none" strike="noStrike" kern="1200" cap="none" spc="0" normalizeH="0" baseline="0" noProof="0">
                  <a:ln>
                    <a:noFill/>
                  </a:ln>
                  <a:solidFill>
                    <a:srgbClr val="00BCF2"/>
                  </a:solidFill>
                  <a:effectLst/>
                  <a:uLnTx/>
                  <a:uFillTx/>
                  <a:latin typeface="Segoe UI Semilight"/>
                  <a:ea typeface="+mn-ea"/>
                  <a:cs typeface="+mn-cs"/>
                </a:rPr>
                <a:t> path</a:t>
              </a:r>
              <a:endParaRPr kumimoji="0" lang="en-US" sz="12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people_7" title="Icon of two people">
              <a:extLst>
                <a:ext uri="{FF2B5EF4-FFF2-40B4-BE49-F238E27FC236}">
                  <a16:creationId xmlns:a16="http://schemas.microsoft.com/office/drawing/2014/main" id="{FC048550-8957-44D0-8A7F-264B136CFFCB}"/>
                </a:ext>
              </a:extLst>
            </p:cNvPr>
            <p:cNvSpPr>
              <a:spLocks noChangeAspect="1" noEditPoints="1"/>
            </p:cNvSpPr>
            <p:nvPr/>
          </p:nvSpPr>
          <p:spPr bwMode="auto">
            <a:xfrm>
              <a:off x="5691753" y="2062582"/>
              <a:ext cx="378871" cy="413614"/>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TextBox 41">
              <a:extLst>
                <a:ext uri="{FF2B5EF4-FFF2-40B4-BE49-F238E27FC236}">
                  <a16:creationId xmlns:a16="http://schemas.microsoft.com/office/drawing/2014/main" id="{3383B5DD-68DB-46AC-9E8B-6E20E7637283}"/>
                </a:ext>
              </a:extLst>
            </p:cNvPr>
            <p:cNvSpPr txBox="1"/>
            <p:nvPr/>
          </p:nvSpPr>
          <p:spPr>
            <a:xfrm>
              <a:off x="5502524" y="2493243"/>
              <a:ext cx="762150" cy="23852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Shoppers</a:t>
              </a:r>
            </a:p>
          </p:txBody>
        </p:sp>
        <p:cxnSp>
          <p:nvCxnSpPr>
            <p:cNvPr id="44" name="Straight Arrow Connector 41">
              <a:extLst>
                <a:ext uri="{FF2B5EF4-FFF2-40B4-BE49-F238E27FC236}">
                  <a16:creationId xmlns:a16="http://schemas.microsoft.com/office/drawing/2014/main" id="{39177085-A1D0-4FF5-A74B-1A8A83BF3071}"/>
                </a:ext>
              </a:extLst>
            </p:cNvPr>
            <p:cNvCxnSpPr>
              <a:cxnSpLocks/>
              <a:stCxn id="31" idx="2"/>
            </p:cNvCxnSpPr>
            <p:nvPr/>
          </p:nvCxnSpPr>
          <p:spPr>
            <a:xfrm rot="5400000">
              <a:off x="10947337" y="2585540"/>
              <a:ext cx="273989" cy="918289"/>
            </a:xfrm>
            <a:prstGeom prst="bentConnector2">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Arrow Connector 41">
              <a:extLst>
                <a:ext uri="{FF2B5EF4-FFF2-40B4-BE49-F238E27FC236}">
                  <a16:creationId xmlns:a16="http://schemas.microsoft.com/office/drawing/2014/main" id="{4D44A62F-0BC0-4363-8021-D0AD606E3999}"/>
                </a:ext>
              </a:extLst>
            </p:cNvPr>
            <p:cNvCxnSpPr>
              <a:cxnSpLocks/>
            </p:cNvCxnSpPr>
            <p:nvPr/>
          </p:nvCxnSpPr>
          <p:spPr>
            <a:xfrm rot="10800000">
              <a:off x="10594009" y="1489293"/>
              <a:ext cx="939603" cy="86587"/>
            </a:xfrm>
            <a:prstGeom prst="bentConnector3">
              <a:avLst>
                <a:gd name="adj1" fmla="val -512"/>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Arrow Connector 45">
              <a:extLst>
                <a:ext uri="{FF2B5EF4-FFF2-40B4-BE49-F238E27FC236}">
                  <a16:creationId xmlns:a16="http://schemas.microsoft.com/office/drawing/2014/main" id="{561E7B6C-B5E3-49FF-841B-23966157E42B}"/>
                </a:ext>
              </a:extLst>
            </p:cNvPr>
            <p:cNvCxnSpPr>
              <a:cxnSpLocks/>
            </p:cNvCxnSpPr>
            <p:nvPr/>
          </p:nvCxnSpPr>
          <p:spPr>
            <a:xfrm>
              <a:off x="10061527" y="3752045"/>
              <a:ext cx="0" cy="295911"/>
            </a:xfrm>
            <a:prstGeom prst="straightConnector1">
              <a:avLst/>
            </a:prstGeom>
            <a:noFill/>
            <a:ln w="19050" cap="sq">
              <a:solidFill>
                <a:schemeClr val="bg1">
                  <a:lumMod val="50000"/>
                </a:schemeClr>
              </a:solidFill>
              <a:prstDash val="solid"/>
              <a:round/>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47" name="Group 46">
              <a:extLst>
                <a:ext uri="{FF2B5EF4-FFF2-40B4-BE49-F238E27FC236}">
                  <a16:creationId xmlns:a16="http://schemas.microsoft.com/office/drawing/2014/main" id="{9BF6D57B-AD6A-40FF-8CAD-1EE7B87BF48D}"/>
                </a:ext>
              </a:extLst>
            </p:cNvPr>
            <p:cNvGrpSpPr/>
            <p:nvPr/>
          </p:nvGrpSpPr>
          <p:grpSpPr>
            <a:xfrm>
              <a:off x="6842529" y="2013012"/>
              <a:ext cx="485379" cy="412901"/>
              <a:chOff x="5872464" y="2045113"/>
              <a:chExt cx="485379" cy="412901"/>
            </a:xfrm>
          </p:grpSpPr>
          <p:grpSp>
            <p:nvGrpSpPr>
              <p:cNvPr id="48" name="Group 47">
                <a:extLst>
                  <a:ext uri="{FF2B5EF4-FFF2-40B4-BE49-F238E27FC236}">
                    <a16:creationId xmlns:a16="http://schemas.microsoft.com/office/drawing/2014/main" id="{923E86AB-2533-4ADC-BCAD-0D0516C1E820}"/>
                  </a:ext>
                </a:extLst>
              </p:cNvPr>
              <p:cNvGrpSpPr/>
              <p:nvPr/>
            </p:nvGrpSpPr>
            <p:grpSpPr>
              <a:xfrm>
                <a:off x="5872464" y="2045113"/>
                <a:ext cx="485379" cy="412901"/>
                <a:chOff x="2107244" y="1575258"/>
                <a:chExt cx="310993" cy="264555"/>
              </a:xfrm>
            </p:grpSpPr>
            <p:sp>
              <p:nvSpPr>
                <p:cNvPr id="53" name="Rectangle 9">
                  <a:extLst>
                    <a:ext uri="{FF2B5EF4-FFF2-40B4-BE49-F238E27FC236}">
                      <a16:creationId xmlns:a16="http://schemas.microsoft.com/office/drawing/2014/main" id="{9BB61043-636E-45BC-B360-D4EF52EF03DD}"/>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54" name="Line 10">
                  <a:extLst>
                    <a:ext uri="{FF2B5EF4-FFF2-40B4-BE49-F238E27FC236}">
                      <a16:creationId xmlns:a16="http://schemas.microsoft.com/office/drawing/2014/main" id="{EF668CE7-77F2-46AE-A01A-AB639D52608D}"/>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49" name="Group 48">
                <a:extLst>
                  <a:ext uri="{FF2B5EF4-FFF2-40B4-BE49-F238E27FC236}">
                    <a16:creationId xmlns:a16="http://schemas.microsoft.com/office/drawing/2014/main" id="{1A974EE8-A9DC-4A66-B79B-100457A16674}"/>
                  </a:ext>
                </a:extLst>
              </p:cNvPr>
              <p:cNvGrpSpPr/>
              <p:nvPr/>
            </p:nvGrpSpPr>
            <p:grpSpPr>
              <a:xfrm>
                <a:off x="6153589" y="2082451"/>
                <a:ext cx="149347" cy="37338"/>
                <a:chOff x="2287367" y="1599181"/>
                <a:chExt cx="95690" cy="23923"/>
              </a:xfrm>
              <a:solidFill>
                <a:schemeClr val="tx2"/>
              </a:solidFill>
            </p:grpSpPr>
            <p:sp>
              <p:nvSpPr>
                <p:cNvPr id="50" name="Oval 11">
                  <a:extLst>
                    <a:ext uri="{FF2B5EF4-FFF2-40B4-BE49-F238E27FC236}">
                      <a16:creationId xmlns:a16="http://schemas.microsoft.com/office/drawing/2014/main" id="{0B6C23DD-C26C-4A12-A7BB-6B0DF3D7F312}"/>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51" name="Oval 12">
                  <a:extLst>
                    <a:ext uri="{FF2B5EF4-FFF2-40B4-BE49-F238E27FC236}">
                      <a16:creationId xmlns:a16="http://schemas.microsoft.com/office/drawing/2014/main" id="{114CBFAE-5071-4DD3-8196-64125BE59FA2}"/>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52" name="Oval 13">
                  <a:extLst>
                    <a:ext uri="{FF2B5EF4-FFF2-40B4-BE49-F238E27FC236}">
                      <a16:creationId xmlns:a16="http://schemas.microsoft.com/office/drawing/2014/main" id="{A12B77BF-A40B-4C56-A967-E1D27618EF60}"/>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grpSp>
          <p:nvGrpSpPr>
            <p:cNvPr id="55" name="Group 54">
              <a:extLst>
                <a:ext uri="{FF2B5EF4-FFF2-40B4-BE49-F238E27FC236}">
                  <a16:creationId xmlns:a16="http://schemas.microsoft.com/office/drawing/2014/main" id="{BC282EAA-BB12-48C7-8104-0E5537A85B5B}"/>
                </a:ext>
              </a:extLst>
            </p:cNvPr>
            <p:cNvGrpSpPr/>
            <p:nvPr/>
          </p:nvGrpSpPr>
          <p:grpSpPr>
            <a:xfrm>
              <a:off x="8256296" y="2920776"/>
              <a:ext cx="380836" cy="393642"/>
              <a:chOff x="6175919" y="4051028"/>
              <a:chExt cx="248788" cy="257154"/>
            </a:xfrm>
          </p:grpSpPr>
          <p:sp>
            <p:nvSpPr>
              <p:cNvPr id="56" name="Freeform: Shape 526">
                <a:extLst>
                  <a:ext uri="{FF2B5EF4-FFF2-40B4-BE49-F238E27FC236}">
                    <a16:creationId xmlns:a16="http://schemas.microsoft.com/office/drawing/2014/main" id="{A385CCA8-CC54-4A57-B609-959889995403}"/>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7" name="Freeform: Shape 527">
                <a:extLst>
                  <a:ext uri="{FF2B5EF4-FFF2-40B4-BE49-F238E27FC236}">
                    <a16:creationId xmlns:a16="http://schemas.microsoft.com/office/drawing/2014/main" id="{799722D8-262F-40DF-82E5-7B718FD3E8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8" name="Freeform: Shape 529">
                <a:extLst>
                  <a:ext uri="{FF2B5EF4-FFF2-40B4-BE49-F238E27FC236}">
                    <a16:creationId xmlns:a16="http://schemas.microsoft.com/office/drawing/2014/main" id="{0FD1AA87-3596-4E45-AA71-24D9527C72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Freeform: Shape 530">
                <a:extLst>
                  <a:ext uri="{FF2B5EF4-FFF2-40B4-BE49-F238E27FC236}">
                    <a16:creationId xmlns:a16="http://schemas.microsoft.com/office/drawing/2014/main" id="{10FB45BF-D783-47F0-9A37-6371B390C3BD}"/>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Freeform: Shape 531">
                <a:extLst>
                  <a:ext uri="{FF2B5EF4-FFF2-40B4-BE49-F238E27FC236}">
                    <a16:creationId xmlns:a16="http://schemas.microsoft.com/office/drawing/2014/main" id="{9F3744A6-38A6-4D19-928F-47D0FE51721D}"/>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Freeform: Shape 532">
                <a:extLst>
                  <a:ext uri="{FF2B5EF4-FFF2-40B4-BE49-F238E27FC236}">
                    <a16:creationId xmlns:a16="http://schemas.microsoft.com/office/drawing/2014/main" id="{4A0D1DC4-0254-4EFA-ABC3-DDC12E491DC8}"/>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Freeform: Shape 524">
                <a:extLst>
                  <a:ext uri="{FF2B5EF4-FFF2-40B4-BE49-F238E27FC236}">
                    <a16:creationId xmlns:a16="http://schemas.microsoft.com/office/drawing/2014/main" id="{B515FACC-220B-4763-9602-2CE99BFFEF7D}"/>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Freeform: Shape 533">
                <a:extLst>
                  <a:ext uri="{FF2B5EF4-FFF2-40B4-BE49-F238E27FC236}">
                    <a16:creationId xmlns:a16="http://schemas.microsoft.com/office/drawing/2014/main" id="{0208A469-EB04-4B6F-B7A2-86BD5F268AA3}"/>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761B6408-934E-4046-BA80-A720F996AAE9}"/>
                </a:ext>
              </a:extLst>
            </p:cNvPr>
            <p:cNvGrpSpPr/>
            <p:nvPr/>
          </p:nvGrpSpPr>
          <p:grpSpPr>
            <a:xfrm>
              <a:off x="9910201" y="2924622"/>
              <a:ext cx="291216" cy="382586"/>
              <a:chOff x="2494421" y="4564004"/>
              <a:chExt cx="338257" cy="444388"/>
            </a:xfrm>
            <a:noFill/>
          </p:grpSpPr>
          <p:sp>
            <p:nvSpPr>
              <p:cNvPr id="65" name="Cylinder 513">
                <a:extLst>
                  <a:ext uri="{FF2B5EF4-FFF2-40B4-BE49-F238E27FC236}">
                    <a16:creationId xmlns:a16="http://schemas.microsoft.com/office/drawing/2014/main" id="{6E1E00C8-1CAD-4C85-BF41-255E7F84B840}"/>
                  </a:ext>
                </a:extLst>
              </p:cNvPr>
              <p:cNvSpPr/>
              <p:nvPr/>
            </p:nvSpPr>
            <p:spPr bwMode="auto">
              <a:xfrm>
                <a:off x="2494421" y="4564004"/>
                <a:ext cx="338257" cy="444388"/>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B9D8D046-595C-428D-9170-54AC8FC7D16B}"/>
                  </a:ext>
                </a:extLst>
              </p:cNvPr>
              <p:cNvSpPr/>
              <p:nvPr/>
            </p:nvSpPr>
            <p:spPr>
              <a:xfrm>
                <a:off x="2494421" y="4795838"/>
                <a:ext cx="338257" cy="34350"/>
              </a:xfrm>
              <a:custGeom>
                <a:avLst/>
                <a:gdLst>
                  <a:gd name="connsiteX0" fmla="*/ 323075 w 477631"/>
                  <a:gd name="connsiteY0" fmla="*/ 0 h 267141"/>
                  <a:gd name="connsiteX1" fmla="*/ 327273 w 477631"/>
                  <a:gd name="connsiteY1" fmla="*/ 9350 h 267141"/>
                  <a:gd name="connsiteX2" fmla="*/ 409442 w 477631"/>
                  <a:gd name="connsiteY2" fmla="*/ 47015 h 267141"/>
                  <a:gd name="connsiteX3" fmla="*/ 472501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1 w 477631"/>
                  <a:gd name="connsiteY17" fmla="*/ 28952 h 267141"/>
                  <a:gd name="connsiteX18" fmla="*/ 68189 w 477631"/>
                  <a:gd name="connsiteY18" fmla="*/ 47015 h 267141"/>
                  <a:gd name="connsiteX19" fmla="*/ 150359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 name="connsiteX0" fmla="*/ 323075 w 477631"/>
                  <a:gd name="connsiteY0" fmla="*/ 0 h 267141"/>
                  <a:gd name="connsiteX1" fmla="*/ 327273 w 477631"/>
                  <a:gd name="connsiteY1" fmla="*/ 9350 h 267141"/>
                  <a:gd name="connsiteX2" fmla="*/ 409442 w 477631"/>
                  <a:gd name="connsiteY2" fmla="*/ 47015 h 267141"/>
                  <a:gd name="connsiteX3" fmla="*/ 472501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238816 w 477631"/>
                  <a:gd name="connsiteY10" fmla="*/ 267141 h 267141"/>
                  <a:gd name="connsiteX11" fmla="*/ 1233 w 477631"/>
                  <a:gd name="connsiteY11" fmla="*/ 179686 h 267141"/>
                  <a:gd name="connsiteX12" fmla="*/ 365 w 477631"/>
                  <a:gd name="connsiteY12" fmla="*/ 172672 h 267141"/>
                  <a:gd name="connsiteX13" fmla="*/ 0 w 477631"/>
                  <a:gd name="connsiteY13" fmla="*/ 172672 h 267141"/>
                  <a:gd name="connsiteX14" fmla="*/ 0 w 477631"/>
                  <a:gd name="connsiteY14" fmla="*/ 169725 h 267141"/>
                  <a:gd name="connsiteX15" fmla="*/ 0 w 477631"/>
                  <a:gd name="connsiteY15" fmla="*/ 24653 h 267141"/>
                  <a:gd name="connsiteX16" fmla="*/ 5131 w 477631"/>
                  <a:gd name="connsiteY16" fmla="*/ 28952 h 267141"/>
                  <a:gd name="connsiteX17" fmla="*/ 68189 w 477631"/>
                  <a:gd name="connsiteY17" fmla="*/ 47015 h 267141"/>
                  <a:gd name="connsiteX18" fmla="*/ 150359 w 477631"/>
                  <a:gd name="connsiteY18" fmla="*/ 9350 h 267141"/>
                  <a:gd name="connsiteX19" fmla="*/ 152449 w 477631"/>
                  <a:gd name="connsiteY19" fmla="*/ 4694 h 267141"/>
                  <a:gd name="connsiteX20" fmla="*/ 154539 w 477631"/>
                  <a:gd name="connsiteY20" fmla="*/ 9350 h 267141"/>
                  <a:gd name="connsiteX21" fmla="*/ 236708 w 477631"/>
                  <a:gd name="connsiteY21" fmla="*/ 47015 h 267141"/>
                  <a:gd name="connsiteX22" fmla="*/ 318878 w 477631"/>
                  <a:gd name="connsiteY22" fmla="*/ 9350 h 267141"/>
                  <a:gd name="connsiteX23" fmla="*/ 323075 w 477631"/>
                  <a:gd name="connsiteY23" fmla="*/ 0 h 267141"/>
                  <a:gd name="connsiteX0" fmla="*/ 238816 w 477631"/>
                  <a:gd name="connsiteY0" fmla="*/ 267141 h 358581"/>
                  <a:gd name="connsiteX1" fmla="*/ 1233 w 477631"/>
                  <a:gd name="connsiteY1" fmla="*/ 179686 h 358581"/>
                  <a:gd name="connsiteX2" fmla="*/ 365 w 477631"/>
                  <a:gd name="connsiteY2" fmla="*/ 172672 h 358581"/>
                  <a:gd name="connsiteX3" fmla="*/ 0 w 477631"/>
                  <a:gd name="connsiteY3" fmla="*/ 172672 h 358581"/>
                  <a:gd name="connsiteX4" fmla="*/ 0 w 477631"/>
                  <a:gd name="connsiteY4" fmla="*/ 169725 h 358581"/>
                  <a:gd name="connsiteX5" fmla="*/ 0 w 477631"/>
                  <a:gd name="connsiteY5" fmla="*/ 24653 h 358581"/>
                  <a:gd name="connsiteX6" fmla="*/ 5131 w 477631"/>
                  <a:gd name="connsiteY6" fmla="*/ 28952 h 358581"/>
                  <a:gd name="connsiteX7" fmla="*/ 68189 w 477631"/>
                  <a:gd name="connsiteY7" fmla="*/ 47015 h 358581"/>
                  <a:gd name="connsiteX8" fmla="*/ 150359 w 477631"/>
                  <a:gd name="connsiteY8" fmla="*/ 9350 h 358581"/>
                  <a:gd name="connsiteX9" fmla="*/ 152449 w 477631"/>
                  <a:gd name="connsiteY9" fmla="*/ 4694 h 358581"/>
                  <a:gd name="connsiteX10" fmla="*/ 154539 w 477631"/>
                  <a:gd name="connsiteY10" fmla="*/ 9350 h 358581"/>
                  <a:gd name="connsiteX11" fmla="*/ 236708 w 477631"/>
                  <a:gd name="connsiteY11" fmla="*/ 47015 h 358581"/>
                  <a:gd name="connsiteX12" fmla="*/ 318878 w 477631"/>
                  <a:gd name="connsiteY12" fmla="*/ 9350 h 358581"/>
                  <a:gd name="connsiteX13" fmla="*/ 323075 w 477631"/>
                  <a:gd name="connsiteY13" fmla="*/ 0 h 358581"/>
                  <a:gd name="connsiteX14" fmla="*/ 327273 w 477631"/>
                  <a:gd name="connsiteY14" fmla="*/ 9350 h 358581"/>
                  <a:gd name="connsiteX15" fmla="*/ 409442 w 477631"/>
                  <a:gd name="connsiteY15" fmla="*/ 47015 h 358581"/>
                  <a:gd name="connsiteX16" fmla="*/ 472501 w 477631"/>
                  <a:gd name="connsiteY16" fmla="*/ 28952 h 358581"/>
                  <a:gd name="connsiteX17" fmla="*/ 477631 w 477631"/>
                  <a:gd name="connsiteY17" fmla="*/ 24652 h 358581"/>
                  <a:gd name="connsiteX18" fmla="*/ 477631 w 477631"/>
                  <a:gd name="connsiteY18" fmla="*/ 169724 h 358581"/>
                  <a:gd name="connsiteX19" fmla="*/ 477631 w 477631"/>
                  <a:gd name="connsiteY19" fmla="*/ 169725 h 358581"/>
                  <a:gd name="connsiteX20" fmla="*/ 477631 w 477631"/>
                  <a:gd name="connsiteY20" fmla="*/ 169727 h 358581"/>
                  <a:gd name="connsiteX21" fmla="*/ 477631 w 477631"/>
                  <a:gd name="connsiteY21" fmla="*/ 172672 h 358581"/>
                  <a:gd name="connsiteX22" fmla="*/ 477266 w 477631"/>
                  <a:gd name="connsiteY22" fmla="*/ 172672 h 358581"/>
                  <a:gd name="connsiteX23" fmla="*/ 330256 w 477631"/>
                  <a:gd name="connsiteY23" fmla="*/ 358581 h 358581"/>
                  <a:gd name="connsiteX0" fmla="*/ 1233 w 477631"/>
                  <a:gd name="connsiteY0" fmla="*/ 179686 h 358581"/>
                  <a:gd name="connsiteX1" fmla="*/ 365 w 477631"/>
                  <a:gd name="connsiteY1" fmla="*/ 172672 h 358581"/>
                  <a:gd name="connsiteX2" fmla="*/ 0 w 477631"/>
                  <a:gd name="connsiteY2" fmla="*/ 172672 h 358581"/>
                  <a:gd name="connsiteX3" fmla="*/ 0 w 477631"/>
                  <a:gd name="connsiteY3" fmla="*/ 169725 h 358581"/>
                  <a:gd name="connsiteX4" fmla="*/ 0 w 477631"/>
                  <a:gd name="connsiteY4" fmla="*/ 24653 h 358581"/>
                  <a:gd name="connsiteX5" fmla="*/ 5131 w 477631"/>
                  <a:gd name="connsiteY5" fmla="*/ 28952 h 358581"/>
                  <a:gd name="connsiteX6" fmla="*/ 68189 w 477631"/>
                  <a:gd name="connsiteY6" fmla="*/ 47015 h 358581"/>
                  <a:gd name="connsiteX7" fmla="*/ 150359 w 477631"/>
                  <a:gd name="connsiteY7" fmla="*/ 9350 h 358581"/>
                  <a:gd name="connsiteX8" fmla="*/ 152449 w 477631"/>
                  <a:gd name="connsiteY8" fmla="*/ 4694 h 358581"/>
                  <a:gd name="connsiteX9" fmla="*/ 154539 w 477631"/>
                  <a:gd name="connsiteY9" fmla="*/ 9350 h 358581"/>
                  <a:gd name="connsiteX10" fmla="*/ 236708 w 477631"/>
                  <a:gd name="connsiteY10" fmla="*/ 47015 h 358581"/>
                  <a:gd name="connsiteX11" fmla="*/ 318878 w 477631"/>
                  <a:gd name="connsiteY11" fmla="*/ 9350 h 358581"/>
                  <a:gd name="connsiteX12" fmla="*/ 323075 w 477631"/>
                  <a:gd name="connsiteY12" fmla="*/ 0 h 358581"/>
                  <a:gd name="connsiteX13" fmla="*/ 327273 w 477631"/>
                  <a:gd name="connsiteY13" fmla="*/ 9350 h 358581"/>
                  <a:gd name="connsiteX14" fmla="*/ 409442 w 477631"/>
                  <a:gd name="connsiteY14" fmla="*/ 47015 h 358581"/>
                  <a:gd name="connsiteX15" fmla="*/ 472501 w 477631"/>
                  <a:gd name="connsiteY15" fmla="*/ 28952 h 358581"/>
                  <a:gd name="connsiteX16" fmla="*/ 477631 w 477631"/>
                  <a:gd name="connsiteY16" fmla="*/ 24652 h 358581"/>
                  <a:gd name="connsiteX17" fmla="*/ 477631 w 477631"/>
                  <a:gd name="connsiteY17" fmla="*/ 169724 h 358581"/>
                  <a:gd name="connsiteX18" fmla="*/ 477631 w 477631"/>
                  <a:gd name="connsiteY18" fmla="*/ 169725 h 358581"/>
                  <a:gd name="connsiteX19" fmla="*/ 477631 w 477631"/>
                  <a:gd name="connsiteY19" fmla="*/ 169727 h 358581"/>
                  <a:gd name="connsiteX20" fmla="*/ 477631 w 477631"/>
                  <a:gd name="connsiteY20" fmla="*/ 172672 h 358581"/>
                  <a:gd name="connsiteX21" fmla="*/ 477266 w 477631"/>
                  <a:gd name="connsiteY21" fmla="*/ 172672 h 358581"/>
                  <a:gd name="connsiteX22" fmla="*/ 330256 w 477631"/>
                  <a:gd name="connsiteY22" fmla="*/ 358581 h 358581"/>
                  <a:gd name="connsiteX0" fmla="*/ 365 w 477631"/>
                  <a:gd name="connsiteY0" fmla="*/ 172672 h 358581"/>
                  <a:gd name="connsiteX1" fmla="*/ 0 w 477631"/>
                  <a:gd name="connsiteY1" fmla="*/ 172672 h 358581"/>
                  <a:gd name="connsiteX2" fmla="*/ 0 w 477631"/>
                  <a:gd name="connsiteY2" fmla="*/ 169725 h 358581"/>
                  <a:gd name="connsiteX3" fmla="*/ 0 w 477631"/>
                  <a:gd name="connsiteY3" fmla="*/ 24653 h 358581"/>
                  <a:gd name="connsiteX4" fmla="*/ 5131 w 477631"/>
                  <a:gd name="connsiteY4" fmla="*/ 28952 h 358581"/>
                  <a:gd name="connsiteX5" fmla="*/ 68189 w 477631"/>
                  <a:gd name="connsiteY5" fmla="*/ 47015 h 358581"/>
                  <a:gd name="connsiteX6" fmla="*/ 150359 w 477631"/>
                  <a:gd name="connsiteY6" fmla="*/ 9350 h 358581"/>
                  <a:gd name="connsiteX7" fmla="*/ 152449 w 477631"/>
                  <a:gd name="connsiteY7" fmla="*/ 4694 h 358581"/>
                  <a:gd name="connsiteX8" fmla="*/ 154539 w 477631"/>
                  <a:gd name="connsiteY8" fmla="*/ 9350 h 358581"/>
                  <a:gd name="connsiteX9" fmla="*/ 236708 w 477631"/>
                  <a:gd name="connsiteY9" fmla="*/ 47015 h 358581"/>
                  <a:gd name="connsiteX10" fmla="*/ 318878 w 477631"/>
                  <a:gd name="connsiteY10" fmla="*/ 9350 h 358581"/>
                  <a:gd name="connsiteX11" fmla="*/ 323075 w 477631"/>
                  <a:gd name="connsiteY11" fmla="*/ 0 h 358581"/>
                  <a:gd name="connsiteX12" fmla="*/ 327273 w 477631"/>
                  <a:gd name="connsiteY12" fmla="*/ 9350 h 358581"/>
                  <a:gd name="connsiteX13" fmla="*/ 409442 w 477631"/>
                  <a:gd name="connsiteY13" fmla="*/ 47015 h 358581"/>
                  <a:gd name="connsiteX14" fmla="*/ 472501 w 477631"/>
                  <a:gd name="connsiteY14" fmla="*/ 28952 h 358581"/>
                  <a:gd name="connsiteX15" fmla="*/ 477631 w 477631"/>
                  <a:gd name="connsiteY15" fmla="*/ 24652 h 358581"/>
                  <a:gd name="connsiteX16" fmla="*/ 477631 w 477631"/>
                  <a:gd name="connsiteY16" fmla="*/ 169724 h 358581"/>
                  <a:gd name="connsiteX17" fmla="*/ 477631 w 477631"/>
                  <a:gd name="connsiteY17" fmla="*/ 169725 h 358581"/>
                  <a:gd name="connsiteX18" fmla="*/ 477631 w 477631"/>
                  <a:gd name="connsiteY18" fmla="*/ 169727 h 358581"/>
                  <a:gd name="connsiteX19" fmla="*/ 477631 w 477631"/>
                  <a:gd name="connsiteY19" fmla="*/ 172672 h 358581"/>
                  <a:gd name="connsiteX20" fmla="*/ 477266 w 477631"/>
                  <a:gd name="connsiteY20" fmla="*/ 172672 h 358581"/>
                  <a:gd name="connsiteX21" fmla="*/ 330256 w 477631"/>
                  <a:gd name="connsiteY21" fmla="*/ 358581 h 358581"/>
                  <a:gd name="connsiteX0" fmla="*/ 365 w 477631"/>
                  <a:gd name="connsiteY0" fmla="*/ 172672 h 358581"/>
                  <a:gd name="connsiteX1" fmla="*/ 0 w 477631"/>
                  <a:gd name="connsiteY1" fmla="*/ 172672 h 358581"/>
                  <a:gd name="connsiteX2" fmla="*/ 0 w 477631"/>
                  <a:gd name="connsiteY2" fmla="*/ 24653 h 358581"/>
                  <a:gd name="connsiteX3" fmla="*/ 5131 w 477631"/>
                  <a:gd name="connsiteY3" fmla="*/ 28952 h 358581"/>
                  <a:gd name="connsiteX4" fmla="*/ 68189 w 477631"/>
                  <a:gd name="connsiteY4" fmla="*/ 47015 h 358581"/>
                  <a:gd name="connsiteX5" fmla="*/ 150359 w 477631"/>
                  <a:gd name="connsiteY5" fmla="*/ 9350 h 358581"/>
                  <a:gd name="connsiteX6" fmla="*/ 152449 w 477631"/>
                  <a:gd name="connsiteY6" fmla="*/ 4694 h 358581"/>
                  <a:gd name="connsiteX7" fmla="*/ 154539 w 477631"/>
                  <a:gd name="connsiteY7" fmla="*/ 9350 h 358581"/>
                  <a:gd name="connsiteX8" fmla="*/ 236708 w 477631"/>
                  <a:gd name="connsiteY8" fmla="*/ 47015 h 358581"/>
                  <a:gd name="connsiteX9" fmla="*/ 318878 w 477631"/>
                  <a:gd name="connsiteY9" fmla="*/ 9350 h 358581"/>
                  <a:gd name="connsiteX10" fmla="*/ 323075 w 477631"/>
                  <a:gd name="connsiteY10" fmla="*/ 0 h 358581"/>
                  <a:gd name="connsiteX11" fmla="*/ 327273 w 477631"/>
                  <a:gd name="connsiteY11" fmla="*/ 9350 h 358581"/>
                  <a:gd name="connsiteX12" fmla="*/ 409442 w 477631"/>
                  <a:gd name="connsiteY12" fmla="*/ 47015 h 358581"/>
                  <a:gd name="connsiteX13" fmla="*/ 472501 w 477631"/>
                  <a:gd name="connsiteY13" fmla="*/ 28952 h 358581"/>
                  <a:gd name="connsiteX14" fmla="*/ 477631 w 477631"/>
                  <a:gd name="connsiteY14" fmla="*/ 24652 h 358581"/>
                  <a:gd name="connsiteX15" fmla="*/ 477631 w 477631"/>
                  <a:gd name="connsiteY15" fmla="*/ 169724 h 358581"/>
                  <a:gd name="connsiteX16" fmla="*/ 477631 w 477631"/>
                  <a:gd name="connsiteY16" fmla="*/ 169725 h 358581"/>
                  <a:gd name="connsiteX17" fmla="*/ 477631 w 477631"/>
                  <a:gd name="connsiteY17" fmla="*/ 169727 h 358581"/>
                  <a:gd name="connsiteX18" fmla="*/ 477631 w 477631"/>
                  <a:gd name="connsiteY18" fmla="*/ 172672 h 358581"/>
                  <a:gd name="connsiteX19" fmla="*/ 477266 w 477631"/>
                  <a:gd name="connsiteY19" fmla="*/ 172672 h 358581"/>
                  <a:gd name="connsiteX20" fmla="*/ 330256 w 477631"/>
                  <a:gd name="connsiteY20" fmla="*/ 358581 h 358581"/>
                  <a:gd name="connsiteX0" fmla="*/ 365 w 477631"/>
                  <a:gd name="connsiteY0" fmla="*/ 172672 h 358581"/>
                  <a:gd name="connsiteX1" fmla="*/ 0 w 477631"/>
                  <a:gd name="connsiteY1" fmla="*/ 24653 h 358581"/>
                  <a:gd name="connsiteX2" fmla="*/ 5131 w 477631"/>
                  <a:gd name="connsiteY2" fmla="*/ 28952 h 358581"/>
                  <a:gd name="connsiteX3" fmla="*/ 68189 w 477631"/>
                  <a:gd name="connsiteY3" fmla="*/ 47015 h 358581"/>
                  <a:gd name="connsiteX4" fmla="*/ 150359 w 477631"/>
                  <a:gd name="connsiteY4" fmla="*/ 9350 h 358581"/>
                  <a:gd name="connsiteX5" fmla="*/ 152449 w 477631"/>
                  <a:gd name="connsiteY5" fmla="*/ 4694 h 358581"/>
                  <a:gd name="connsiteX6" fmla="*/ 154539 w 477631"/>
                  <a:gd name="connsiteY6" fmla="*/ 9350 h 358581"/>
                  <a:gd name="connsiteX7" fmla="*/ 236708 w 477631"/>
                  <a:gd name="connsiteY7" fmla="*/ 47015 h 358581"/>
                  <a:gd name="connsiteX8" fmla="*/ 318878 w 477631"/>
                  <a:gd name="connsiteY8" fmla="*/ 9350 h 358581"/>
                  <a:gd name="connsiteX9" fmla="*/ 323075 w 477631"/>
                  <a:gd name="connsiteY9" fmla="*/ 0 h 358581"/>
                  <a:gd name="connsiteX10" fmla="*/ 327273 w 477631"/>
                  <a:gd name="connsiteY10" fmla="*/ 9350 h 358581"/>
                  <a:gd name="connsiteX11" fmla="*/ 409442 w 477631"/>
                  <a:gd name="connsiteY11" fmla="*/ 47015 h 358581"/>
                  <a:gd name="connsiteX12" fmla="*/ 472501 w 477631"/>
                  <a:gd name="connsiteY12" fmla="*/ 28952 h 358581"/>
                  <a:gd name="connsiteX13" fmla="*/ 477631 w 477631"/>
                  <a:gd name="connsiteY13" fmla="*/ 24652 h 358581"/>
                  <a:gd name="connsiteX14" fmla="*/ 477631 w 477631"/>
                  <a:gd name="connsiteY14" fmla="*/ 169724 h 358581"/>
                  <a:gd name="connsiteX15" fmla="*/ 477631 w 477631"/>
                  <a:gd name="connsiteY15" fmla="*/ 169725 h 358581"/>
                  <a:gd name="connsiteX16" fmla="*/ 477631 w 477631"/>
                  <a:gd name="connsiteY16" fmla="*/ 169727 h 358581"/>
                  <a:gd name="connsiteX17" fmla="*/ 477631 w 477631"/>
                  <a:gd name="connsiteY17" fmla="*/ 172672 h 358581"/>
                  <a:gd name="connsiteX18" fmla="*/ 477266 w 477631"/>
                  <a:gd name="connsiteY18" fmla="*/ 172672 h 358581"/>
                  <a:gd name="connsiteX19" fmla="*/ 330256 w 477631"/>
                  <a:gd name="connsiteY19" fmla="*/ 358581 h 358581"/>
                  <a:gd name="connsiteX0" fmla="*/ 0 w 477631"/>
                  <a:gd name="connsiteY0" fmla="*/ 24653 h 358581"/>
                  <a:gd name="connsiteX1" fmla="*/ 5131 w 477631"/>
                  <a:gd name="connsiteY1" fmla="*/ 28952 h 358581"/>
                  <a:gd name="connsiteX2" fmla="*/ 68189 w 477631"/>
                  <a:gd name="connsiteY2" fmla="*/ 47015 h 358581"/>
                  <a:gd name="connsiteX3" fmla="*/ 150359 w 477631"/>
                  <a:gd name="connsiteY3" fmla="*/ 9350 h 358581"/>
                  <a:gd name="connsiteX4" fmla="*/ 152449 w 477631"/>
                  <a:gd name="connsiteY4" fmla="*/ 4694 h 358581"/>
                  <a:gd name="connsiteX5" fmla="*/ 154539 w 477631"/>
                  <a:gd name="connsiteY5" fmla="*/ 9350 h 358581"/>
                  <a:gd name="connsiteX6" fmla="*/ 236708 w 477631"/>
                  <a:gd name="connsiteY6" fmla="*/ 47015 h 358581"/>
                  <a:gd name="connsiteX7" fmla="*/ 318878 w 477631"/>
                  <a:gd name="connsiteY7" fmla="*/ 9350 h 358581"/>
                  <a:gd name="connsiteX8" fmla="*/ 323075 w 477631"/>
                  <a:gd name="connsiteY8" fmla="*/ 0 h 358581"/>
                  <a:gd name="connsiteX9" fmla="*/ 327273 w 477631"/>
                  <a:gd name="connsiteY9" fmla="*/ 9350 h 358581"/>
                  <a:gd name="connsiteX10" fmla="*/ 409442 w 477631"/>
                  <a:gd name="connsiteY10" fmla="*/ 47015 h 358581"/>
                  <a:gd name="connsiteX11" fmla="*/ 472501 w 477631"/>
                  <a:gd name="connsiteY11" fmla="*/ 28952 h 358581"/>
                  <a:gd name="connsiteX12" fmla="*/ 477631 w 477631"/>
                  <a:gd name="connsiteY12" fmla="*/ 24652 h 358581"/>
                  <a:gd name="connsiteX13" fmla="*/ 477631 w 477631"/>
                  <a:gd name="connsiteY13" fmla="*/ 169724 h 358581"/>
                  <a:gd name="connsiteX14" fmla="*/ 477631 w 477631"/>
                  <a:gd name="connsiteY14" fmla="*/ 169725 h 358581"/>
                  <a:gd name="connsiteX15" fmla="*/ 477631 w 477631"/>
                  <a:gd name="connsiteY15" fmla="*/ 169727 h 358581"/>
                  <a:gd name="connsiteX16" fmla="*/ 477631 w 477631"/>
                  <a:gd name="connsiteY16" fmla="*/ 172672 h 358581"/>
                  <a:gd name="connsiteX17" fmla="*/ 477266 w 477631"/>
                  <a:gd name="connsiteY17" fmla="*/ 172672 h 358581"/>
                  <a:gd name="connsiteX18" fmla="*/ 330256 w 477631"/>
                  <a:gd name="connsiteY18" fmla="*/ 358581 h 358581"/>
                  <a:gd name="connsiteX0" fmla="*/ 0 w 477631"/>
                  <a:gd name="connsiteY0" fmla="*/ 24653 h 172672"/>
                  <a:gd name="connsiteX1" fmla="*/ 5131 w 477631"/>
                  <a:gd name="connsiteY1" fmla="*/ 28952 h 172672"/>
                  <a:gd name="connsiteX2" fmla="*/ 68189 w 477631"/>
                  <a:gd name="connsiteY2" fmla="*/ 47015 h 172672"/>
                  <a:gd name="connsiteX3" fmla="*/ 150359 w 477631"/>
                  <a:gd name="connsiteY3" fmla="*/ 9350 h 172672"/>
                  <a:gd name="connsiteX4" fmla="*/ 152449 w 477631"/>
                  <a:gd name="connsiteY4" fmla="*/ 4694 h 172672"/>
                  <a:gd name="connsiteX5" fmla="*/ 154539 w 477631"/>
                  <a:gd name="connsiteY5" fmla="*/ 9350 h 172672"/>
                  <a:gd name="connsiteX6" fmla="*/ 236708 w 477631"/>
                  <a:gd name="connsiteY6" fmla="*/ 47015 h 172672"/>
                  <a:gd name="connsiteX7" fmla="*/ 318878 w 477631"/>
                  <a:gd name="connsiteY7" fmla="*/ 9350 h 172672"/>
                  <a:gd name="connsiteX8" fmla="*/ 323075 w 477631"/>
                  <a:gd name="connsiteY8" fmla="*/ 0 h 172672"/>
                  <a:gd name="connsiteX9" fmla="*/ 327273 w 477631"/>
                  <a:gd name="connsiteY9" fmla="*/ 9350 h 172672"/>
                  <a:gd name="connsiteX10" fmla="*/ 409442 w 477631"/>
                  <a:gd name="connsiteY10" fmla="*/ 47015 h 172672"/>
                  <a:gd name="connsiteX11" fmla="*/ 472501 w 477631"/>
                  <a:gd name="connsiteY11" fmla="*/ 28952 h 172672"/>
                  <a:gd name="connsiteX12" fmla="*/ 477631 w 477631"/>
                  <a:gd name="connsiteY12" fmla="*/ 24652 h 172672"/>
                  <a:gd name="connsiteX13" fmla="*/ 477631 w 477631"/>
                  <a:gd name="connsiteY13" fmla="*/ 169724 h 172672"/>
                  <a:gd name="connsiteX14" fmla="*/ 477631 w 477631"/>
                  <a:gd name="connsiteY14" fmla="*/ 169725 h 172672"/>
                  <a:gd name="connsiteX15" fmla="*/ 477631 w 477631"/>
                  <a:gd name="connsiteY15" fmla="*/ 169727 h 172672"/>
                  <a:gd name="connsiteX16" fmla="*/ 477631 w 477631"/>
                  <a:gd name="connsiteY16" fmla="*/ 172672 h 172672"/>
                  <a:gd name="connsiteX17" fmla="*/ 477266 w 477631"/>
                  <a:gd name="connsiteY17" fmla="*/ 172672 h 172672"/>
                  <a:gd name="connsiteX0" fmla="*/ 0 w 477631"/>
                  <a:gd name="connsiteY0" fmla="*/ 24653 h 172672"/>
                  <a:gd name="connsiteX1" fmla="*/ 5131 w 477631"/>
                  <a:gd name="connsiteY1" fmla="*/ 28952 h 172672"/>
                  <a:gd name="connsiteX2" fmla="*/ 68189 w 477631"/>
                  <a:gd name="connsiteY2" fmla="*/ 47015 h 172672"/>
                  <a:gd name="connsiteX3" fmla="*/ 150359 w 477631"/>
                  <a:gd name="connsiteY3" fmla="*/ 9350 h 172672"/>
                  <a:gd name="connsiteX4" fmla="*/ 152449 w 477631"/>
                  <a:gd name="connsiteY4" fmla="*/ 4694 h 172672"/>
                  <a:gd name="connsiteX5" fmla="*/ 154539 w 477631"/>
                  <a:gd name="connsiteY5" fmla="*/ 9350 h 172672"/>
                  <a:gd name="connsiteX6" fmla="*/ 236708 w 477631"/>
                  <a:gd name="connsiteY6" fmla="*/ 47015 h 172672"/>
                  <a:gd name="connsiteX7" fmla="*/ 318878 w 477631"/>
                  <a:gd name="connsiteY7" fmla="*/ 9350 h 172672"/>
                  <a:gd name="connsiteX8" fmla="*/ 323075 w 477631"/>
                  <a:gd name="connsiteY8" fmla="*/ 0 h 172672"/>
                  <a:gd name="connsiteX9" fmla="*/ 327273 w 477631"/>
                  <a:gd name="connsiteY9" fmla="*/ 9350 h 172672"/>
                  <a:gd name="connsiteX10" fmla="*/ 409442 w 477631"/>
                  <a:gd name="connsiteY10" fmla="*/ 47015 h 172672"/>
                  <a:gd name="connsiteX11" fmla="*/ 472501 w 477631"/>
                  <a:gd name="connsiteY11" fmla="*/ 28952 h 172672"/>
                  <a:gd name="connsiteX12" fmla="*/ 477631 w 477631"/>
                  <a:gd name="connsiteY12" fmla="*/ 24652 h 172672"/>
                  <a:gd name="connsiteX13" fmla="*/ 477631 w 477631"/>
                  <a:gd name="connsiteY13" fmla="*/ 169724 h 172672"/>
                  <a:gd name="connsiteX14" fmla="*/ 477631 w 477631"/>
                  <a:gd name="connsiteY14" fmla="*/ 169725 h 172672"/>
                  <a:gd name="connsiteX15" fmla="*/ 477631 w 477631"/>
                  <a:gd name="connsiteY15" fmla="*/ 169727 h 172672"/>
                  <a:gd name="connsiteX16" fmla="*/ 477631 w 477631"/>
                  <a:gd name="connsiteY16" fmla="*/ 172672 h 172672"/>
                  <a:gd name="connsiteX0" fmla="*/ 0 w 477631"/>
                  <a:gd name="connsiteY0" fmla="*/ 24653 h 169727"/>
                  <a:gd name="connsiteX1" fmla="*/ 5131 w 477631"/>
                  <a:gd name="connsiteY1" fmla="*/ 28952 h 169727"/>
                  <a:gd name="connsiteX2" fmla="*/ 68189 w 477631"/>
                  <a:gd name="connsiteY2" fmla="*/ 47015 h 169727"/>
                  <a:gd name="connsiteX3" fmla="*/ 150359 w 477631"/>
                  <a:gd name="connsiteY3" fmla="*/ 9350 h 169727"/>
                  <a:gd name="connsiteX4" fmla="*/ 152449 w 477631"/>
                  <a:gd name="connsiteY4" fmla="*/ 4694 h 169727"/>
                  <a:gd name="connsiteX5" fmla="*/ 154539 w 477631"/>
                  <a:gd name="connsiteY5" fmla="*/ 9350 h 169727"/>
                  <a:gd name="connsiteX6" fmla="*/ 236708 w 477631"/>
                  <a:gd name="connsiteY6" fmla="*/ 47015 h 169727"/>
                  <a:gd name="connsiteX7" fmla="*/ 318878 w 477631"/>
                  <a:gd name="connsiteY7" fmla="*/ 9350 h 169727"/>
                  <a:gd name="connsiteX8" fmla="*/ 323075 w 477631"/>
                  <a:gd name="connsiteY8" fmla="*/ 0 h 169727"/>
                  <a:gd name="connsiteX9" fmla="*/ 327273 w 477631"/>
                  <a:gd name="connsiteY9" fmla="*/ 9350 h 169727"/>
                  <a:gd name="connsiteX10" fmla="*/ 409442 w 477631"/>
                  <a:gd name="connsiteY10" fmla="*/ 47015 h 169727"/>
                  <a:gd name="connsiteX11" fmla="*/ 472501 w 477631"/>
                  <a:gd name="connsiteY11" fmla="*/ 28952 h 169727"/>
                  <a:gd name="connsiteX12" fmla="*/ 477631 w 477631"/>
                  <a:gd name="connsiteY12" fmla="*/ 24652 h 169727"/>
                  <a:gd name="connsiteX13" fmla="*/ 477631 w 477631"/>
                  <a:gd name="connsiteY13" fmla="*/ 169724 h 169727"/>
                  <a:gd name="connsiteX14" fmla="*/ 477631 w 477631"/>
                  <a:gd name="connsiteY14" fmla="*/ 169725 h 169727"/>
                  <a:gd name="connsiteX15" fmla="*/ 477631 w 477631"/>
                  <a:gd name="connsiteY15" fmla="*/ 169727 h 169727"/>
                  <a:gd name="connsiteX0" fmla="*/ 0 w 477631"/>
                  <a:gd name="connsiteY0" fmla="*/ 24653 h 169725"/>
                  <a:gd name="connsiteX1" fmla="*/ 5131 w 477631"/>
                  <a:gd name="connsiteY1" fmla="*/ 28952 h 169725"/>
                  <a:gd name="connsiteX2" fmla="*/ 68189 w 477631"/>
                  <a:gd name="connsiteY2" fmla="*/ 47015 h 169725"/>
                  <a:gd name="connsiteX3" fmla="*/ 150359 w 477631"/>
                  <a:gd name="connsiteY3" fmla="*/ 9350 h 169725"/>
                  <a:gd name="connsiteX4" fmla="*/ 152449 w 477631"/>
                  <a:gd name="connsiteY4" fmla="*/ 4694 h 169725"/>
                  <a:gd name="connsiteX5" fmla="*/ 154539 w 477631"/>
                  <a:gd name="connsiteY5" fmla="*/ 9350 h 169725"/>
                  <a:gd name="connsiteX6" fmla="*/ 236708 w 477631"/>
                  <a:gd name="connsiteY6" fmla="*/ 47015 h 169725"/>
                  <a:gd name="connsiteX7" fmla="*/ 318878 w 477631"/>
                  <a:gd name="connsiteY7" fmla="*/ 9350 h 169725"/>
                  <a:gd name="connsiteX8" fmla="*/ 323075 w 477631"/>
                  <a:gd name="connsiteY8" fmla="*/ 0 h 169725"/>
                  <a:gd name="connsiteX9" fmla="*/ 327273 w 477631"/>
                  <a:gd name="connsiteY9" fmla="*/ 9350 h 169725"/>
                  <a:gd name="connsiteX10" fmla="*/ 409442 w 477631"/>
                  <a:gd name="connsiteY10" fmla="*/ 47015 h 169725"/>
                  <a:gd name="connsiteX11" fmla="*/ 472501 w 477631"/>
                  <a:gd name="connsiteY11" fmla="*/ 28952 h 169725"/>
                  <a:gd name="connsiteX12" fmla="*/ 477631 w 477631"/>
                  <a:gd name="connsiteY12" fmla="*/ 24652 h 169725"/>
                  <a:gd name="connsiteX13" fmla="*/ 477631 w 477631"/>
                  <a:gd name="connsiteY13" fmla="*/ 169724 h 169725"/>
                  <a:gd name="connsiteX14" fmla="*/ 477631 w 477631"/>
                  <a:gd name="connsiteY14" fmla="*/ 169725 h 169725"/>
                  <a:gd name="connsiteX0" fmla="*/ 0 w 477631"/>
                  <a:gd name="connsiteY0" fmla="*/ 24653 h 169724"/>
                  <a:gd name="connsiteX1" fmla="*/ 5131 w 477631"/>
                  <a:gd name="connsiteY1" fmla="*/ 28952 h 169724"/>
                  <a:gd name="connsiteX2" fmla="*/ 68189 w 477631"/>
                  <a:gd name="connsiteY2" fmla="*/ 47015 h 169724"/>
                  <a:gd name="connsiteX3" fmla="*/ 150359 w 477631"/>
                  <a:gd name="connsiteY3" fmla="*/ 9350 h 169724"/>
                  <a:gd name="connsiteX4" fmla="*/ 152449 w 477631"/>
                  <a:gd name="connsiteY4" fmla="*/ 4694 h 169724"/>
                  <a:gd name="connsiteX5" fmla="*/ 154539 w 477631"/>
                  <a:gd name="connsiteY5" fmla="*/ 9350 h 169724"/>
                  <a:gd name="connsiteX6" fmla="*/ 236708 w 477631"/>
                  <a:gd name="connsiteY6" fmla="*/ 47015 h 169724"/>
                  <a:gd name="connsiteX7" fmla="*/ 318878 w 477631"/>
                  <a:gd name="connsiteY7" fmla="*/ 9350 h 169724"/>
                  <a:gd name="connsiteX8" fmla="*/ 323075 w 477631"/>
                  <a:gd name="connsiteY8" fmla="*/ 0 h 169724"/>
                  <a:gd name="connsiteX9" fmla="*/ 327273 w 477631"/>
                  <a:gd name="connsiteY9" fmla="*/ 9350 h 169724"/>
                  <a:gd name="connsiteX10" fmla="*/ 409442 w 477631"/>
                  <a:gd name="connsiteY10" fmla="*/ 47015 h 169724"/>
                  <a:gd name="connsiteX11" fmla="*/ 472501 w 477631"/>
                  <a:gd name="connsiteY11" fmla="*/ 28952 h 169724"/>
                  <a:gd name="connsiteX12" fmla="*/ 477631 w 477631"/>
                  <a:gd name="connsiteY12" fmla="*/ 24652 h 169724"/>
                  <a:gd name="connsiteX13" fmla="*/ 477631 w 477631"/>
                  <a:gd name="connsiteY13" fmla="*/ 169724 h 169724"/>
                  <a:gd name="connsiteX0" fmla="*/ 0 w 477631"/>
                  <a:gd name="connsiteY0" fmla="*/ 24653 h 47015"/>
                  <a:gd name="connsiteX1" fmla="*/ 5131 w 477631"/>
                  <a:gd name="connsiteY1" fmla="*/ 28952 h 47015"/>
                  <a:gd name="connsiteX2" fmla="*/ 68189 w 477631"/>
                  <a:gd name="connsiteY2" fmla="*/ 47015 h 47015"/>
                  <a:gd name="connsiteX3" fmla="*/ 150359 w 477631"/>
                  <a:gd name="connsiteY3" fmla="*/ 9350 h 47015"/>
                  <a:gd name="connsiteX4" fmla="*/ 152449 w 477631"/>
                  <a:gd name="connsiteY4" fmla="*/ 4694 h 47015"/>
                  <a:gd name="connsiteX5" fmla="*/ 154539 w 477631"/>
                  <a:gd name="connsiteY5" fmla="*/ 9350 h 47015"/>
                  <a:gd name="connsiteX6" fmla="*/ 236708 w 477631"/>
                  <a:gd name="connsiteY6" fmla="*/ 47015 h 47015"/>
                  <a:gd name="connsiteX7" fmla="*/ 318878 w 477631"/>
                  <a:gd name="connsiteY7" fmla="*/ 9350 h 47015"/>
                  <a:gd name="connsiteX8" fmla="*/ 323075 w 477631"/>
                  <a:gd name="connsiteY8" fmla="*/ 0 h 47015"/>
                  <a:gd name="connsiteX9" fmla="*/ 327273 w 477631"/>
                  <a:gd name="connsiteY9" fmla="*/ 9350 h 47015"/>
                  <a:gd name="connsiteX10" fmla="*/ 409442 w 477631"/>
                  <a:gd name="connsiteY10" fmla="*/ 47015 h 47015"/>
                  <a:gd name="connsiteX11" fmla="*/ 472501 w 477631"/>
                  <a:gd name="connsiteY11" fmla="*/ 28952 h 47015"/>
                  <a:gd name="connsiteX12" fmla="*/ 477631 w 477631"/>
                  <a:gd name="connsiteY12" fmla="*/ 24652 h 47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631" h="47015">
                    <a:moveTo>
                      <a:pt x="0" y="24653"/>
                    </a:moveTo>
                    <a:lnTo>
                      <a:pt x="5131" y="28952"/>
                    </a:lnTo>
                    <a:cubicBezTo>
                      <a:pt x="21269" y="40112"/>
                      <a:pt x="43563" y="47015"/>
                      <a:pt x="68189" y="47015"/>
                    </a:cubicBezTo>
                    <a:cubicBezTo>
                      <a:pt x="105127" y="47015"/>
                      <a:pt x="136821" y="31484"/>
                      <a:pt x="150359" y="9350"/>
                    </a:cubicBezTo>
                    <a:lnTo>
                      <a:pt x="152449" y="4694"/>
                    </a:lnTo>
                    <a:lnTo>
                      <a:pt x="154539" y="9350"/>
                    </a:lnTo>
                    <a:cubicBezTo>
                      <a:pt x="168077" y="31484"/>
                      <a:pt x="199770" y="47015"/>
                      <a:pt x="236708" y="47015"/>
                    </a:cubicBezTo>
                    <a:cubicBezTo>
                      <a:pt x="273647" y="47015"/>
                      <a:pt x="305340" y="31484"/>
                      <a:pt x="318878" y="9350"/>
                    </a:cubicBezTo>
                    <a:lnTo>
                      <a:pt x="323075" y="0"/>
                    </a:lnTo>
                    <a:lnTo>
                      <a:pt x="327273" y="9350"/>
                    </a:lnTo>
                    <a:cubicBezTo>
                      <a:pt x="340810" y="31484"/>
                      <a:pt x="372504" y="47015"/>
                      <a:pt x="409442" y="47015"/>
                    </a:cubicBezTo>
                    <a:cubicBezTo>
                      <a:pt x="434068" y="47015"/>
                      <a:pt x="456363" y="40112"/>
                      <a:pt x="472501" y="28952"/>
                    </a:cubicBezTo>
                    <a:lnTo>
                      <a:pt x="477631" y="24652"/>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mn-ea"/>
                  <a:cs typeface="Segoe UI" pitchFamily="34" charset="0"/>
                </a:endParaRPr>
              </a:p>
            </p:txBody>
          </p:sp>
        </p:grpSp>
        <p:grpSp>
          <p:nvGrpSpPr>
            <p:cNvPr id="67" name="Group 66">
              <a:extLst>
                <a:ext uri="{FF2B5EF4-FFF2-40B4-BE49-F238E27FC236}">
                  <a16:creationId xmlns:a16="http://schemas.microsoft.com/office/drawing/2014/main" id="{63F6F856-3DBA-4917-819D-9DAD02A93C63}"/>
                </a:ext>
              </a:extLst>
            </p:cNvPr>
            <p:cNvGrpSpPr/>
            <p:nvPr/>
          </p:nvGrpSpPr>
          <p:grpSpPr>
            <a:xfrm>
              <a:off x="9790234" y="1102179"/>
              <a:ext cx="531148" cy="457810"/>
              <a:chOff x="8376458" y="5925518"/>
              <a:chExt cx="1045926" cy="901512"/>
            </a:xfrm>
          </p:grpSpPr>
          <p:sp>
            <p:nvSpPr>
              <p:cNvPr id="68" name="Star: 4 Points 8">
                <a:extLst>
                  <a:ext uri="{FF2B5EF4-FFF2-40B4-BE49-F238E27FC236}">
                    <a16:creationId xmlns:a16="http://schemas.microsoft.com/office/drawing/2014/main" id="{AC7797E5-A9BE-4585-82D7-38DE4B55BD16}"/>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9" name="Star: 4 Points 8">
                <a:extLst>
                  <a:ext uri="{FF2B5EF4-FFF2-40B4-BE49-F238E27FC236}">
                    <a16:creationId xmlns:a16="http://schemas.microsoft.com/office/drawing/2014/main" id="{9A291E74-10DF-4EDF-A26E-D0D455BD6B31}"/>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2DAE7069-DD1B-4E2D-8E71-D9EAAA79B44A}"/>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Oval 9">
                <a:extLst>
                  <a:ext uri="{FF2B5EF4-FFF2-40B4-BE49-F238E27FC236}">
                    <a16:creationId xmlns:a16="http://schemas.microsoft.com/office/drawing/2014/main" id="{BBFB7ACA-15A0-4050-B237-7DDFD8806E77}"/>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76" name="Group 75">
              <a:extLst>
                <a:ext uri="{FF2B5EF4-FFF2-40B4-BE49-F238E27FC236}">
                  <a16:creationId xmlns:a16="http://schemas.microsoft.com/office/drawing/2014/main" id="{541BD43A-DA74-4005-9A97-C3012B2AED39}"/>
                </a:ext>
              </a:extLst>
            </p:cNvPr>
            <p:cNvGrpSpPr/>
            <p:nvPr/>
          </p:nvGrpSpPr>
          <p:grpSpPr>
            <a:xfrm>
              <a:off x="8196694" y="1139747"/>
              <a:ext cx="503002" cy="503824"/>
              <a:chOff x="7984841" y="884576"/>
              <a:chExt cx="607144" cy="608136"/>
            </a:xfrm>
            <a:solidFill>
              <a:srgbClr val="F3F3F3"/>
            </a:solidFill>
          </p:grpSpPr>
          <p:sp>
            <p:nvSpPr>
              <p:cNvPr id="77" name="Pentagon 76">
                <a:extLst>
                  <a:ext uri="{FF2B5EF4-FFF2-40B4-BE49-F238E27FC236}">
                    <a16:creationId xmlns:a16="http://schemas.microsoft.com/office/drawing/2014/main" id="{DDD60A3E-A3A6-4D97-B6A0-DB3ED1CF55FA}"/>
                  </a:ext>
                </a:extLst>
              </p:cNvPr>
              <p:cNvSpPr/>
              <p:nvPr/>
            </p:nvSpPr>
            <p:spPr bwMode="auto">
              <a:xfrm>
                <a:off x="8032201" y="974255"/>
                <a:ext cx="507642" cy="437611"/>
              </a:xfrm>
              <a:prstGeom prst="pentagon">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Oval 77">
                <a:extLst>
                  <a:ext uri="{FF2B5EF4-FFF2-40B4-BE49-F238E27FC236}">
                    <a16:creationId xmlns:a16="http://schemas.microsoft.com/office/drawing/2014/main" id="{A98BB44F-CE1B-4814-8A9D-23198F2C9325}"/>
                  </a:ext>
                </a:extLst>
              </p:cNvPr>
              <p:cNvSpPr/>
              <p:nvPr/>
            </p:nvSpPr>
            <p:spPr bwMode="auto">
              <a:xfrm>
                <a:off x="8197252" y="884576"/>
                <a:ext cx="179358" cy="179358"/>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Oval 78">
                <a:extLst>
                  <a:ext uri="{FF2B5EF4-FFF2-40B4-BE49-F238E27FC236}">
                    <a16:creationId xmlns:a16="http://schemas.microsoft.com/office/drawing/2014/main" id="{303A3190-07D2-46C1-B563-DDF24917B68F}"/>
                  </a:ext>
                </a:extLst>
              </p:cNvPr>
              <p:cNvSpPr/>
              <p:nvPr/>
            </p:nvSpPr>
            <p:spPr bwMode="auto">
              <a:xfrm>
                <a:off x="7984841" y="1043891"/>
                <a:ext cx="179358" cy="179358"/>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Oval 79">
                <a:extLst>
                  <a:ext uri="{FF2B5EF4-FFF2-40B4-BE49-F238E27FC236}">
                    <a16:creationId xmlns:a16="http://schemas.microsoft.com/office/drawing/2014/main" id="{C14F74F2-03E0-4245-8271-87D1971D4070}"/>
                  </a:ext>
                </a:extLst>
              </p:cNvPr>
              <p:cNvSpPr/>
              <p:nvPr/>
            </p:nvSpPr>
            <p:spPr bwMode="auto">
              <a:xfrm>
                <a:off x="8057090" y="1313354"/>
                <a:ext cx="179358" cy="179358"/>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Oval 80">
                <a:extLst>
                  <a:ext uri="{FF2B5EF4-FFF2-40B4-BE49-F238E27FC236}">
                    <a16:creationId xmlns:a16="http://schemas.microsoft.com/office/drawing/2014/main" id="{2F6E5869-6FB5-47CA-B5B8-0E9CC29D43DD}"/>
                  </a:ext>
                </a:extLst>
              </p:cNvPr>
              <p:cNvSpPr/>
              <p:nvPr/>
            </p:nvSpPr>
            <p:spPr bwMode="auto">
              <a:xfrm>
                <a:off x="8342912" y="1313354"/>
                <a:ext cx="179358" cy="179358"/>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Oval 81">
                <a:extLst>
                  <a:ext uri="{FF2B5EF4-FFF2-40B4-BE49-F238E27FC236}">
                    <a16:creationId xmlns:a16="http://schemas.microsoft.com/office/drawing/2014/main" id="{8087A138-B7F6-46E8-8884-59B057DC1813}"/>
                  </a:ext>
                </a:extLst>
              </p:cNvPr>
              <p:cNvSpPr/>
              <p:nvPr/>
            </p:nvSpPr>
            <p:spPr bwMode="auto">
              <a:xfrm>
                <a:off x="8412627" y="1043891"/>
                <a:ext cx="179358" cy="179358"/>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3" name="Group 82">
              <a:extLst>
                <a:ext uri="{FF2B5EF4-FFF2-40B4-BE49-F238E27FC236}">
                  <a16:creationId xmlns:a16="http://schemas.microsoft.com/office/drawing/2014/main" id="{780EE140-11BD-42C6-B1B8-D52D2AEE3ADB}"/>
                </a:ext>
              </a:extLst>
            </p:cNvPr>
            <p:cNvGrpSpPr/>
            <p:nvPr/>
          </p:nvGrpSpPr>
          <p:grpSpPr>
            <a:xfrm>
              <a:off x="11321942" y="1687719"/>
              <a:ext cx="477594" cy="479676"/>
              <a:chOff x="5279190" y="5401430"/>
              <a:chExt cx="1101836" cy="1106637"/>
            </a:xfrm>
          </p:grpSpPr>
          <p:sp>
            <p:nvSpPr>
              <p:cNvPr id="84" name="Freeform: Shape 815">
                <a:extLst>
                  <a:ext uri="{FF2B5EF4-FFF2-40B4-BE49-F238E27FC236}">
                    <a16:creationId xmlns:a16="http://schemas.microsoft.com/office/drawing/2014/main" id="{EE3979D6-4DE2-4203-A83F-7CA8209DD2A5}"/>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85" name="Freeform: Shape 816">
                <a:extLst>
                  <a:ext uri="{FF2B5EF4-FFF2-40B4-BE49-F238E27FC236}">
                    <a16:creationId xmlns:a16="http://schemas.microsoft.com/office/drawing/2014/main" id="{C10AF825-E7FB-4863-80E2-31C0CB318A72}"/>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86" name="Freeform: Shape 817">
                <a:extLst>
                  <a:ext uri="{FF2B5EF4-FFF2-40B4-BE49-F238E27FC236}">
                    <a16:creationId xmlns:a16="http://schemas.microsoft.com/office/drawing/2014/main" id="{6F0819C3-994D-4AD0-B4BC-6C26C7541EB3}"/>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87" name="Freeform: Shape 818">
                <a:extLst>
                  <a:ext uri="{FF2B5EF4-FFF2-40B4-BE49-F238E27FC236}">
                    <a16:creationId xmlns:a16="http://schemas.microsoft.com/office/drawing/2014/main" id="{E11BB33E-DBB0-4812-BCD1-218013BCDFBB}"/>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useBgFill="1">
            <p:nvSpPr>
              <p:cNvPr id="88" name="Freeform: Shape 819">
                <a:extLst>
                  <a:ext uri="{FF2B5EF4-FFF2-40B4-BE49-F238E27FC236}">
                    <a16:creationId xmlns:a16="http://schemas.microsoft.com/office/drawing/2014/main" id="{B727EA11-49B6-42BC-B7C6-3B9A7018BD40}"/>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nvGrpSpPr>
            <p:cNvPr id="92" name="Group 91">
              <a:extLst>
                <a:ext uri="{FF2B5EF4-FFF2-40B4-BE49-F238E27FC236}">
                  <a16:creationId xmlns:a16="http://schemas.microsoft.com/office/drawing/2014/main" id="{1092F846-AD32-487B-B04D-AC3E903B5E59}"/>
                </a:ext>
              </a:extLst>
            </p:cNvPr>
            <p:cNvGrpSpPr/>
            <p:nvPr/>
          </p:nvGrpSpPr>
          <p:grpSpPr>
            <a:xfrm>
              <a:off x="10022126" y="4084617"/>
              <a:ext cx="535871" cy="397229"/>
              <a:chOff x="-2575176" y="-1203590"/>
              <a:chExt cx="3082012" cy="2284628"/>
            </a:xfrm>
            <a:solidFill>
              <a:schemeClr val="tx2"/>
            </a:solidFill>
          </p:grpSpPr>
          <p:sp>
            <p:nvSpPr>
              <p:cNvPr id="93" name="Freeform 42">
                <a:extLst>
                  <a:ext uri="{FF2B5EF4-FFF2-40B4-BE49-F238E27FC236}">
                    <a16:creationId xmlns:a16="http://schemas.microsoft.com/office/drawing/2014/main" id="{CE737AC4-8BA8-4C04-81A6-F64272B19D6A}"/>
                  </a:ext>
                </a:extLst>
              </p:cNvPr>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4" name="Freeform 43">
                <a:extLst>
                  <a:ext uri="{FF2B5EF4-FFF2-40B4-BE49-F238E27FC236}">
                    <a16:creationId xmlns:a16="http://schemas.microsoft.com/office/drawing/2014/main" id="{73D267A6-37AE-4FAD-BAEC-05ABB9735D7B}"/>
                  </a:ext>
                </a:extLst>
              </p:cNvPr>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5" name="Freeform 44">
                <a:extLst>
                  <a:ext uri="{FF2B5EF4-FFF2-40B4-BE49-F238E27FC236}">
                    <a16:creationId xmlns:a16="http://schemas.microsoft.com/office/drawing/2014/main" id="{0C85BA92-6A85-4E18-A0B4-E518F4448AD4}"/>
                  </a:ext>
                </a:extLst>
              </p:cNvPr>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6" name="Freeform 45">
                <a:extLst>
                  <a:ext uri="{FF2B5EF4-FFF2-40B4-BE49-F238E27FC236}">
                    <a16:creationId xmlns:a16="http://schemas.microsoft.com/office/drawing/2014/main" id="{A3722373-299E-4418-82D0-FA235BFE0062}"/>
                  </a:ext>
                </a:extLst>
              </p:cNvPr>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sp>
        <p:nvSpPr>
          <p:cNvPr id="5" name="TextBox 4">
            <a:extLst>
              <a:ext uri="{FF2B5EF4-FFF2-40B4-BE49-F238E27FC236}">
                <a16:creationId xmlns:a16="http://schemas.microsoft.com/office/drawing/2014/main" id="{C4FA1DF1-3B55-4A36-ADF0-27E918ADED12}"/>
              </a:ext>
            </a:extLst>
          </p:cNvPr>
          <p:cNvSpPr txBox="1"/>
          <p:nvPr/>
        </p:nvSpPr>
        <p:spPr>
          <a:xfrm>
            <a:off x="7139410" y="5871684"/>
            <a:ext cx="4773164" cy="683264"/>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CA"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ee all Retail use cases on </a:t>
            </a:r>
            <a:r>
              <a:rPr kumimoji="0" lang="en-CA"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hlinkClick r:id="rId4"/>
              </a:rPr>
              <a:t>aka.ms/</a:t>
            </a:r>
            <a:r>
              <a:rPr kumimoji="0" lang="en-CA" sz="14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Semilight"/>
                <a:ea typeface="+mn-ea"/>
                <a:cs typeface="+mn-cs"/>
                <a:hlinkClick r:id="rId4"/>
              </a:rPr>
              <a:t>AzureCosmosDBBOM</a:t>
            </a:r>
            <a:r>
              <a:rPr kumimoji="0" lang="en-CA"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 and retail demo on </a:t>
            </a:r>
            <a:r>
              <a:rPr kumimoji="0" lang="en-CA"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hlinkClick r:id="rId5"/>
              </a:rPr>
              <a:t>GitHub</a:t>
            </a:r>
            <a:endParaRPr kumimoji="0" lang="en-US" sz="14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Semilight"/>
              <a:ea typeface="+mn-ea"/>
              <a:cs typeface="+mn-cs"/>
            </a:endParaRPr>
          </a:p>
        </p:txBody>
      </p:sp>
      <p:pic>
        <p:nvPicPr>
          <p:cNvPr id="74" name="Picture 73">
            <a:extLst>
              <a:ext uri="{FF2B5EF4-FFF2-40B4-BE49-F238E27FC236}">
                <a16:creationId xmlns:a16="http://schemas.microsoft.com/office/drawing/2014/main" id="{3E839928-580E-4892-8E33-267898E6E20C}"/>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279426" y="5997865"/>
            <a:ext cx="1310464" cy="42888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a:extLst>
              <a:ext uri="{FF2B5EF4-FFF2-40B4-BE49-F238E27FC236}">
                <a16:creationId xmlns:a16="http://schemas.microsoft.com/office/drawing/2014/main" id="{0465F786-C4A8-4EE2-9820-3ABA1B5040E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2083688" y="5763985"/>
            <a:ext cx="857944" cy="853096"/>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descr="A close up of a logo&#10;&#10;Description automatically generated">
            <a:extLst>
              <a:ext uri="{FF2B5EF4-FFF2-40B4-BE49-F238E27FC236}">
                <a16:creationId xmlns:a16="http://schemas.microsoft.com/office/drawing/2014/main" id="{719B7EEF-2C74-45C7-A83E-9E9C895A5949}"/>
              </a:ext>
            </a:extLst>
          </p:cNvPr>
          <p:cNvPicPr>
            <a:picLocks noChangeAspect="1"/>
          </p:cNvPicPr>
          <p:nvPr/>
        </p:nvPicPr>
        <p:blipFill>
          <a:blip r:embed="rId8"/>
          <a:stretch>
            <a:fillRect/>
          </a:stretch>
        </p:blipFill>
        <p:spPr>
          <a:xfrm>
            <a:off x="3380200" y="5728035"/>
            <a:ext cx="1609725" cy="790575"/>
          </a:xfrm>
          <a:prstGeom prst="rect">
            <a:avLst/>
          </a:prstGeom>
        </p:spPr>
      </p:pic>
    </p:spTree>
    <p:extLst>
      <p:ext uri="{BB962C8B-B14F-4D97-AF65-F5344CB8AC3E}">
        <p14:creationId xmlns:p14="http://schemas.microsoft.com/office/powerpoint/2010/main" val="880692555"/>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50000">
                                          <p:cBhvr additive="base">
                                            <p:cTn id="7" dur="500" fill="hold"/>
                                            <p:tgtEl>
                                              <p:spTgt spid="4"/>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331077"/>
            <a:ext cx="5606043" cy="899665"/>
          </a:xfrm>
        </p:spPr>
        <p:txBody>
          <a:bodyPr/>
          <a:lstStyle/>
          <a:p>
            <a:r>
              <a:rPr lang="en-US" dirty="0"/>
              <a:t>Geo-distributed or  mission-critical apps</a:t>
            </a:r>
          </a:p>
        </p:txBody>
      </p:sp>
      <p:sp>
        <p:nvSpPr>
          <p:cNvPr id="3" name="Content Placeholder 2"/>
          <p:cNvSpPr>
            <a:spLocks noGrp="1"/>
          </p:cNvSpPr>
          <p:nvPr>
            <p:ph type="body" sz="quarter" idx="11"/>
          </p:nvPr>
        </p:nvSpPr>
        <p:spPr>
          <a:xfrm>
            <a:off x="269239" y="2131145"/>
            <a:ext cx="6079567" cy="2123658"/>
          </a:xfrm>
        </p:spPr>
        <p:txBody>
          <a:bodyPr/>
          <a:lstStyle/>
          <a:p>
            <a:pPr>
              <a:spcBef>
                <a:spcPts val="1000"/>
              </a:spcBef>
            </a:pPr>
            <a:r>
              <a:rPr lang="en-US" b="1" dirty="0">
                <a:solidFill>
                  <a:schemeClr val="tx2"/>
                </a:solidFill>
              </a:rPr>
              <a:t>Put your data where your users are to give real-time access and uninterrupted service to customers anywhere in the world.</a:t>
            </a:r>
          </a:p>
          <a:p>
            <a:pPr marL="285750" lvl="1" indent="-285750">
              <a:spcBef>
                <a:spcPts val="1600"/>
              </a:spcBef>
              <a:spcAft>
                <a:spcPts val="0"/>
              </a:spcAft>
              <a:buFont typeface="Arial" charset="0"/>
              <a:buChar char="•"/>
            </a:pPr>
            <a:r>
              <a:rPr lang="en-US" sz="1600" dirty="0">
                <a:solidFill>
                  <a:schemeClr val="tx1"/>
                </a:solidFill>
              </a:rPr>
              <a:t>Turnkey global data replication across all Azure regions </a:t>
            </a:r>
          </a:p>
          <a:p>
            <a:pPr marL="285750" lvl="1" indent="-285750">
              <a:spcBef>
                <a:spcPts val="1000"/>
              </a:spcBef>
              <a:spcAft>
                <a:spcPts val="0"/>
              </a:spcAft>
              <a:buFont typeface="Arial" charset="0"/>
              <a:buChar char="•"/>
            </a:pPr>
            <a:r>
              <a:rPr lang="en-US" sz="1600" dirty="0">
                <a:solidFill>
                  <a:schemeClr val="tx1"/>
                </a:solidFill>
              </a:rPr>
              <a:t>Guaranteed low-latency experience for global users </a:t>
            </a:r>
          </a:p>
          <a:p>
            <a:pPr marL="285750" lvl="1" indent="-285750">
              <a:spcBef>
                <a:spcPts val="1000"/>
              </a:spcBef>
              <a:spcAft>
                <a:spcPts val="0"/>
              </a:spcAft>
              <a:buFont typeface="Arial" charset="0"/>
              <a:buChar char="•"/>
            </a:pPr>
            <a:r>
              <a:rPr lang="en-US" sz="1600" dirty="0">
                <a:solidFill>
                  <a:schemeClr val="tx1"/>
                </a:solidFill>
              </a:rPr>
              <a:t>Resiliency for high availability and disaster recovery</a:t>
            </a:r>
          </a:p>
        </p:txBody>
      </p:sp>
      <p:grpSp>
        <p:nvGrpSpPr>
          <p:cNvPr id="5" name="Group 4"/>
          <p:cNvGrpSpPr/>
          <p:nvPr/>
        </p:nvGrpSpPr>
        <p:grpSpPr>
          <a:xfrm>
            <a:off x="6738035" y="1348650"/>
            <a:ext cx="5102126" cy="3108127"/>
            <a:chOff x="6738035" y="1348650"/>
            <a:chExt cx="5102126" cy="3108127"/>
          </a:xfrm>
        </p:grpSpPr>
        <p:sp>
          <p:nvSpPr>
            <p:cNvPr id="9" name="TextBox 8">
              <a:extLst>
                <a:ext uri="{FF2B5EF4-FFF2-40B4-BE49-F238E27FC236}">
                  <a16:creationId xmlns:a16="http://schemas.microsoft.com/office/drawing/2014/main" id="{F0CA2504-BD79-4E07-AFCB-A2ADC30D4A60}"/>
                </a:ext>
              </a:extLst>
            </p:cNvPr>
            <p:cNvSpPr txBox="1"/>
            <p:nvPr/>
          </p:nvSpPr>
          <p:spPr>
            <a:xfrm>
              <a:off x="8595975" y="1930310"/>
              <a:ext cx="885826" cy="263149"/>
            </a:xfrm>
            <a:prstGeom prst="rect">
              <a:avLst/>
            </a:prstGeom>
            <a:solidFill>
              <a:schemeClr val="bg1"/>
            </a:solidFill>
          </p:spPr>
          <p:txBody>
            <a:bodyPr wrap="square" lIns="45720" tIns="0" rIns="4572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region A</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lt;10 </a:t>
              </a:r>
              <a:r>
                <a:rPr kumimoji="0" lang="en-US" sz="95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ms</a:t>
              </a:r>
              <a:endPar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2" name="TextBox 11">
              <a:extLst>
                <a:ext uri="{FF2B5EF4-FFF2-40B4-BE49-F238E27FC236}">
                  <a16:creationId xmlns:a16="http://schemas.microsoft.com/office/drawing/2014/main" id="{CA44825E-89C9-439E-8D14-B4269B8DCD03}"/>
                </a:ext>
              </a:extLst>
            </p:cNvPr>
            <p:cNvSpPr txBox="1"/>
            <p:nvPr/>
          </p:nvSpPr>
          <p:spPr>
            <a:xfrm>
              <a:off x="8595975" y="3005271"/>
              <a:ext cx="885826" cy="263149"/>
            </a:xfrm>
            <a:prstGeom prst="rect">
              <a:avLst/>
            </a:prstGeom>
            <a:solidFill>
              <a:schemeClr val="bg1"/>
            </a:solidFill>
          </p:spPr>
          <p:txBody>
            <a:bodyPr wrap="square" lIns="45720" tIns="0" rIns="4572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region 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lt;10 </a:t>
              </a:r>
              <a:r>
                <a:rPr kumimoji="0" lang="en-US" sz="95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ms</a:t>
              </a:r>
              <a:endPar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BFCEE045-D389-48C5-9BB3-AE891396E777}"/>
                </a:ext>
              </a:extLst>
            </p:cNvPr>
            <p:cNvSpPr txBox="1"/>
            <p:nvPr/>
          </p:nvSpPr>
          <p:spPr>
            <a:xfrm>
              <a:off x="8595975" y="4193628"/>
              <a:ext cx="885826" cy="263149"/>
            </a:xfrm>
            <a:prstGeom prst="rect">
              <a:avLst/>
            </a:prstGeom>
            <a:solidFill>
              <a:schemeClr val="bg1"/>
            </a:solidFill>
          </p:spPr>
          <p:txBody>
            <a:bodyPr wrap="square" lIns="45720" tIns="0" rIns="4572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region C</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lt;10 </a:t>
              </a:r>
              <a:r>
                <a:rPr kumimoji="0" lang="en-US" sz="95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ms</a:t>
              </a:r>
              <a:endPar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 name="TextBox 13">
              <a:extLst>
                <a:ext uri="{FF2B5EF4-FFF2-40B4-BE49-F238E27FC236}">
                  <a16:creationId xmlns:a16="http://schemas.microsoft.com/office/drawing/2014/main" id="{CBD0A595-F473-4B61-AD35-8E06789AC6F5}"/>
                </a:ext>
              </a:extLst>
            </p:cNvPr>
            <p:cNvSpPr txBox="1"/>
            <p:nvPr/>
          </p:nvSpPr>
          <p:spPr>
            <a:xfrm>
              <a:off x="10538771" y="2045113"/>
              <a:ext cx="1301390" cy="263149"/>
            </a:xfrm>
            <a:prstGeom prst="rect">
              <a:avLst/>
            </a:prstGeom>
            <a:solidFill>
              <a:schemeClr val="bg1"/>
            </a:solidFill>
          </p:spPr>
          <p:txBody>
            <a:bodyPr wrap="square" lIns="45720" tIns="0" rIns="4572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 (app + session state)</a:t>
              </a:r>
            </a:p>
          </p:txBody>
        </p:sp>
        <p:sp>
          <p:nvSpPr>
            <p:cNvPr id="15" name="TextBox 14">
              <a:extLst>
                <a:ext uri="{FF2B5EF4-FFF2-40B4-BE49-F238E27FC236}">
                  <a16:creationId xmlns:a16="http://schemas.microsoft.com/office/drawing/2014/main" id="{2A0A2343-400E-4B40-9385-EE5D0EC6C652}"/>
                </a:ext>
              </a:extLst>
            </p:cNvPr>
            <p:cNvSpPr txBox="1"/>
            <p:nvPr/>
          </p:nvSpPr>
          <p:spPr>
            <a:xfrm>
              <a:off x="10538771" y="3135708"/>
              <a:ext cx="1301390" cy="263149"/>
            </a:xfrm>
            <a:prstGeom prst="rect">
              <a:avLst/>
            </a:prstGeom>
            <a:solidFill>
              <a:schemeClr val="bg1"/>
            </a:solidFill>
          </p:spPr>
          <p:txBody>
            <a:bodyPr wrap="square" lIns="45720" tIns="0" rIns="4572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Globally distributed across regions</a:t>
              </a:r>
            </a:p>
          </p:txBody>
        </p:sp>
        <p:sp>
          <p:nvSpPr>
            <p:cNvPr id="16" name="TextBox 15">
              <a:extLst>
                <a:ext uri="{FF2B5EF4-FFF2-40B4-BE49-F238E27FC236}">
                  <a16:creationId xmlns:a16="http://schemas.microsoft.com/office/drawing/2014/main" id="{19CF5407-8A29-454B-B47B-3D675C06F13A}"/>
                </a:ext>
              </a:extLst>
            </p:cNvPr>
            <p:cNvSpPr txBox="1"/>
            <p:nvPr/>
          </p:nvSpPr>
          <p:spPr>
            <a:xfrm>
              <a:off x="7627680" y="3061400"/>
              <a:ext cx="793092" cy="263149"/>
            </a:xfrm>
            <a:prstGeom prst="rect">
              <a:avLst/>
            </a:prstGeom>
            <a:solidFill>
              <a:schemeClr val="bg1"/>
            </a:solidFill>
          </p:spPr>
          <p:txBody>
            <a:bodyPr wrap="square" lIns="45720" tIns="0" rIns="4572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Traffic Manager</a:t>
              </a:r>
            </a:p>
          </p:txBody>
        </p:sp>
        <p:sp>
          <p:nvSpPr>
            <p:cNvPr id="17" name="TextBox 16">
              <a:extLst>
                <a:ext uri="{FF2B5EF4-FFF2-40B4-BE49-F238E27FC236}">
                  <a16:creationId xmlns:a16="http://schemas.microsoft.com/office/drawing/2014/main" id="{B9EC2BD0-C202-41D0-A7E3-D9701A7AF9F9}"/>
                </a:ext>
              </a:extLst>
            </p:cNvPr>
            <p:cNvSpPr txBox="1"/>
            <p:nvPr/>
          </p:nvSpPr>
          <p:spPr>
            <a:xfrm>
              <a:off x="6738035" y="3061400"/>
              <a:ext cx="763044" cy="131574"/>
            </a:xfrm>
            <a:prstGeom prst="rect">
              <a:avLst/>
            </a:prstGeom>
            <a:solidFill>
              <a:schemeClr val="bg1"/>
            </a:solidFill>
          </p:spPr>
          <p:txBody>
            <a:bodyPr wrap="square" lIns="45720" tIns="0" rIns="4572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Browser</a:t>
              </a:r>
            </a:p>
          </p:txBody>
        </p:sp>
        <p:grpSp>
          <p:nvGrpSpPr>
            <p:cNvPr id="4" name="Group 3"/>
            <p:cNvGrpSpPr/>
            <p:nvPr/>
          </p:nvGrpSpPr>
          <p:grpSpPr>
            <a:xfrm>
              <a:off x="6886063" y="1348650"/>
              <a:ext cx="4623961" cy="2783265"/>
              <a:chOff x="6886063" y="1348650"/>
              <a:chExt cx="4623961" cy="2783265"/>
            </a:xfrm>
          </p:grpSpPr>
          <p:sp>
            <p:nvSpPr>
              <p:cNvPr id="19" name="Star: 4 Points 8">
                <a:extLst>
                  <a:ext uri="{FF2B5EF4-FFF2-40B4-BE49-F238E27FC236}">
                    <a16:creationId xmlns:a16="http://schemas.microsoft.com/office/drawing/2014/main" id="{8D8C97CA-B466-45CE-AE96-F114F8B841C3}"/>
                  </a:ext>
                </a:extLst>
              </p:cNvPr>
              <p:cNvSpPr/>
              <p:nvPr/>
            </p:nvSpPr>
            <p:spPr bwMode="auto">
              <a:xfrm>
                <a:off x="10871109" y="2453560"/>
                <a:ext cx="179359" cy="17935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ar: 4 Points 8">
                <a:extLst>
                  <a:ext uri="{FF2B5EF4-FFF2-40B4-BE49-F238E27FC236}">
                    <a16:creationId xmlns:a16="http://schemas.microsoft.com/office/drawing/2014/main" id="{E1AC15F6-CFEC-4B70-B75C-80C95587C18F}"/>
                  </a:ext>
                </a:extLst>
              </p:cNvPr>
              <p:cNvSpPr/>
              <p:nvPr/>
            </p:nvSpPr>
            <p:spPr bwMode="auto">
              <a:xfrm>
                <a:off x="11351604" y="2923572"/>
                <a:ext cx="82582" cy="82582"/>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a:extLst>
                  <a:ext uri="{FF2B5EF4-FFF2-40B4-BE49-F238E27FC236}">
                    <a16:creationId xmlns:a16="http://schemas.microsoft.com/office/drawing/2014/main" id="{BE6F03EC-4BDA-44AA-AF62-84C6C8A60C60}"/>
                  </a:ext>
                </a:extLst>
              </p:cNvPr>
              <p:cNvSpPr/>
              <p:nvPr/>
            </p:nvSpPr>
            <p:spPr bwMode="auto">
              <a:xfrm>
                <a:off x="10986117" y="2557903"/>
                <a:ext cx="396995" cy="396993"/>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9">
                <a:extLst>
                  <a:ext uri="{FF2B5EF4-FFF2-40B4-BE49-F238E27FC236}">
                    <a16:creationId xmlns:a16="http://schemas.microsoft.com/office/drawing/2014/main" id="{806A0721-E9FA-485A-BBEC-4BDC5CF3D937}"/>
                  </a:ext>
                </a:extLst>
              </p:cNvPr>
              <p:cNvSpPr/>
              <p:nvPr/>
            </p:nvSpPr>
            <p:spPr bwMode="auto">
              <a:xfrm rot="19667957">
                <a:off x="10868908" y="2668249"/>
                <a:ext cx="641116" cy="192973"/>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2E9F55DF-5484-457D-9A55-78A26DD57477}"/>
                  </a:ext>
                </a:extLst>
              </p:cNvPr>
              <p:cNvGrpSpPr/>
              <p:nvPr/>
            </p:nvGrpSpPr>
            <p:grpSpPr>
              <a:xfrm>
                <a:off x="6886063" y="2573483"/>
                <a:ext cx="466989" cy="397257"/>
                <a:chOff x="2107244" y="1575258"/>
                <a:chExt cx="310993" cy="264555"/>
              </a:xfrm>
            </p:grpSpPr>
            <p:sp>
              <p:nvSpPr>
                <p:cNvPr id="32" name="Rectangle 9">
                  <a:extLst>
                    <a:ext uri="{FF2B5EF4-FFF2-40B4-BE49-F238E27FC236}">
                      <a16:creationId xmlns:a16="http://schemas.microsoft.com/office/drawing/2014/main" id="{3D58681A-484E-4EB3-89D2-503894EF9D81}"/>
                    </a:ext>
                  </a:extLst>
                </p:cNvPr>
                <p:cNvSpPr>
                  <a:spLocks noChangeArrowheads="1"/>
                </p:cNvSpPr>
                <p:nvPr/>
              </p:nvSpPr>
              <p:spPr bwMode="auto">
                <a:xfrm>
                  <a:off x="2107244" y="1575258"/>
                  <a:ext cx="310993" cy="264555"/>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33" name="Line 10">
                  <a:extLst>
                    <a:ext uri="{FF2B5EF4-FFF2-40B4-BE49-F238E27FC236}">
                      <a16:creationId xmlns:a16="http://schemas.microsoft.com/office/drawing/2014/main" id="{147DCAD7-3063-4B7B-94C2-8C6B3C22CCBE}"/>
                    </a:ext>
                  </a:extLst>
                </p:cNvPr>
                <p:cNvSpPr>
                  <a:spLocks noChangeShapeType="1"/>
                </p:cNvSpPr>
                <p:nvPr/>
              </p:nvSpPr>
              <p:spPr bwMode="auto">
                <a:xfrm flipH="1">
                  <a:off x="2107244" y="1647026"/>
                  <a:ext cx="31099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10325A34-801A-411E-99A9-70B32AAB8D61}"/>
                  </a:ext>
                </a:extLst>
              </p:cNvPr>
              <p:cNvGrpSpPr/>
              <p:nvPr/>
            </p:nvGrpSpPr>
            <p:grpSpPr>
              <a:xfrm>
                <a:off x="7156537" y="2609406"/>
                <a:ext cx="143689" cy="35923"/>
                <a:chOff x="2287367" y="1599181"/>
                <a:chExt cx="95690" cy="23923"/>
              </a:xfrm>
              <a:solidFill>
                <a:schemeClr val="tx2"/>
              </a:solidFill>
            </p:grpSpPr>
            <p:sp>
              <p:nvSpPr>
                <p:cNvPr id="29" name="Oval 11">
                  <a:extLst>
                    <a:ext uri="{FF2B5EF4-FFF2-40B4-BE49-F238E27FC236}">
                      <a16:creationId xmlns:a16="http://schemas.microsoft.com/office/drawing/2014/main" id="{4304F001-4ED7-4C72-B379-EF014DB09FF6}"/>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30" name="Oval 12">
                  <a:extLst>
                    <a:ext uri="{FF2B5EF4-FFF2-40B4-BE49-F238E27FC236}">
                      <a16:creationId xmlns:a16="http://schemas.microsoft.com/office/drawing/2014/main" id="{E40EFB7B-96FC-4D06-A8F9-DFCF8B8A9AAB}"/>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31" name="Oval 13">
                  <a:extLst>
                    <a:ext uri="{FF2B5EF4-FFF2-40B4-BE49-F238E27FC236}">
                      <a16:creationId xmlns:a16="http://schemas.microsoft.com/office/drawing/2014/main" id="{DCE8157D-AA2E-4BE0-AAF9-ED5713BCD5A0}"/>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sp>
            <p:nvSpPr>
              <p:cNvPr id="36" name="Freeform 216">
                <a:extLst>
                  <a:ext uri="{FF2B5EF4-FFF2-40B4-BE49-F238E27FC236}">
                    <a16:creationId xmlns:a16="http://schemas.microsoft.com/office/drawing/2014/main" id="{E8E0DD4C-7FAE-4058-838F-CF719A4422B2}"/>
                  </a:ext>
                </a:extLst>
              </p:cNvPr>
              <p:cNvSpPr/>
              <p:nvPr/>
            </p:nvSpPr>
            <p:spPr bwMode="auto">
              <a:xfrm>
                <a:off x="7803905" y="2504426"/>
                <a:ext cx="485379" cy="485379"/>
              </a:xfrm>
              <a:prstGeom prst="octagon">
                <a:avLst/>
              </a:prstGeom>
              <a:noFill/>
              <a:ln w="12700">
                <a:solidFill>
                  <a:schemeClr val="tx2"/>
                </a:solidFill>
                <a:headEnd type="none" w="med" len="med"/>
                <a:tailEnd type="non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7" name="Straight Arrow Connector 36">
                <a:extLst>
                  <a:ext uri="{FF2B5EF4-FFF2-40B4-BE49-F238E27FC236}">
                    <a16:creationId xmlns:a16="http://schemas.microsoft.com/office/drawing/2014/main" id="{06F18905-43CB-4FA6-B7FC-CABFB8C561DB}"/>
                  </a:ext>
                </a:extLst>
              </p:cNvPr>
              <p:cNvCxnSpPr>
                <a:cxnSpLocks/>
              </p:cNvCxnSpPr>
              <p:nvPr/>
            </p:nvCxnSpPr>
            <p:spPr>
              <a:xfrm>
                <a:off x="7881954" y="2569946"/>
                <a:ext cx="195998" cy="201415"/>
              </a:xfrm>
              <a:prstGeom prst="straightConnector1">
                <a:avLst/>
              </a:prstGeom>
              <a:ln w="127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5893E18-F0F4-4442-ADC0-1E4BBFD6F319}"/>
                  </a:ext>
                </a:extLst>
              </p:cNvPr>
              <p:cNvCxnSpPr/>
              <p:nvPr/>
            </p:nvCxnSpPr>
            <p:spPr>
              <a:xfrm flipH="1" flipV="1">
                <a:off x="8128212" y="2693947"/>
                <a:ext cx="161072" cy="154829"/>
              </a:xfrm>
              <a:prstGeom prst="straightConnector1">
                <a:avLst/>
              </a:prstGeom>
              <a:ln w="127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B59CFC2E-56EC-435E-993A-364D5B64F3FE}"/>
                  </a:ext>
                </a:extLst>
              </p:cNvPr>
              <p:cNvCxnSpPr/>
              <p:nvPr/>
            </p:nvCxnSpPr>
            <p:spPr>
              <a:xfrm flipH="1" flipV="1">
                <a:off x="7962275" y="2804181"/>
                <a:ext cx="183655" cy="185624"/>
              </a:xfrm>
              <a:prstGeom prst="straightConnector1">
                <a:avLst/>
              </a:prstGeom>
              <a:ln w="127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41" name="Freeform 220">
                <a:extLst>
                  <a:ext uri="{FF2B5EF4-FFF2-40B4-BE49-F238E27FC236}">
                    <a16:creationId xmlns:a16="http://schemas.microsoft.com/office/drawing/2014/main" id="{C34CBDE1-87A0-4FC0-AC8B-1FEF7EE33274}"/>
                  </a:ext>
                </a:extLst>
              </p:cNvPr>
              <p:cNvSpPr/>
              <p:nvPr/>
            </p:nvSpPr>
            <p:spPr bwMode="auto">
              <a:xfrm>
                <a:off x="8767721" y="1348650"/>
                <a:ext cx="542334" cy="542334"/>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Freeform: Shape 41">
                <a:extLst>
                  <a:ext uri="{FF2B5EF4-FFF2-40B4-BE49-F238E27FC236}">
                    <a16:creationId xmlns:a16="http://schemas.microsoft.com/office/drawing/2014/main" id="{6291363E-4852-4059-90A7-B80F2464B9D0}"/>
                  </a:ext>
                </a:extLst>
              </p:cNvPr>
              <p:cNvSpPr/>
              <p:nvPr/>
            </p:nvSpPr>
            <p:spPr bwMode="auto">
              <a:xfrm>
                <a:off x="8929035" y="1371549"/>
                <a:ext cx="365956" cy="341231"/>
              </a:xfrm>
              <a:custGeom>
                <a:avLst/>
                <a:gdLst>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Lst>
                <a:ahLst/>
                <a:cxnLst>
                  <a:cxn ang="0">
                    <a:pos x="connsiteX0" y="connsiteY0"/>
                  </a:cxn>
                  <a:cxn ang="0">
                    <a:pos x="connsiteX1" y="connsiteY1"/>
                  </a:cxn>
                </a:cxnLst>
                <a:rect l="l" t="t" r="r" b="b"/>
                <a:pathLst>
                  <a:path w="402771" h="375558">
                    <a:moveTo>
                      <a:pt x="0" y="0"/>
                    </a:moveTo>
                    <a:cubicBezTo>
                      <a:pt x="117928" y="153761"/>
                      <a:pt x="263071" y="270783"/>
                      <a:pt x="402771" y="375558"/>
                    </a:cubicBezTo>
                  </a:path>
                </a:pathLst>
              </a:custGeom>
              <a:noFill/>
              <a:ln w="12700" cap="rnd">
                <a:solidFill>
                  <a:schemeClr val="tx2"/>
                </a:solidFill>
                <a:miter lim="800000"/>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Freeform: Shape 42">
                <a:extLst>
                  <a:ext uri="{FF2B5EF4-FFF2-40B4-BE49-F238E27FC236}">
                    <a16:creationId xmlns:a16="http://schemas.microsoft.com/office/drawing/2014/main" id="{DF212F3B-9F67-4719-95ED-24BD32CE3799}"/>
                  </a:ext>
                </a:extLst>
              </p:cNvPr>
              <p:cNvSpPr/>
              <p:nvPr/>
            </p:nvSpPr>
            <p:spPr bwMode="auto">
              <a:xfrm>
                <a:off x="8834611" y="1444568"/>
                <a:ext cx="418130" cy="341231"/>
              </a:xfrm>
              <a:custGeom>
                <a:avLst/>
                <a:gdLst>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7592"/>
                  <a:gd name="connsiteY0" fmla="*/ 0 h 375558"/>
                  <a:gd name="connsiteX1" fmla="*/ 407592 w 407592"/>
                  <a:gd name="connsiteY1" fmla="*/ 375558 h 375558"/>
                  <a:gd name="connsiteX0" fmla="*/ 0 w 407592"/>
                  <a:gd name="connsiteY0" fmla="*/ 0 h 375558"/>
                  <a:gd name="connsiteX1" fmla="*/ 407592 w 407592"/>
                  <a:gd name="connsiteY1" fmla="*/ 375558 h 375558"/>
                </a:gdLst>
                <a:ahLst/>
                <a:cxnLst>
                  <a:cxn ang="0">
                    <a:pos x="connsiteX0" y="connsiteY0"/>
                  </a:cxn>
                  <a:cxn ang="0">
                    <a:pos x="connsiteX1" y="connsiteY1"/>
                  </a:cxn>
                </a:cxnLst>
                <a:rect l="l" t="t" r="r" b="b"/>
                <a:pathLst>
                  <a:path w="407592" h="375558">
                    <a:moveTo>
                      <a:pt x="0" y="0"/>
                    </a:moveTo>
                    <a:cubicBezTo>
                      <a:pt x="28744" y="304800"/>
                      <a:pt x="266686" y="374197"/>
                      <a:pt x="407592" y="375558"/>
                    </a:cubicBezTo>
                  </a:path>
                </a:pathLst>
              </a:custGeom>
              <a:noFill/>
              <a:ln w="12700" cap="rnd">
                <a:solidFill>
                  <a:schemeClr val="tx2"/>
                </a:solidFill>
                <a:miter lim="800000"/>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Freeform: Shape 43">
                <a:extLst>
                  <a:ext uri="{FF2B5EF4-FFF2-40B4-BE49-F238E27FC236}">
                    <a16:creationId xmlns:a16="http://schemas.microsoft.com/office/drawing/2014/main" id="{26E61074-F208-4701-9B1F-07202D44AFC5}"/>
                  </a:ext>
                </a:extLst>
              </p:cNvPr>
              <p:cNvSpPr/>
              <p:nvPr/>
            </p:nvSpPr>
            <p:spPr bwMode="auto">
              <a:xfrm flipV="1">
                <a:off x="8844818" y="1426968"/>
                <a:ext cx="382315" cy="383281"/>
              </a:xfrm>
              <a:custGeom>
                <a:avLst/>
                <a:gdLst>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7592"/>
                  <a:gd name="connsiteY0" fmla="*/ 0 h 375558"/>
                  <a:gd name="connsiteX1" fmla="*/ 407592 w 407592"/>
                  <a:gd name="connsiteY1" fmla="*/ 375558 h 375558"/>
                  <a:gd name="connsiteX0" fmla="*/ 0 w 407592"/>
                  <a:gd name="connsiteY0" fmla="*/ 0 h 375558"/>
                  <a:gd name="connsiteX1" fmla="*/ 407592 w 407592"/>
                  <a:gd name="connsiteY1" fmla="*/ 375558 h 375558"/>
                </a:gdLst>
                <a:ahLst/>
                <a:cxnLst>
                  <a:cxn ang="0">
                    <a:pos x="connsiteX0" y="connsiteY0"/>
                  </a:cxn>
                  <a:cxn ang="0">
                    <a:pos x="connsiteX1" y="connsiteY1"/>
                  </a:cxn>
                </a:cxnLst>
                <a:rect l="l" t="t" r="r" b="b"/>
                <a:pathLst>
                  <a:path w="407592" h="375558">
                    <a:moveTo>
                      <a:pt x="0" y="0"/>
                    </a:moveTo>
                    <a:cubicBezTo>
                      <a:pt x="28744" y="304800"/>
                      <a:pt x="266686" y="374197"/>
                      <a:pt x="407592" y="375558"/>
                    </a:cubicBezTo>
                  </a:path>
                </a:pathLst>
              </a:custGeom>
              <a:noFill/>
              <a:ln w="12700" cap="rnd">
                <a:solidFill>
                  <a:schemeClr val="tx2"/>
                </a:solidFill>
                <a:miter lim="800000"/>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220">
                <a:extLst>
                  <a:ext uri="{FF2B5EF4-FFF2-40B4-BE49-F238E27FC236}">
                    <a16:creationId xmlns:a16="http://schemas.microsoft.com/office/drawing/2014/main" id="{27A8879B-86A6-4422-9420-759CB2C8E6D4}"/>
                  </a:ext>
                </a:extLst>
              </p:cNvPr>
              <p:cNvSpPr/>
              <p:nvPr/>
            </p:nvSpPr>
            <p:spPr bwMode="auto">
              <a:xfrm>
                <a:off x="8832561" y="1555919"/>
                <a:ext cx="139746" cy="139746"/>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Freeform 220">
                <a:extLst>
                  <a:ext uri="{FF2B5EF4-FFF2-40B4-BE49-F238E27FC236}">
                    <a16:creationId xmlns:a16="http://schemas.microsoft.com/office/drawing/2014/main" id="{B9621E1C-562B-4865-854C-01C2BA0DD3BC}"/>
                  </a:ext>
                </a:extLst>
              </p:cNvPr>
              <p:cNvSpPr/>
              <p:nvPr/>
            </p:nvSpPr>
            <p:spPr bwMode="auto">
              <a:xfrm>
                <a:off x="9136144" y="1580491"/>
                <a:ext cx="100494" cy="100494"/>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Freeform 220">
                <a:extLst>
                  <a:ext uri="{FF2B5EF4-FFF2-40B4-BE49-F238E27FC236}">
                    <a16:creationId xmlns:a16="http://schemas.microsoft.com/office/drawing/2014/main" id="{F69A2B71-937D-4CC8-B30C-8B084287B276}"/>
                  </a:ext>
                </a:extLst>
              </p:cNvPr>
              <p:cNvSpPr/>
              <p:nvPr/>
            </p:nvSpPr>
            <p:spPr bwMode="auto">
              <a:xfrm>
                <a:off x="9024946" y="1717348"/>
                <a:ext cx="91358" cy="9135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 name="Freeform 220">
                <a:extLst>
                  <a:ext uri="{FF2B5EF4-FFF2-40B4-BE49-F238E27FC236}">
                    <a16:creationId xmlns:a16="http://schemas.microsoft.com/office/drawing/2014/main" id="{9AAEA4D8-3EB0-444D-A5AC-79F952E77DC9}"/>
                  </a:ext>
                </a:extLst>
              </p:cNvPr>
              <p:cNvSpPr/>
              <p:nvPr/>
            </p:nvSpPr>
            <p:spPr bwMode="auto">
              <a:xfrm>
                <a:off x="8767721" y="2412562"/>
                <a:ext cx="542334" cy="542334"/>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F90B9650-D811-4DF8-A403-FDE62A9676EA}"/>
                  </a:ext>
                </a:extLst>
              </p:cNvPr>
              <p:cNvSpPr/>
              <p:nvPr/>
            </p:nvSpPr>
            <p:spPr bwMode="auto">
              <a:xfrm>
                <a:off x="8929035" y="2435461"/>
                <a:ext cx="365956" cy="341231"/>
              </a:xfrm>
              <a:custGeom>
                <a:avLst/>
                <a:gdLst>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Lst>
                <a:ahLst/>
                <a:cxnLst>
                  <a:cxn ang="0">
                    <a:pos x="connsiteX0" y="connsiteY0"/>
                  </a:cxn>
                  <a:cxn ang="0">
                    <a:pos x="connsiteX1" y="connsiteY1"/>
                  </a:cxn>
                </a:cxnLst>
                <a:rect l="l" t="t" r="r" b="b"/>
                <a:pathLst>
                  <a:path w="402771" h="375558">
                    <a:moveTo>
                      <a:pt x="0" y="0"/>
                    </a:moveTo>
                    <a:cubicBezTo>
                      <a:pt x="117928" y="153761"/>
                      <a:pt x="263071" y="270783"/>
                      <a:pt x="402771" y="375558"/>
                    </a:cubicBezTo>
                  </a:path>
                </a:pathLst>
              </a:custGeom>
              <a:noFill/>
              <a:ln w="12700" cap="rnd">
                <a:solidFill>
                  <a:schemeClr val="tx2"/>
                </a:solidFill>
                <a:miter lim="800000"/>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1" name="Freeform: Shape 50">
                <a:extLst>
                  <a:ext uri="{FF2B5EF4-FFF2-40B4-BE49-F238E27FC236}">
                    <a16:creationId xmlns:a16="http://schemas.microsoft.com/office/drawing/2014/main" id="{6818DB2E-484F-479E-BCDE-A7A0822583C8}"/>
                  </a:ext>
                </a:extLst>
              </p:cNvPr>
              <p:cNvSpPr/>
              <p:nvPr/>
            </p:nvSpPr>
            <p:spPr bwMode="auto">
              <a:xfrm>
                <a:off x="8834611" y="2508480"/>
                <a:ext cx="418130" cy="341231"/>
              </a:xfrm>
              <a:custGeom>
                <a:avLst/>
                <a:gdLst>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7592"/>
                  <a:gd name="connsiteY0" fmla="*/ 0 h 375558"/>
                  <a:gd name="connsiteX1" fmla="*/ 407592 w 407592"/>
                  <a:gd name="connsiteY1" fmla="*/ 375558 h 375558"/>
                  <a:gd name="connsiteX0" fmla="*/ 0 w 407592"/>
                  <a:gd name="connsiteY0" fmla="*/ 0 h 375558"/>
                  <a:gd name="connsiteX1" fmla="*/ 407592 w 407592"/>
                  <a:gd name="connsiteY1" fmla="*/ 375558 h 375558"/>
                </a:gdLst>
                <a:ahLst/>
                <a:cxnLst>
                  <a:cxn ang="0">
                    <a:pos x="connsiteX0" y="connsiteY0"/>
                  </a:cxn>
                  <a:cxn ang="0">
                    <a:pos x="connsiteX1" y="connsiteY1"/>
                  </a:cxn>
                </a:cxnLst>
                <a:rect l="l" t="t" r="r" b="b"/>
                <a:pathLst>
                  <a:path w="407592" h="375558">
                    <a:moveTo>
                      <a:pt x="0" y="0"/>
                    </a:moveTo>
                    <a:cubicBezTo>
                      <a:pt x="28744" y="304800"/>
                      <a:pt x="266686" y="374197"/>
                      <a:pt x="407592" y="375558"/>
                    </a:cubicBezTo>
                  </a:path>
                </a:pathLst>
              </a:custGeom>
              <a:noFill/>
              <a:ln w="12700" cap="rnd">
                <a:solidFill>
                  <a:schemeClr val="tx2"/>
                </a:solidFill>
                <a:miter lim="800000"/>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2" name="Freeform: Shape 51">
                <a:extLst>
                  <a:ext uri="{FF2B5EF4-FFF2-40B4-BE49-F238E27FC236}">
                    <a16:creationId xmlns:a16="http://schemas.microsoft.com/office/drawing/2014/main" id="{CF9FDA63-1432-4BD7-8024-47A5E6A17B3C}"/>
                  </a:ext>
                </a:extLst>
              </p:cNvPr>
              <p:cNvSpPr/>
              <p:nvPr/>
            </p:nvSpPr>
            <p:spPr bwMode="auto">
              <a:xfrm flipV="1">
                <a:off x="8844818" y="2490880"/>
                <a:ext cx="382315" cy="383281"/>
              </a:xfrm>
              <a:custGeom>
                <a:avLst/>
                <a:gdLst>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7592"/>
                  <a:gd name="connsiteY0" fmla="*/ 0 h 375558"/>
                  <a:gd name="connsiteX1" fmla="*/ 407592 w 407592"/>
                  <a:gd name="connsiteY1" fmla="*/ 375558 h 375558"/>
                  <a:gd name="connsiteX0" fmla="*/ 0 w 407592"/>
                  <a:gd name="connsiteY0" fmla="*/ 0 h 375558"/>
                  <a:gd name="connsiteX1" fmla="*/ 407592 w 407592"/>
                  <a:gd name="connsiteY1" fmla="*/ 375558 h 375558"/>
                </a:gdLst>
                <a:ahLst/>
                <a:cxnLst>
                  <a:cxn ang="0">
                    <a:pos x="connsiteX0" y="connsiteY0"/>
                  </a:cxn>
                  <a:cxn ang="0">
                    <a:pos x="connsiteX1" y="connsiteY1"/>
                  </a:cxn>
                </a:cxnLst>
                <a:rect l="l" t="t" r="r" b="b"/>
                <a:pathLst>
                  <a:path w="407592" h="375558">
                    <a:moveTo>
                      <a:pt x="0" y="0"/>
                    </a:moveTo>
                    <a:cubicBezTo>
                      <a:pt x="28744" y="304800"/>
                      <a:pt x="266686" y="374197"/>
                      <a:pt x="407592" y="375558"/>
                    </a:cubicBezTo>
                  </a:path>
                </a:pathLst>
              </a:custGeom>
              <a:noFill/>
              <a:ln w="12700" cap="rnd">
                <a:solidFill>
                  <a:schemeClr val="tx2"/>
                </a:solidFill>
                <a:miter lim="800000"/>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3" name="Freeform 220">
                <a:extLst>
                  <a:ext uri="{FF2B5EF4-FFF2-40B4-BE49-F238E27FC236}">
                    <a16:creationId xmlns:a16="http://schemas.microsoft.com/office/drawing/2014/main" id="{8592CCCB-65ED-4849-B67D-BC525F5B6555}"/>
                  </a:ext>
                </a:extLst>
              </p:cNvPr>
              <p:cNvSpPr/>
              <p:nvPr/>
            </p:nvSpPr>
            <p:spPr bwMode="auto">
              <a:xfrm>
                <a:off x="8832561" y="2619831"/>
                <a:ext cx="139746" cy="139746"/>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Freeform 220">
                <a:extLst>
                  <a:ext uri="{FF2B5EF4-FFF2-40B4-BE49-F238E27FC236}">
                    <a16:creationId xmlns:a16="http://schemas.microsoft.com/office/drawing/2014/main" id="{C0AAB5A8-588A-4FA6-88D7-B79077ADBA3F}"/>
                  </a:ext>
                </a:extLst>
              </p:cNvPr>
              <p:cNvSpPr/>
              <p:nvPr/>
            </p:nvSpPr>
            <p:spPr bwMode="auto">
              <a:xfrm>
                <a:off x="9136144" y="2644403"/>
                <a:ext cx="100494" cy="100494"/>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 name="Freeform 220">
                <a:extLst>
                  <a:ext uri="{FF2B5EF4-FFF2-40B4-BE49-F238E27FC236}">
                    <a16:creationId xmlns:a16="http://schemas.microsoft.com/office/drawing/2014/main" id="{73A288F3-50CF-4581-89F9-66AEAC7026EF}"/>
                  </a:ext>
                </a:extLst>
              </p:cNvPr>
              <p:cNvSpPr/>
              <p:nvPr/>
            </p:nvSpPr>
            <p:spPr bwMode="auto">
              <a:xfrm>
                <a:off x="9024946" y="2781260"/>
                <a:ext cx="91358" cy="9135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7" name="Freeform 220">
                <a:extLst>
                  <a:ext uri="{FF2B5EF4-FFF2-40B4-BE49-F238E27FC236}">
                    <a16:creationId xmlns:a16="http://schemas.microsoft.com/office/drawing/2014/main" id="{7A1878E4-121E-4EE1-9353-E1C7B3C374CC}"/>
                  </a:ext>
                </a:extLst>
              </p:cNvPr>
              <p:cNvSpPr/>
              <p:nvPr/>
            </p:nvSpPr>
            <p:spPr bwMode="auto">
              <a:xfrm>
                <a:off x="8767721" y="3589581"/>
                <a:ext cx="542334" cy="542334"/>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9D59633C-3805-4A60-A857-65D262325253}"/>
                  </a:ext>
                </a:extLst>
              </p:cNvPr>
              <p:cNvSpPr/>
              <p:nvPr/>
            </p:nvSpPr>
            <p:spPr bwMode="auto">
              <a:xfrm>
                <a:off x="8929035" y="3612480"/>
                <a:ext cx="365956" cy="341231"/>
              </a:xfrm>
              <a:custGeom>
                <a:avLst/>
                <a:gdLst>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Lst>
                <a:ahLst/>
                <a:cxnLst>
                  <a:cxn ang="0">
                    <a:pos x="connsiteX0" y="connsiteY0"/>
                  </a:cxn>
                  <a:cxn ang="0">
                    <a:pos x="connsiteX1" y="connsiteY1"/>
                  </a:cxn>
                </a:cxnLst>
                <a:rect l="l" t="t" r="r" b="b"/>
                <a:pathLst>
                  <a:path w="402771" h="375558">
                    <a:moveTo>
                      <a:pt x="0" y="0"/>
                    </a:moveTo>
                    <a:cubicBezTo>
                      <a:pt x="117928" y="153761"/>
                      <a:pt x="263071" y="270783"/>
                      <a:pt x="402771" y="375558"/>
                    </a:cubicBezTo>
                  </a:path>
                </a:pathLst>
              </a:custGeom>
              <a:noFill/>
              <a:ln w="12700" cap="rnd">
                <a:solidFill>
                  <a:schemeClr val="tx2"/>
                </a:solidFill>
                <a:miter lim="800000"/>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9" name="Freeform: Shape 58">
                <a:extLst>
                  <a:ext uri="{FF2B5EF4-FFF2-40B4-BE49-F238E27FC236}">
                    <a16:creationId xmlns:a16="http://schemas.microsoft.com/office/drawing/2014/main" id="{4BAC8A80-BC0A-45E3-BA63-7E8D475D252C}"/>
                  </a:ext>
                </a:extLst>
              </p:cNvPr>
              <p:cNvSpPr/>
              <p:nvPr/>
            </p:nvSpPr>
            <p:spPr bwMode="auto">
              <a:xfrm>
                <a:off x="8834611" y="3685499"/>
                <a:ext cx="418130" cy="341231"/>
              </a:xfrm>
              <a:custGeom>
                <a:avLst/>
                <a:gdLst>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7592"/>
                  <a:gd name="connsiteY0" fmla="*/ 0 h 375558"/>
                  <a:gd name="connsiteX1" fmla="*/ 407592 w 407592"/>
                  <a:gd name="connsiteY1" fmla="*/ 375558 h 375558"/>
                  <a:gd name="connsiteX0" fmla="*/ 0 w 407592"/>
                  <a:gd name="connsiteY0" fmla="*/ 0 h 375558"/>
                  <a:gd name="connsiteX1" fmla="*/ 407592 w 407592"/>
                  <a:gd name="connsiteY1" fmla="*/ 375558 h 375558"/>
                </a:gdLst>
                <a:ahLst/>
                <a:cxnLst>
                  <a:cxn ang="0">
                    <a:pos x="connsiteX0" y="connsiteY0"/>
                  </a:cxn>
                  <a:cxn ang="0">
                    <a:pos x="connsiteX1" y="connsiteY1"/>
                  </a:cxn>
                </a:cxnLst>
                <a:rect l="l" t="t" r="r" b="b"/>
                <a:pathLst>
                  <a:path w="407592" h="375558">
                    <a:moveTo>
                      <a:pt x="0" y="0"/>
                    </a:moveTo>
                    <a:cubicBezTo>
                      <a:pt x="28744" y="304800"/>
                      <a:pt x="266686" y="374197"/>
                      <a:pt x="407592" y="375558"/>
                    </a:cubicBezTo>
                  </a:path>
                </a:pathLst>
              </a:custGeom>
              <a:noFill/>
              <a:ln w="12700" cap="rnd">
                <a:solidFill>
                  <a:schemeClr val="tx2"/>
                </a:solidFill>
                <a:miter lim="800000"/>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0" name="Freeform: Shape 59">
                <a:extLst>
                  <a:ext uri="{FF2B5EF4-FFF2-40B4-BE49-F238E27FC236}">
                    <a16:creationId xmlns:a16="http://schemas.microsoft.com/office/drawing/2014/main" id="{78FD8A5E-E1B3-41DB-A1DE-12178672C7F7}"/>
                  </a:ext>
                </a:extLst>
              </p:cNvPr>
              <p:cNvSpPr/>
              <p:nvPr/>
            </p:nvSpPr>
            <p:spPr bwMode="auto">
              <a:xfrm flipV="1">
                <a:off x="8844818" y="3667899"/>
                <a:ext cx="382315" cy="383281"/>
              </a:xfrm>
              <a:custGeom>
                <a:avLst/>
                <a:gdLst>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2771"/>
                  <a:gd name="connsiteY0" fmla="*/ 0 h 375558"/>
                  <a:gd name="connsiteX1" fmla="*/ 402771 w 402771"/>
                  <a:gd name="connsiteY1" fmla="*/ 375558 h 375558"/>
                  <a:gd name="connsiteX0" fmla="*/ 0 w 407592"/>
                  <a:gd name="connsiteY0" fmla="*/ 0 h 375558"/>
                  <a:gd name="connsiteX1" fmla="*/ 407592 w 407592"/>
                  <a:gd name="connsiteY1" fmla="*/ 375558 h 375558"/>
                  <a:gd name="connsiteX0" fmla="*/ 0 w 407592"/>
                  <a:gd name="connsiteY0" fmla="*/ 0 h 375558"/>
                  <a:gd name="connsiteX1" fmla="*/ 407592 w 407592"/>
                  <a:gd name="connsiteY1" fmla="*/ 375558 h 375558"/>
                </a:gdLst>
                <a:ahLst/>
                <a:cxnLst>
                  <a:cxn ang="0">
                    <a:pos x="connsiteX0" y="connsiteY0"/>
                  </a:cxn>
                  <a:cxn ang="0">
                    <a:pos x="connsiteX1" y="connsiteY1"/>
                  </a:cxn>
                </a:cxnLst>
                <a:rect l="l" t="t" r="r" b="b"/>
                <a:pathLst>
                  <a:path w="407592" h="375558">
                    <a:moveTo>
                      <a:pt x="0" y="0"/>
                    </a:moveTo>
                    <a:cubicBezTo>
                      <a:pt x="28744" y="304800"/>
                      <a:pt x="266686" y="374197"/>
                      <a:pt x="407592" y="375558"/>
                    </a:cubicBezTo>
                  </a:path>
                </a:pathLst>
              </a:custGeom>
              <a:noFill/>
              <a:ln w="12700" cap="rnd">
                <a:solidFill>
                  <a:schemeClr val="tx2"/>
                </a:solidFill>
                <a:miter lim="800000"/>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1" name="Freeform 220">
                <a:extLst>
                  <a:ext uri="{FF2B5EF4-FFF2-40B4-BE49-F238E27FC236}">
                    <a16:creationId xmlns:a16="http://schemas.microsoft.com/office/drawing/2014/main" id="{1C6AB179-99DD-439C-88F2-3B0DC2CDA021}"/>
                  </a:ext>
                </a:extLst>
              </p:cNvPr>
              <p:cNvSpPr/>
              <p:nvPr/>
            </p:nvSpPr>
            <p:spPr bwMode="auto">
              <a:xfrm>
                <a:off x="8832561" y="3796850"/>
                <a:ext cx="139746" cy="139746"/>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Freeform 220">
                <a:extLst>
                  <a:ext uri="{FF2B5EF4-FFF2-40B4-BE49-F238E27FC236}">
                    <a16:creationId xmlns:a16="http://schemas.microsoft.com/office/drawing/2014/main" id="{E3B877DC-3A92-4228-84FE-77C4BC07BC19}"/>
                  </a:ext>
                </a:extLst>
              </p:cNvPr>
              <p:cNvSpPr/>
              <p:nvPr/>
            </p:nvSpPr>
            <p:spPr bwMode="auto">
              <a:xfrm>
                <a:off x="9136144" y="3821422"/>
                <a:ext cx="100494" cy="100494"/>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3" name="Freeform 220">
                <a:extLst>
                  <a:ext uri="{FF2B5EF4-FFF2-40B4-BE49-F238E27FC236}">
                    <a16:creationId xmlns:a16="http://schemas.microsoft.com/office/drawing/2014/main" id="{D67D0AC1-D92D-4497-A94F-BCB2579BDE34}"/>
                  </a:ext>
                </a:extLst>
              </p:cNvPr>
              <p:cNvSpPr/>
              <p:nvPr/>
            </p:nvSpPr>
            <p:spPr bwMode="auto">
              <a:xfrm>
                <a:off x="9024946" y="3958279"/>
                <a:ext cx="91358" cy="91358"/>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34" name="Straight Arrow Connector 33">
              <a:extLst>
                <a:ext uri="{FF2B5EF4-FFF2-40B4-BE49-F238E27FC236}">
                  <a16:creationId xmlns:a16="http://schemas.microsoft.com/office/drawing/2014/main" id="{CA03F62D-D191-481D-84BB-69B62EC38332}"/>
                </a:ext>
              </a:extLst>
            </p:cNvPr>
            <p:cNvCxnSpPr/>
            <p:nvPr/>
          </p:nvCxnSpPr>
          <p:spPr>
            <a:xfrm>
              <a:off x="7466952" y="2744897"/>
              <a:ext cx="246299"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8" name="Straight Arrow Connector 67">
              <a:extLst>
                <a:ext uri="{FF2B5EF4-FFF2-40B4-BE49-F238E27FC236}">
                  <a16:creationId xmlns:a16="http://schemas.microsoft.com/office/drawing/2014/main" id="{DBCD4B1E-6F9D-41BE-B30E-FCA9156DEB13}"/>
                </a:ext>
              </a:extLst>
            </p:cNvPr>
            <p:cNvCxnSpPr>
              <a:cxnSpLocks/>
            </p:cNvCxnSpPr>
            <p:nvPr/>
          </p:nvCxnSpPr>
          <p:spPr>
            <a:xfrm>
              <a:off x="9602862" y="2744897"/>
              <a:ext cx="91440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7" name="Straight Arrow Connector 66">
              <a:extLst>
                <a:ext uri="{FF2B5EF4-FFF2-40B4-BE49-F238E27FC236}">
                  <a16:creationId xmlns:a16="http://schemas.microsoft.com/office/drawing/2014/main" id="{77439760-0AAC-4A2D-9ECC-EF5E46989A16}"/>
                </a:ext>
              </a:extLst>
            </p:cNvPr>
            <p:cNvCxnSpPr/>
            <p:nvPr/>
          </p:nvCxnSpPr>
          <p:spPr>
            <a:xfrm>
              <a:off x="8396436" y="2744897"/>
              <a:ext cx="252544"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9" name="Connector: Elbow 68">
              <a:extLst>
                <a:ext uri="{FF2B5EF4-FFF2-40B4-BE49-F238E27FC236}">
                  <a16:creationId xmlns:a16="http://schemas.microsoft.com/office/drawing/2014/main" id="{009A4A19-3F85-4CF8-A11E-8F4E621357B8}"/>
                </a:ext>
              </a:extLst>
            </p:cNvPr>
            <p:cNvCxnSpPr/>
            <p:nvPr/>
          </p:nvCxnSpPr>
          <p:spPr>
            <a:xfrm rot="5400000" flipH="1" flipV="1">
              <a:off x="8006170" y="1640623"/>
              <a:ext cx="651771" cy="600893"/>
            </a:xfrm>
            <a:prstGeom prst="bentConnector3">
              <a:avLst>
                <a:gd name="adj1" fmla="val 100633"/>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3" name="Connector: Elbow 72">
              <a:extLst>
                <a:ext uri="{FF2B5EF4-FFF2-40B4-BE49-F238E27FC236}">
                  <a16:creationId xmlns:a16="http://schemas.microsoft.com/office/drawing/2014/main" id="{35EEC2BB-2148-4950-BF5A-A4D42DA88D72}"/>
                </a:ext>
              </a:extLst>
            </p:cNvPr>
            <p:cNvCxnSpPr>
              <a:cxnSpLocks/>
            </p:cNvCxnSpPr>
            <p:nvPr/>
          </p:nvCxnSpPr>
          <p:spPr>
            <a:xfrm>
              <a:off x="8031608" y="3452397"/>
              <a:ext cx="630007" cy="414326"/>
            </a:xfrm>
            <a:prstGeom prst="bentConnector3">
              <a:avLst>
                <a:gd name="adj1" fmla="val -199"/>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6" name="Straight Arrow Connector 75">
              <a:extLst>
                <a:ext uri="{FF2B5EF4-FFF2-40B4-BE49-F238E27FC236}">
                  <a16:creationId xmlns:a16="http://schemas.microsoft.com/office/drawing/2014/main" id="{C1B9E04B-A163-485A-9BA5-2ED7DD4ED83D}"/>
                </a:ext>
              </a:extLst>
            </p:cNvPr>
            <p:cNvCxnSpPr>
              <a:cxnSpLocks/>
            </p:cNvCxnSpPr>
            <p:nvPr/>
          </p:nvCxnSpPr>
          <p:spPr>
            <a:xfrm>
              <a:off x="9602862" y="3838761"/>
              <a:ext cx="91440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7" name="Straight Arrow Connector 76">
              <a:extLst>
                <a:ext uri="{FF2B5EF4-FFF2-40B4-BE49-F238E27FC236}">
                  <a16:creationId xmlns:a16="http://schemas.microsoft.com/office/drawing/2014/main" id="{2F0CA1DC-150E-4BB9-A8EC-ED490044BF67}"/>
                </a:ext>
              </a:extLst>
            </p:cNvPr>
            <p:cNvCxnSpPr>
              <a:cxnSpLocks/>
            </p:cNvCxnSpPr>
            <p:nvPr/>
          </p:nvCxnSpPr>
          <p:spPr>
            <a:xfrm>
              <a:off x="9602862" y="1616529"/>
              <a:ext cx="914400"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8" name="Straight Arrow Connector 77">
              <a:extLst>
                <a:ext uri="{FF2B5EF4-FFF2-40B4-BE49-F238E27FC236}">
                  <a16:creationId xmlns:a16="http://schemas.microsoft.com/office/drawing/2014/main" id="{04D3961D-E12D-451F-B643-119BA51F7FF3}"/>
                </a:ext>
              </a:extLst>
            </p:cNvPr>
            <p:cNvCxnSpPr>
              <a:cxnSpLocks/>
            </p:cNvCxnSpPr>
            <p:nvPr/>
          </p:nvCxnSpPr>
          <p:spPr>
            <a:xfrm>
              <a:off x="9602862" y="1712780"/>
              <a:ext cx="756557" cy="828958"/>
            </a:xfrm>
            <a:prstGeom prst="straightConnector1">
              <a:avLst/>
            </a:prstGeom>
            <a:noFill/>
            <a:ln w="19050" cap="sq">
              <a:solidFill>
                <a:schemeClr val="bg1">
                  <a:lumMod val="50000"/>
                </a:schemeClr>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9" name="Straight Arrow Connector 78">
              <a:extLst>
                <a:ext uri="{FF2B5EF4-FFF2-40B4-BE49-F238E27FC236}">
                  <a16:creationId xmlns:a16="http://schemas.microsoft.com/office/drawing/2014/main" id="{CF311767-F7A8-4044-89DB-69E18E640179}"/>
                </a:ext>
              </a:extLst>
            </p:cNvPr>
            <p:cNvCxnSpPr>
              <a:cxnSpLocks/>
            </p:cNvCxnSpPr>
            <p:nvPr/>
          </p:nvCxnSpPr>
          <p:spPr>
            <a:xfrm>
              <a:off x="9602862" y="1846130"/>
              <a:ext cx="756557" cy="1871341"/>
            </a:xfrm>
            <a:prstGeom prst="straightConnector1">
              <a:avLst/>
            </a:prstGeom>
            <a:noFill/>
            <a:ln w="19050" cap="sq">
              <a:solidFill>
                <a:schemeClr val="bg1">
                  <a:lumMod val="50000"/>
                </a:schemeClr>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84" name="Straight Arrow Connector 83">
              <a:extLst>
                <a:ext uri="{FF2B5EF4-FFF2-40B4-BE49-F238E27FC236}">
                  <a16:creationId xmlns:a16="http://schemas.microsoft.com/office/drawing/2014/main" id="{CC17EECA-8290-46B3-99CA-076CCC0C7855}"/>
                </a:ext>
              </a:extLst>
            </p:cNvPr>
            <p:cNvCxnSpPr>
              <a:cxnSpLocks/>
            </p:cNvCxnSpPr>
            <p:nvPr/>
          </p:nvCxnSpPr>
          <p:spPr>
            <a:xfrm flipV="1">
              <a:off x="9602862" y="1971396"/>
              <a:ext cx="765052" cy="688113"/>
            </a:xfrm>
            <a:prstGeom prst="straightConnector1">
              <a:avLst/>
            </a:prstGeom>
            <a:noFill/>
            <a:ln w="19050" cap="sq">
              <a:solidFill>
                <a:schemeClr val="bg1">
                  <a:lumMod val="50000"/>
                </a:schemeClr>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85" name="Straight Arrow Connector 84">
              <a:extLst>
                <a:ext uri="{FF2B5EF4-FFF2-40B4-BE49-F238E27FC236}">
                  <a16:creationId xmlns:a16="http://schemas.microsoft.com/office/drawing/2014/main" id="{1620F015-9CFB-44EC-BF51-17A27ADF4E1A}"/>
                </a:ext>
              </a:extLst>
            </p:cNvPr>
            <p:cNvCxnSpPr>
              <a:cxnSpLocks/>
            </p:cNvCxnSpPr>
            <p:nvPr/>
          </p:nvCxnSpPr>
          <p:spPr>
            <a:xfrm>
              <a:off x="9602862" y="2792859"/>
              <a:ext cx="765052" cy="630847"/>
            </a:xfrm>
            <a:prstGeom prst="straightConnector1">
              <a:avLst/>
            </a:prstGeom>
            <a:noFill/>
            <a:ln w="19050" cap="sq">
              <a:solidFill>
                <a:schemeClr val="bg1">
                  <a:lumMod val="50000"/>
                </a:schemeClr>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86" name="Straight Arrow Connector 85">
              <a:extLst>
                <a:ext uri="{FF2B5EF4-FFF2-40B4-BE49-F238E27FC236}">
                  <a16:creationId xmlns:a16="http://schemas.microsoft.com/office/drawing/2014/main" id="{0D37FD5B-09FA-4FB3-8470-AC1C1F1EAE26}"/>
                </a:ext>
              </a:extLst>
            </p:cNvPr>
            <p:cNvCxnSpPr>
              <a:cxnSpLocks/>
            </p:cNvCxnSpPr>
            <p:nvPr/>
          </p:nvCxnSpPr>
          <p:spPr>
            <a:xfrm flipV="1">
              <a:off x="9602862" y="2920502"/>
              <a:ext cx="756557" cy="828958"/>
            </a:xfrm>
            <a:prstGeom prst="straightConnector1">
              <a:avLst/>
            </a:prstGeom>
            <a:noFill/>
            <a:ln w="19050" cap="sq">
              <a:solidFill>
                <a:schemeClr val="bg1">
                  <a:lumMod val="50000"/>
                </a:schemeClr>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87" name="Straight Arrow Connector 86">
              <a:extLst>
                <a:ext uri="{FF2B5EF4-FFF2-40B4-BE49-F238E27FC236}">
                  <a16:creationId xmlns:a16="http://schemas.microsoft.com/office/drawing/2014/main" id="{7DED7B7F-21AC-4A58-BF23-6C85B741107E}"/>
                </a:ext>
              </a:extLst>
            </p:cNvPr>
            <p:cNvCxnSpPr>
              <a:cxnSpLocks/>
            </p:cNvCxnSpPr>
            <p:nvPr/>
          </p:nvCxnSpPr>
          <p:spPr>
            <a:xfrm flipV="1">
              <a:off x="9602862" y="1744769"/>
              <a:ext cx="756557" cy="1871341"/>
            </a:xfrm>
            <a:prstGeom prst="straightConnector1">
              <a:avLst/>
            </a:prstGeom>
            <a:noFill/>
            <a:ln w="19050" cap="sq">
              <a:solidFill>
                <a:schemeClr val="bg1">
                  <a:lumMod val="50000"/>
                </a:schemeClr>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pic>
        <p:nvPicPr>
          <p:cNvPr id="92" name="Picture 6" descr="File:Domino's stacked.svg">
            <a:extLst>
              <a:ext uri="{FF2B5EF4-FFF2-40B4-BE49-F238E27FC236}">
                <a16:creationId xmlns:a16="http://schemas.microsoft.com/office/drawing/2014/main" id="{B41B5B2F-FDD5-48A9-9A9D-995381ADAD6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236361" y="5907388"/>
            <a:ext cx="697604" cy="709230"/>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descr="http://images.pocketgamer.co.uk/sm/2016/3/66000/original.png">
            <a:extLst>
              <a:ext uri="{FF2B5EF4-FFF2-40B4-BE49-F238E27FC236}">
                <a16:creationId xmlns:a16="http://schemas.microsoft.com/office/drawing/2014/main" id="{2ABA16EE-FCDC-4C52-9FD4-0E1996C9883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69239" y="6056663"/>
            <a:ext cx="1736248" cy="40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9541905"/>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14:presetBounceEnd="50000">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14:bounceEnd="50000">
                                          <p:cBhvr additive="base">
                                            <p:cTn id="7"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507480" cy="899665"/>
          </a:xfrm>
        </p:spPr>
        <p:txBody>
          <a:bodyPr/>
          <a:lstStyle/>
          <a:p>
            <a:pPr algn="l"/>
            <a:r>
              <a:rPr lang="en-US" dirty="0"/>
              <a:t>MIGRATE </a:t>
            </a:r>
            <a:r>
              <a:rPr lang="en-US" dirty="0" err="1"/>
              <a:t>nosql</a:t>
            </a:r>
            <a:endParaRPr lang="en-US" dirty="0"/>
          </a:p>
        </p:txBody>
      </p:sp>
      <p:sp>
        <p:nvSpPr>
          <p:cNvPr id="3" name="Content Placeholder 2"/>
          <p:cNvSpPr>
            <a:spLocks noGrp="1"/>
          </p:cNvSpPr>
          <p:nvPr>
            <p:ph type="body" sz="quarter" idx="10"/>
          </p:nvPr>
        </p:nvSpPr>
        <p:spPr>
          <a:xfrm>
            <a:off x="269239" y="1925685"/>
            <a:ext cx="5610189" cy="3024418"/>
          </a:xfrm>
        </p:spPr>
        <p:txBody>
          <a:bodyPr/>
          <a:lstStyle/>
          <a:p>
            <a:r>
              <a:rPr lang="en-US" sz="1600" dirty="0">
                <a:latin typeface="+mn-lt"/>
              </a:rPr>
              <a:t>Make data modernization easy with seamless migration of NoSQL workloads to cloud.</a:t>
            </a:r>
          </a:p>
          <a:p>
            <a:endParaRPr lang="en-US" sz="1600" dirty="0">
              <a:solidFill>
                <a:schemeClr val="tx1"/>
              </a:solidFill>
              <a:latin typeface="+mn-lt"/>
            </a:endParaRPr>
          </a:p>
          <a:p>
            <a:pPr marL="285750" lvl="1" indent="-285750">
              <a:spcBef>
                <a:spcPts val="1600"/>
              </a:spcBef>
              <a:buFont typeface="Arial" charset="0"/>
              <a:buChar char="•"/>
            </a:pPr>
            <a:r>
              <a:rPr lang="en-US" sz="1600" dirty="0"/>
              <a:t>Azure Cosmos DB MongoDB API, Cassandra API, and SQL API bring app data from existing NoSQL deployments</a:t>
            </a:r>
          </a:p>
          <a:p>
            <a:pPr marL="285750" lvl="1" indent="-285750">
              <a:spcBef>
                <a:spcPts val="1600"/>
              </a:spcBef>
              <a:buFont typeface="Arial" charset="0"/>
              <a:buChar char="•"/>
            </a:pPr>
            <a:r>
              <a:rPr lang="en-US" sz="1600" dirty="0"/>
              <a:t>Leverage existing tools, drivers, and libraries, and continue using existing apps’ current SDKs</a:t>
            </a:r>
          </a:p>
          <a:p>
            <a:pPr marL="285750" lvl="1" indent="-285750">
              <a:spcBef>
                <a:spcPts val="1000"/>
              </a:spcBef>
              <a:buFont typeface="Arial" charset="0"/>
              <a:buChar char="•"/>
            </a:pPr>
            <a:r>
              <a:rPr lang="en-US" sz="1600" dirty="0"/>
              <a:t>Turnkey geo-replication</a:t>
            </a:r>
          </a:p>
          <a:p>
            <a:pPr marL="285750" lvl="1" indent="-285750">
              <a:spcBef>
                <a:spcPts val="1000"/>
              </a:spcBef>
              <a:buFont typeface="Arial" charset="0"/>
              <a:buChar char="•"/>
            </a:pPr>
            <a:r>
              <a:rPr lang="en-US" sz="1600" dirty="0"/>
              <a:t>No infrastructure or VM management required</a:t>
            </a:r>
          </a:p>
        </p:txBody>
      </p:sp>
      <p:sp>
        <p:nvSpPr>
          <p:cNvPr id="28" name="TextBox 27">
            <a:extLst>
              <a:ext uri="{FF2B5EF4-FFF2-40B4-BE49-F238E27FC236}">
                <a16:creationId xmlns:a16="http://schemas.microsoft.com/office/drawing/2014/main" id="{194E51DA-ECE2-4DCD-962E-3F412C96A91A}"/>
              </a:ext>
            </a:extLst>
          </p:cNvPr>
          <p:cNvSpPr txBox="1"/>
          <p:nvPr/>
        </p:nvSpPr>
        <p:spPr>
          <a:xfrm>
            <a:off x="6608506" y="3122951"/>
            <a:ext cx="1300583"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mn-ea"/>
                <a:cs typeface="+mn-cs"/>
              </a:rPr>
              <a:t>DynamoDB</a:t>
            </a:r>
          </a:p>
        </p:txBody>
      </p:sp>
      <p:grpSp>
        <p:nvGrpSpPr>
          <p:cNvPr id="6" name="Group 5">
            <a:extLst>
              <a:ext uri="{FF2B5EF4-FFF2-40B4-BE49-F238E27FC236}">
                <a16:creationId xmlns:a16="http://schemas.microsoft.com/office/drawing/2014/main" id="{082C120B-9031-49DF-BDA0-FCB50B2F4632}"/>
              </a:ext>
            </a:extLst>
          </p:cNvPr>
          <p:cNvGrpSpPr/>
          <p:nvPr/>
        </p:nvGrpSpPr>
        <p:grpSpPr>
          <a:xfrm>
            <a:off x="6597070" y="2328126"/>
            <a:ext cx="5152450" cy="2718717"/>
            <a:chOff x="6597070" y="2328126"/>
            <a:chExt cx="5152450" cy="2718717"/>
          </a:xfrm>
        </p:grpSpPr>
        <p:grpSp>
          <p:nvGrpSpPr>
            <p:cNvPr id="5" name="Group 4">
              <a:extLst>
                <a:ext uri="{FF2B5EF4-FFF2-40B4-BE49-F238E27FC236}">
                  <a16:creationId xmlns:a16="http://schemas.microsoft.com/office/drawing/2014/main" id="{D7F73E70-C999-490E-837F-7C1A0C690B43}"/>
                </a:ext>
              </a:extLst>
            </p:cNvPr>
            <p:cNvGrpSpPr/>
            <p:nvPr/>
          </p:nvGrpSpPr>
          <p:grpSpPr>
            <a:xfrm>
              <a:off x="6616073" y="2733109"/>
              <a:ext cx="5133447" cy="2177702"/>
              <a:chOff x="6496278" y="2276474"/>
              <a:chExt cx="5133447" cy="2177702"/>
            </a:xfrm>
          </p:grpSpPr>
          <p:grpSp>
            <p:nvGrpSpPr>
              <p:cNvPr id="10" name="Group 9">
                <a:extLst>
                  <a:ext uri="{FF2B5EF4-FFF2-40B4-BE49-F238E27FC236}">
                    <a16:creationId xmlns:a16="http://schemas.microsoft.com/office/drawing/2014/main" id="{9B7C9BCE-A55C-43FA-86A4-15F0F6B935C7}"/>
                  </a:ext>
                </a:extLst>
              </p:cNvPr>
              <p:cNvGrpSpPr/>
              <p:nvPr/>
            </p:nvGrpSpPr>
            <p:grpSpPr>
              <a:xfrm>
                <a:off x="10435774" y="2547257"/>
                <a:ext cx="882798" cy="760904"/>
                <a:chOff x="8376458" y="5925518"/>
                <a:chExt cx="1045926" cy="901512"/>
              </a:xfrm>
            </p:grpSpPr>
            <p:sp>
              <p:nvSpPr>
                <p:cNvPr id="11" name="Star: 4 Points 8">
                  <a:extLst>
                    <a:ext uri="{FF2B5EF4-FFF2-40B4-BE49-F238E27FC236}">
                      <a16:creationId xmlns:a16="http://schemas.microsoft.com/office/drawing/2014/main" id="{6CCB4DEC-D776-417D-887A-3E8D78CA228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Star: 4 Points 8">
                  <a:extLst>
                    <a:ext uri="{FF2B5EF4-FFF2-40B4-BE49-F238E27FC236}">
                      <a16:creationId xmlns:a16="http://schemas.microsoft.com/office/drawing/2014/main" id="{FC36AD3B-4B61-4A27-80FD-C355EDDDD9B6}"/>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a:extLst>
                    <a:ext uri="{FF2B5EF4-FFF2-40B4-BE49-F238E27FC236}">
                      <a16:creationId xmlns:a16="http://schemas.microsoft.com/office/drawing/2014/main" id="{E5235BA0-2DD3-4FFF-8EDD-39286A0173A3}"/>
                    </a:ext>
                  </a:extLst>
                </p:cNvPr>
                <p:cNvSpPr/>
                <p:nvPr/>
              </p:nvSpPr>
              <p:spPr bwMode="auto">
                <a:xfrm>
                  <a:off x="8567675" y="6095745"/>
                  <a:ext cx="647663" cy="647662"/>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9">
                  <a:extLst>
                    <a:ext uri="{FF2B5EF4-FFF2-40B4-BE49-F238E27FC236}">
                      <a16:creationId xmlns:a16="http://schemas.microsoft.com/office/drawing/2014/main" id="{E51260D1-7EAC-4471-A9B7-BAF50A24E70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5" name="Straight Arrow Connector 14">
                <a:extLst>
                  <a:ext uri="{FF2B5EF4-FFF2-40B4-BE49-F238E27FC236}">
                    <a16:creationId xmlns:a16="http://schemas.microsoft.com/office/drawing/2014/main" id="{C257B6D2-BB52-4296-83BE-B20B3C0389D2}"/>
                  </a:ext>
                </a:extLst>
              </p:cNvPr>
              <p:cNvCxnSpPr>
                <a:cxnSpLocks/>
              </p:cNvCxnSpPr>
              <p:nvPr/>
            </p:nvCxnSpPr>
            <p:spPr>
              <a:xfrm>
                <a:off x="7892035" y="3033842"/>
                <a:ext cx="2307792" cy="0"/>
              </a:xfrm>
              <a:prstGeom prst="straightConnector1">
                <a:avLst/>
              </a:prstGeom>
              <a:noFill/>
              <a:ln w="19050" cap="sq">
                <a:solidFill>
                  <a:schemeClr val="bg1">
                    <a:lumMod val="50000"/>
                  </a:schemeClr>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9" name="Group 18">
                <a:extLst>
                  <a:ext uri="{FF2B5EF4-FFF2-40B4-BE49-F238E27FC236}">
                    <a16:creationId xmlns:a16="http://schemas.microsoft.com/office/drawing/2014/main" id="{7CF3FBED-15B9-4BDE-9268-FDC939ABEEAB}"/>
                  </a:ext>
                </a:extLst>
              </p:cNvPr>
              <p:cNvGrpSpPr/>
              <p:nvPr/>
            </p:nvGrpSpPr>
            <p:grpSpPr>
              <a:xfrm>
                <a:off x="8899640" y="2526975"/>
                <a:ext cx="292582" cy="358161"/>
                <a:chOff x="3257702" y="4407633"/>
                <a:chExt cx="403310" cy="493707"/>
              </a:xfrm>
            </p:grpSpPr>
            <p:grpSp>
              <p:nvGrpSpPr>
                <p:cNvPr id="20" name="Group 19">
                  <a:extLst>
                    <a:ext uri="{FF2B5EF4-FFF2-40B4-BE49-F238E27FC236}">
                      <a16:creationId xmlns:a16="http://schemas.microsoft.com/office/drawing/2014/main" id="{4ED97AF1-AAE4-4437-B342-F56AC2297CF7}"/>
                    </a:ext>
                  </a:extLst>
                </p:cNvPr>
                <p:cNvGrpSpPr/>
                <p:nvPr/>
              </p:nvGrpSpPr>
              <p:grpSpPr>
                <a:xfrm>
                  <a:off x="3257702" y="4407633"/>
                  <a:ext cx="403310" cy="493707"/>
                  <a:chOff x="3003960" y="3685414"/>
                  <a:chExt cx="403310" cy="493707"/>
                </a:xfrm>
              </p:grpSpPr>
              <p:sp>
                <p:nvSpPr>
                  <p:cNvPr id="22" name="Snip Single Corner Rectangle 26">
                    <a:extLst>
                      <a:ext uri="{FF2B5EF4-FFF2-40B4-BE49-F238E27FC236}">
                        <a16:creationId xmlns:a16="http://schemas.microsoft.com/office/drawing/2014/main" id="{7321B4C6-76B0-4ACD-9DF4-74C97D4F44D9}"/>
                      </a:ext>
                    </a:extLst>
                  </p:cNvPr>
                  <p:cNvSpPr/>
                  <p:nvPr/>
                </p:nvSpPr>
                <p:spPr bwMode="auto">
                  <a:xfrm flipH="1">
                    <a:off x="3003960" y="3685414"/>
                    <a:ext cx="403310" cy="493707"/>
                  </a:xfrm>
                  <a:prstGeom prst="snip1Rect">
                    <a:avLst>
                      <a:gd name="adj" fmla="val 28736"/>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Triangle 27">
                    <a:extLst>
                      <a:ext uri="{FF2B5EF4-FFF2-40B4-BE49-F238E27FC236}">
                        <a16:creationId xmlns:a16="http://schemas.microsoft.com/office/drawing/2014/main" id="{0174BC34-20CC-4EF8-8E57-9C7026727EDF}"/>
                      </a:ext>
                    </a:extLst>
                  </p:cNvPr>
                  <p:cNvSpPr/>
                  <p:nvPr/>
                </p:nvSpPr>
                <p:spPr bwMode="auto">
                  <a:xfrm rot="8100000">
                    <a:off x="3012552" y="3733609"/>
                    <a:ext cx="160049" cy="80930"/>
                  </a:xfrm>
                  <a:prstGeom prst="triangl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1" name="Double Brace 20">
                  <a:extLst>
                    <a:ext uri="{FF2B5EF4-FFF2-40B4-BE49-F238E27FC236}">
                      <a16:creationId xmlns:a16="http://schemas.microsoft.com/office/drawing/2014/main" id="{81F978DA-58E4-4D51-B95E-E1FF45ED6182}"/>
                    </a:ext>
                  </a:extLst>
                </p:cNvPr>
                <p:cNvSpPr/>
                <p:nvPr/>
              </p:nvSpPr>
              <p:spPr>
                <a:xfrm>
                  <a:off x="3395189" y="4569259"/>
                  <a:ext cx="151075" cy="210347"/>
                </a:xfrm>
                <a:prstGeom prst="bracePair">
                  <a:avLst>
                    <a:gd name="adj" fmla="val 17708"/>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4" name="TextBox 23">
                <a:extLst>
                  <a:ext uri="{FF2B5EF4-FFF2-40B4-BE49-F238E27FC236}">
                    <a16:creationId xmlns:a16="http://schemas.microsoft.com/office/drawing/2014/main" id="{96F048FC-FB32-EF47-B12F-CBCA89DE539F}"/>
                  </a:ext>
                </a:extLst>
              </p:cNvPr>
              <p:cNvSpPr txBox="1"/>
              <p:nvPr/>
            </p:nvSpPr>
            <p:spPr>
              <a:xfrm>
                <a:off x="8395640" y="3082768"/>
                <a:ext cx="1300583" cy="23852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gradFill>
                      <a:gsLst>
                        <a:gs pos="2917">
                          <a:srgbClr val="505050"/>
                        </a:gs>
                        <a:gs pos="30000">
                          <a:srgbClr val="505050"/>
                        </a:gs>
                      </a:gsLst>
                      <a:lin ang="5400000" scaled="0"/>
                    </a:gradFill>
                    <a:effectLst/>
                    <a:uLnTx/>
                    <a:uFillTx/>
                    <a:latin typeface="Segoe UI" charset="0"/>
                    <a:ea typeface="Segoe UI" charset="0"/>
                    <a:cs typeface="Segoe UI" charset="0"/>
                  </a:rPr>
                  <a:t>NoSQL wire protocol</a:t>
                </a:r>
              </a:p>
            </p:txBody>
          </p:sp>
          <p:sp>
            <p:nvSpPr>
              <p:cNvPr id="26" name="TextBox 25">
                <a:extLst>
                  <a:ext uri="{FF2B5EF4-FFF2-40B4-BE49-F238E27FC236}">
                    <a16:creationId xmlns:a16="http://schemas.microsoft.com/office/drawing/2014/main" id="{3E294C07-A327-E54F-949E-7D214F88B610}"/>
                  </a:ext>
                </a:extLst>
              </p:cNvPr>
              <p:cNvSpPr txBox="1"/>
              <p:nvPr/>
            </p:nvSpPr>
            <p:spPr>
              <a:xfrm>
                <a:off x="10133775" y="3407736"/>
                <a:ext cx="1495950" cy="1046440"/>
              </a:xfrm>
              <a:prstGeom prst="rect">
                <a:avLst/>
              </a:prstGeom>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zure Cosmos DB: </a:t>
                </a:r>
                <a:br>
                  <a:rPr kumimoji="0" lang="en-US" sz="9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br>
                <a:endParaRPr kumimoji="0" lang="en-US" sz="9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PI for MongoDB</a:t>
                </a:r>
                <a:br>
                  <a:rPr kumimoji="0" lang="en-US" sz="9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br>
                <a:r>
                  <a:rPr kumimoji="0" lang="en-US" sz="9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assandra API</a:t>
                </a:r>
                <a:br>
                  <a:rPr kumimoji="0" lang="en-US" sz="9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br>
                <a:r>
                  <a:rPr kumimoji="0" lang="en-US" sz="9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ore (SQL) API</a:t>
                </a:r>
                <a:br>
                  <a:rPr kumimoji="0" lang="en-US" sz="9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br>
                <a:endParaRPr kumimoji="0" lang="en-US" sz="9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5" name="TextBox 24">
                <a:extLst>
                  <a:ext uri="{FF2B5EF4-FFF2-40B4-BE49-F238E27FC236}">
                    <a16:creationId xmlns:a16="http://schemas.microsoft.com/office/drawing/2014/main" id="{93793567-4EFE-904F-BF0D-396C9C52D1BF}"/>
                  </a:ext>
                </a:extLst>
              </p:cNvPr>
              <p:cNvSpPr txBox="1"/>
              <p:nvPr/>
            </p:nvSpPr>
            <p:spPr>
              <a:xfrm>
                <a:off x="6496278" y="2276474"/>
                <a:ext cx="1300583"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mn-ea"/>
                    <a:cs typeface="+mn-cs"/>
                  </a:rPr>
                  <a:t>MongoDB</a:t>
                </a:r>
              </a:p>
            </p:txBody>
          </p:sp>
          <p:sp>
            <p:nvSpPr>
              <p:cNvPr id="4" name="Right Bracket 3"/>
              <p:cNvSpPr/>
              <p:nvPr/>
            </p:nvSpPr>
            <p:spPr>
              <a:xfrm>
                <a:off x="7833633" y="2285804"/>
                <a:ext cx="47105" cy="1494235"/>
              </a:xfrm>
              <a:prstGeom prst="rightBracket">
                <a:avLst>
                  <a:gd name="adj" fmla="val 0"/>
                </a:avLst>
              </a:prstGeom>
              <a:ln w="19050">
                <a:solidFill>
                  <a:schemeClr val="bg1">
                    <a:lumMod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29" name="TextBox 28">
              <a:extLst>
                <a:ext uri="{FF2B5EF4-FFF2-40B4-BE49-F238E27FC236}">
                  <a16:creationId xmlns:a16="http://schemas.microsoft.com/office/drawing/2014/main" id="{8939F374-ACD3-4D9F-B548-A89DC876D2C0}"/>
                </a:ext>
              </a:extLst>
            </p:cNvPr>
            <p:cNvSpPr txBox="1"/>
            <p:nvPr/>
          </p:nvSpPr>
          <p:spPr>
            <a:xfrm>
              <a:off x="6623626" y="3523273"/>
              <a:ext cx="1300583"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mn-ea"/>
                  <a:cs typeface="+mn-cs"/>
                </a:rPr>
                <a:t>Couchbase</a:t>
              </a:r>
            </a:p>
          </p:txBody>
        </p:sp>
        <p:sp>
          <p:nvSpPr>
            <p:cNvPr id="30" name="TextBox 29">
              <a:extLst>
                <a:ext uri="{FF2B5EF4-FFF2-40B4-BE49-F238E27FC236}">
                  <a16:creationId xmlns:a16="http://schemas.microsoft.com/office/drawing/2014/main" id="{0E5246B4-3DA3-4FC6-93B4-2DFD8086AB2D}"/>
                </a:ext>
              </a:extLst>
            </p:cNvPr>
            <p:cNvSpPr txBox="1"/>
            <p:nvPr/>
          </p:nvSpPr>
          <p:spPr>
            <a:xfrm>
              <a:off x="6669880" y="4677511"/>
              <a:ext cx="1300583"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mn-ea"/>
                  <a:cs typeface="+mn-cs"/>
                </a:rPr>
                <a:t>CouchDB</a:t>
              </a:r>
            </a:p>
          </p:txBody>
        </p:sp>
        <p:sp>
          <p:nvSpPr>
            <p:cNvPr id="31" name="TextBox 30">
              <a:extLst>
                <a:ext uri="{FF2B5EF4-FFF2-40B4-BE49-F238E27FC236}">
                  <a16:creationId xmlns:a16="http://schemas.microsoft.com/office/drawing/2014/main" id="{1AC3BC6E-2891-4EAF-AC97-8A6D80A32AB2}"/>
                </a:ext>
              </a:extLst>
            </p:cNvPr>
            <p:cNvSpPr txBox="1"/>
            <p:nvPr/>
          </p:nvSpPr>
          <p:spPr>
            <a:xfrm>
              <a:off x="6641548" y="3908786"/>
              <a:ext cx="1300583"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mn-ea"/>
                  <a:cs typeface="+mn-cs"/>
                </a:rPr>
                <a:t>Neo4j</a:t>
              </a:r>
            </a:p>
          </p:txBody>
        </p:sp>
        <p:sp>
          <p:nvSpPr>
            <p:cNvPr id="32" name="TextBox 31">
              <a:extLst>
                <a:ext uri="{FF2B5EF4-FFF2-40B4-BE49-F238E27FC236}">
                  <a16:creationId xmlns:a16="http://schemas.microsoft.com/office/drawing/2014/main" id="{2E0A8871-2BDE-4E8E-A159-C08C559A540D}"/>
                </a:ext>
              </a:extLst>
            </p:cNvPr>
            <p:cNvSpPr txBox="1"/>
            <p:nvPr/>
          </p:nvSpPr>
          <p:spPr>
            <a:xfrm>
              <a:off x="6670767" y="4282039"/>
              <a:ext cx="1300583"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mn-ea"/>
                  <a:cs typeface="+mn-cs"/>
                </a:rPr>
                <a:t>HBase</a:t>
              </a:r>
            </a:p>
          </p:txBody>
        </p:sp>
        <p:sp>
          <p:nvSpPr>
            <p:cNvPr id="33" name="TextBox 32">
              <a:extLst>
                <a:ext uri="{FF2B5EF4-FFF2-40B4-BE49-F238E27FC236}">
                  <a16:creationId xmlns:a16="http://schemas.microsoft.com/office/drawing/2014/main" id="{077A6785-5EB6-4E38-86C3-EF315B7CCF67}"/>
                </a:ext>
              </a:extLst>
            </p:cNvPr>
            <p:cNvSpPr txBox="1"/>
            <p:nvPr/>
          </p:nvSpPr>
          <p:spPr>
            <a:xfrm>
              <a:off x="6597070" y="2328126"/>
              <a:ext cx="1300583"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mn-ea"/>
                  <a:cs typeface="+mn-cs"/>
                </a:rPr>
                <a:t>Cassandra</a:t>
              </a:r>
            </a:p>
          </p:txBody>
        </p:sp>
      </p:grpSp>
    </p:spTree>
    <p:extLst>
      <p:ext uri="{BB962C8B-B14F-4D97-AF65-F5344CB8AC3E}">
        <p14:creationId xmlns:p14="http://schemas.microsoft.com/office/powerpoint/2010/main" val="3688777549"/>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99B793-0539-45A2-A683-6FAF2318596B}"/>
              </a:ext>
            </a:extLst>
          </p:cNvPr>
          <p:cNvSpPr>
            <a:spLocks noGrp="1"/>
          </p:cNvSpPr>
          <p:nvPr>
            <p:ph type="title"/>
          </p:nvPr>
        </p:nvSpPr>
        <p:spPr/>
        <p:txBody>
          <a:bodyPr/>
          <a:lstStyle/>
          <a:p>
            <a:r>
              <a:rPr lang="en-US" dirty="0"/>
              <a:t>All Common Use Cases &amp; Scenarios</a:t>
            </a:r>
          </a:p>
        </p:txBody>
      </p:sp>
      <p:sp>
        <p:nvSpPr>
          <p:cNvPr id="4" name="Text Placeholder 3">
            <a:extLst>
              <a:ext uri="{FF2B5EF4-FFF2-40B4-BE49-F238E27FC236}">
                <a16:creationId xmlns:a16="http://schemas.microsoft.com/office/drawing/2014/main" id="{E9F5782D-7E8C-4725-8B9E-68E416DB1544}"/>
              </a:ext>
            </a:extLst>
          </p:cNvPr>
          <p:cNvSpPr>
            <a:spLocks noGrp="1"/>
          </p:cNvSpPr>
          <p:nvPr>
            <p:ph type="body" sz="quarter" idx="10"/>
          </p:nvPr>
        </p:nvSpPr>
        <p:spPr>
          <a:xfrm>
            <a:off x="1236190" y="3024712"/>
            <a:ext cx="2006914" cy="3539430"/>
          </a:xfrm>
        </p:spPr>
        <p:txBody>
          <a:bodyPr/>
          <a:lstStyle/>
          <a:p>
            <a:r>
              <a:rPr lang="en-US" sz="1400" dirty="0">
                <a:latin typeface="+mn-lt"/>
              </a:rPr>
              <a:t>Personalization and recommendations</a:t>
            </a:r>
          </a:p>
          <a:p>
            <a:r>
              <a:rPr lang="en-US" sz="1400" dirty="0">
                <a:latin typeface="+mn-lt"/>
              </a:rPr>
              <a:t>Customer 360</a:t>
            </a:r>
          </a:p>
          <a:p>
            <a:r>
              <a:rPr lang="en-US" sz="1400" dirty="0">
                <a:latin typeface="+mn-lt"/>
              </a:rPr>
              <a:t>Order Processing Pipeline</a:t>
            </a:r>
          </a:p>
          <a:p>
            <a:r>
              <a:rPr lang="en-US" sz="1400" dirty="0">
                <a:latin typeface="+mn-lt"/>
              </a:rPr>
              <a:t>Product Catalog</a:t>
            </a:r>
          </a:p>
          <a:p>
            <a:r>
              <a:rPr lang="en-US" sz="1400" dirty="0">
                <a:solidFill>
                  <a:srgbClr val="505050"/>
                </a:solidFill>
                <a:latin typeface="+mn-lt"/>
              </a:rPr>
              <a:t>Supply Chain Management</a:t>
            </a:r>
          </a:p>
          <a:p>
            <a:r>
              <a:rPr lang="en-US" sz="1400" dirty="0">
                <a:latin typeface="+mn-lt"/>
              </a:rPr>
              <a:t>Real-time operational analytics</a:t>
            </a:r>
          </a:p>
        </p:txBody>
      </p:sp>
      <p:sp>
        <p:nvSpPr>
          <p:cNvPr id="5" name="Text Placeholder 4">
            <a:extLst>
              <a:ext uri="{FF2B5EF4-FFF2-40B4-BE49-F238E27FC236}">
                <a16:creationId xmlns:a16="http://schemas.microsoft.com/office/drawing/2014/main" id="{462A6875-0EAB-4FDB-99C7-EF6D7FA3AF04}"/>
              </a:ext>
            </a:extLst>
          </p:cNvPr>
          <p:cNvSpPr>
            <a:spLocks noGrp="1"/>
          </p:cNvSpPr>
          <p:nvPr>
            <p:ph type="body" sz="quarter" idx="11"/>
          </p:nvPr>
        </p:nvSpPr>
        <p:spPr>
          <a:xfrm>
            <a:off x="7593496" y="2851000"/>
            <a:ext cx="1916264" cy="1138773"/>
          </a:xfrm>
        </p:spPr>
        <p:txBody>
          <a:bodyPr/>
          <a:lstStyle/>
          <a:p>
            <a:r>
              <a:rPr lang="en-US" sz="1400" dirty="0">
                <a:latin typeface="+mn-lt"/>
              </a:rPr>
              <a:t>Audit Trail</a:t>
            </a:r>
          </a:p>
          <a:p>
            <a:r>
              <a:rPr lang="en-US" sz="1400" dirty="0">
                <a:latin typeface="+mn-lt"/>
              </a:rPr>
              <a:t>Tax Forms</a:t>
            </a:r>
          </a:p>
          <a:p>
            <a:r>
              <a:rPr lang="en-US" sz="1400" dirty="0">
                <a:latin typeface="+mn-lt"/>
              </a:rPr>
              <a:t>Risk Analysis</a:t>
            </a:r>
          </a:p>
        </p:txBody>
      </p:sp>
      <p:sp>
        <p:nvSpPr>
          <p:cNvPr id="6" name="Text Placeholder 3">
            <a:extLst>
              <a:ext uri="{FF2B5EF4-FFF2-40B4-BE49-F238E27FC236}">
                <a16:creationId xmlns:a16="http://schemas.microsoft.com/office/drawing/2014/main" id="{0DE1A8DE-2FC3-4EB0-A112-46EF66761DB0}"/>
              </a:ext>
            </a:extLst>
          </p:cNvPr>
          <p:cNvSpPr txBox="1">
            <a:spLocks/>
          </p:cNvSpPr>
          <p:nvPr/>
        </p:nvSpPr>
        <p:spPr>
          <a:xfrm>
            <a:off x="3243104" y="2959274"/>
            <a:ext cx="2058638" cy="1348061"/>
          </a:xfrm>
          <a:prstGeom prst="rect">
            <a:avLst/>
          </a:prstGeom>
        </p:spPr>
        <p:txBody>
          <a:bodyPr vert="horz" wrap="square" lIns="146304" tIns="91440" rIns="146304" bIns="91440" rtlCol="0">
            <a:spAutoFit/>
          </a:bodyPr>
          <a:lstStyle>
            <a:lvl1pPr marL="281623" marR="0" indent="-281623" algn="l" defTabSz="914367" rtl="0" eaLnBrk="1" fontAlgn="auto" latinLnBrk="0" hangingPunct="1">
              <a:lnSpc>
                <a:spcPct val="100000"/>
              </a:lnSpc>
              <a:spcBef>
                <a:spcPts val="1200"/>
              </a:spcBef>
              <a:spcAft>
                <a:spcPts val="0"/>
              </a:spcAft>
              <a:buClr>
                <a:schemeClr val="tx1"/>
              </a:buClr>
              <a:buSzPct val="90000"/>
              <a:buFont typeface="Arial" pitchFamily="34" charset="0"/>
              <a:buChar char="•"/>
              <a:tabLst/>
              <a:defRPr sz="3136" kern="1200" spc="0" baseline="0">
                <a:solidFill>
                  <a:schemeClr val="tx1"/>
                </a:solidFill>
                <a:latin typeface="+mj-lt"/>
                <a:ea typeface="+mn-ea"/>
                <a:cs typeface="+mn-cs"/>
              </a:defRPr>
            </a:lvl1pPr>
            <a:lvl2pPr marL="520602" marR="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685671" marR="0" indent="-165070" algn="l" defTabSz="914367" rtl="0" eaLnBrk="1" fontAlgn="auto" latinLnBrk="0" hangingPunct="1">
              <a:lnSpc>
                <a:spcPct val="10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863437" marR="0" indent="-17776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028506" marR="0" indent="-165070"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1623" marR="0" lvl="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Device Telemetry (IoT)</a:t>
            </a:r>
          </a:p>
          <a:p>
            <a:pPr marL="281623" marR="0" lvl="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Device Registry</a:t>
            </a:r>
          </a:p>
          <a:p>
            <a:pPr marL="281623" marR="0" lvl="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Supply Chain Management</a:t>
            </a:r>
          </a:p>
        </p:txBody>
      </p:sp>
      <p:sp>
        <p:nvSpPr>
          <p:cNvPr id="8" name="Text Placeholder 3">
            <a:extLst>
              <a:ext uri="{FF2B5EF4-FFF2-40B4-BE49-F238E27FC236}">
                <a16:creationId xmlns:a16="http://schemas.microsoft.com/office/drawing/2014/main" id="{C38FB294-01E9-42CB-A971-B890AD8B449C}"/>
              </a:ext>
            </a:extLst>
          </p:cNvPr>
          <p:cNvSpPr txBox="1">
            <a:spLocks/>
          </p:cNvSpPr>
          <p:nvPr/>
        </p:nvSpPr>
        <p:spPr>
          <a:xfrm>
            <a:off x="9740348" y="2959274"/>
            <a:ext cx="1980963" cy="1132618"/>
          </a:xfrm>
          <a:prstGeom prst="rect">
            <a:avLst/>
          </a:prstGeom>
        </p:spPr>
        <p:txBody>
          <a:bodyPr vert="horz" wrap="square" lIns="146304" tIns="91440" rIns="146304" bIns="91440" rtlCol="0">
            <a:spAutoFit/>
          </a:bodyPr>
          <a:lstStyle>
            <a:lvl1pPr marL="281623" marR="0" indent="-281623" algn="l" defTabSz="914367" rtl="0" eaLnBrk="1" fontAlgn="auto" latinLnBrk="0" hangingPunct="1">
              <a:lnSpc>
                <a:spcPct val="100000"/>
              </a:lnSpc>
              <a:spcBef>
                <a:spcPts val="1200"/>
              </a:spcBef>
              <a:spcAft>
                <a:spcPts val="0"/>
              </a:spcAft>
              <a:buClr>
                <a:schemeClr val="tx1"/>
              </a:buClr>
              <a:buSzPct val="90000"/>
              <a:buFont typeface="Arial" pitchFamily="34" charset="0"/>
              <a:buChar char="•"/>
              <a:tabLst/>
              <a:defRPr sz="3136" kern="1200" spc="0" baseline="0">
                <a:solidFill>
                  <a:schemeClr val="tx1"/>
                </a:solidFill>
                <a:latin typeface="+mj-lt"/>
                <a:ea typeface="+mn-ea"/>
                <a:cs typeface="+mn-cs"/>
              </a:defRPr>
            </a:lvl1pPr>
            <a:lvl2pPr marL="520602" marR="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685671" marR="0" indent="-165070" algn="l" defTabSz="914367" rtl="0" eaLnBrk="1" fontAlgn="auto" latinLnBrk="0" hangingPunct="1">
              <a:lnSpc>
                <a:spcPct val="10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863437" marR="0" indent="-17776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028506" marR="0" indent="-165070"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1623" marR="0" lvl="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Social Clans/Guilds</a:t>
            </a:r>
          </a:p>
          <a:p>
            <a:pPr marL="281623" marR="0" lvl="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Leaderboards</a:t>
            </a:r>
          </a:p>
          <a:p>
            <a:pPr marL="281623" marR="0" lvl="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Messaging</a:t>
            </a:r>
          </a:p>
        </p:txBody>
      </p:sp>
      <p:graphicFrame>
        <p:nvGraphicFramePr>
          <p:cNvPr id="10" name="Content Placeholder 3">
            <a:extLst>
              <a:ext uri="{FF2B5EF4-FFF2-40B4-BE49-F238E27FC236}">
                <a16:creationId xmlns:a16="http://schemas.microsoft.com/office/drawing/2014/main" id="{D3D56737-A3B7-4DD4-BD87-744759B928F2}"/>
              </a:ext>
            </a:extLst>
          </p:cNvPr>
          <p:cNvGraphicFramePr>
            <a:graphicFrameLocks/>
          </p:cNvGraphicFramePr>
          <p:nvPr/>
        </p:nvGraphicFramePr>
        <p:xfrm>
          <a:off x="1208598" y="1493521"/>
          <a:ext cx="10440062" cy="14961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040966CB-C87E-46D1-97E6-3AC2452F0A3A}"/>
              </a:ext>
            </a:extLst>
          </p:cNvPr>
          <p:cNvSpPr txBox="1"/>
          <p:nvPr/>
        </p:nvSpPr>
        <p:spPr>
          <a:xfrm rot="16200000">
            <a:off x="-114271" y="1990663"/>
            <a:ext cx="1382538" cy="615516"/>
          </a:xfrm>
          <a:prstGeom prst="rect">
            <a:avLst/>
          </a:prstGeom>
          <a:noFill/>
        </p:spPr>
        <p:txBody>
          <a:bodyPr wrap="square" lIns="179285" tIns="143428" rIns="179285" bIns="143428" rtlCol="0">
            <a:spAutoFit/>
          </a:bodyPr>
          <a:lstStyle/>
          <a:p>
            <a:pPr marL="0" marR="0" lvl="0" indent="0" algn="r" defTabSz="914400" rtl="0" eaLnBrk="1" fontAlgn="auto" latinLnBrk="0" hangingPunct="1">
              <a:lnSpc>
                <a:spcPct val="90000"/>
              </a:lnSpc>
              <a:spcBef>
                <a:spcPts val="0"/>
              </a:spcBef>
              <a:spcAft>
                <a:spcPts val="588"/>
              </a:spcAft>
              <a:buClrTx/>
              <a:buSzTx/>
              <a:buFontTx/>
              <a:buNone/>
              <a:tabLst/>
              <a:defRPr/>
            </a:pPr>
            <a:r>
              <a:rPr kumimoji="0" lang="en-CA" sz="2353" b="1" i="0" u="none" strike="noStrike" kern="1200" cap="none" spc="0" normalizeH="0" baseline="0" noProof="0" dirty="0">
                <a:ln>
                  <a:noFill/>
                </a:ln>
                <a:gradFill>
                  <a:gsLst>
                    <a:gs pos="2917">
                      <a:prstClr val="black"/>
                    </a:gs>
                    <a:gs pos="30000">
                      <a:prstClr val="black"/>
                    </a:gs>
                  </a:gsLst>
                  <a:lin ang="5400000" scaled="0"/>
                </a:gradFill>
                <a:effectLst/>
                <a:uLnTx/>
                <a:uFillTx/>
                <a:latin typeface="+mj-lt"/>
                <a:ea typeface="+mn-ea"/>
                <a:cs typeface="+mn-cs"/>
              </a:rPr>
              <a:t>Sectors</a:t>
            </a:r>
            <a:endParaRPr kumimoji="0" lang="en-US" sz="2353" b="1" i="0" u="none" strike="noStrike" kern="1200" cap="none" spc="0" normalizeH="0" baseline="0" noProof="0" dirty="0">
              <a:ln>
                <a:noFill/>
              </a:ln>
              <a:gradFill>
                <a:gsLst>
                  <a:gs pos="2917">
                    <a:prstClr val="black"/>
                  </a:gs>
                  <a:gs pos="30000">
                    <a:prstClr val="black"/>
                  </a:gs>
                </a:gsLst>
                <a:lin ang="5400000" scaled="0"/>
              </a:gradFill>
              <a:effectLst/>
              <a:uLnTx/>
              <a:uFillTx/>
              <a:latin typeface="+mj-lt"/>
              <a:ea typeface="+mn-ea"/>
              <a:cs typeface="+mn-cs"/>
            </a:endParaRPr>
          </a:p>
        </p:txBody>
      </p:sp>
      <p:sp>
        <p:nvSpPr>
          <p:cNvPr id="12" name="Text Placeholder 3">
            <a:extLst>
              <a:ext uri="{FF2B5EF4-FFF2-40B4-BE49-F238E27FC236}">
                <a16:creationId xmlns:a16="http://schemas.microsoft.com/office/drawing/2014/main" id="{58AB64B6-0B16-4BA5-848E-E4D3C2F9660D}"/>
              </a:ext>
            </a:extLst>
          </p:cNvPr>
          <p:cNvSpPr txBox="1">
            <a:spLocks/>
          </p:cNvSpPr>
          <p:nvPr/>
        </p:nvSpPr>
        <p:spPr>
          <a:xfrm>
            <a:off x="5419564" y="2945596"/>
            <a:ext cx="2058638" cy="2511457"/>
          </a:xfrm>
          <a:prstGeom prst="rect">
            <a:avLst/>
          </a:prstGeom>
        </p:spPr>
        <p:txBody>
          <a:bodyPr vert="horz" wrap="square" lIns="146304" tIns="91440" rIns="146304" bIns="91440" rtlCol="0">
            <a:spAutoFit/>
          </a:bodyPr>
          <a:lstStyle>
            <a:lvl1pPr marL="281623" marR="0" indent="-281623" algn="l" defTabSz="914367" rtl="0" eaLnBrk="1" fontAlgn="auto" latinLnBrk="0" hangingPunct="1">
              <a:lnSpc>
                <a:spcPct val="100000"/>
              </a:lnSpc>
              <a:spcBef>
                <a:spcPts val="1200"/>
              </a:spcBef>
              <a:spcAft>
                <a:spcPts val="0"/>
              </a:spcAft>
              <a:buClr>
                <a:schemeClr val="tx1"/>
              </a:buClr>
              <a:buSzPct val="90000"/>
              <a:buFont typeface="Arial" pitchFamily="34" charset="0"/>
              <a:buChar char="•"/>
              <a:tabLst/>
              <a:defRPr sz="3136" kern="1200" spc="0" baseline="0">
                <a:solidFill>
                  <a:schemeClr val="tx1"/>
                </a:solidFill>
                <a:latin typeface="+mj-lt"/>
                <a:ea typeface="+mn-ea"/>
                <a:cs typeface="+mn-cs"/>
              </a:defRPr>
            </a:lvl1pPr>
            <a:lvl2pPr marL="520602" marR="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685671" marR="0" indent="-165070" algn="l" defTabSz="914367" rtl="0" eaLnBrk="1" fontAlgn="auto" latinLnBrk="0" hangingPunct="1">
              <a:lnSpc>
                <a:spcPct val="10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863437" marR="0" indent="-17776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028506" marR="0" indent="-165070"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1623" marR="0" lvl="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Device Telemetry (IoT)</a:t>
            </a:r>
          </a:p>
          <a:p>
            <a:pPr marL="281623" marR="0" lvl="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Device Registry</a:t>
            </a:r>
          </a:p>
          <a:p>
            <a:pPr marL="281623" marR="0" lvl="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Supply Chain Management</a:t>
            </a:r>
          </a:p>
          <a:p>
            <a:pPr marL="281623" marR="0" lvl="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Order Processing Pipeline</a:t>
            </a:r>
          </a:p>
          <a:p>
            <a:pPr marL="281623" marR="0" lvl="0" indent="-228557" algn="l" defTabSz="914367" rtl="0" eaLnBrk="1" fontAlgn="auto" latinLnBrk="0" hangingPunct="1">
              <a:lnSpc>
                <a:spcPct val="100000"/>
              </a:lnSpc>
              <a:spcBef>
                <a:spcPct val="20000"/>
              </a:spcBef>
              <a:spcAft>
                <a:spcPts val="0"/>
              </a:spcAft>
              <a:buClrTx/>
              <a:buSzPct val="90000"/>
              <a:buFont typeface="Arial"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Real-time operational analytics</a:t>
            </a:r>
          </a:p>
        </p:txBody>
      </p:sp>
    </p:spTree>
    <p:extLst>
      <p:ext uri="{BB962C8B-B14F-4D97-AF65-F5344CB8AC3E}">
        <p14:creationId xmlns:p14="http://schemas.microsoft.com/office/powerpoint/2010/main" val="349144377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7E1ADB3-0087-F912-B649-3CF342189AEF}"/>
              </a:ext>
            </a:extLst>
          </p:cNvPr>
          <p:cNvSpPr>
            <a:spLocks noGrp="1"/>
          </p:cNvSpPr>
          <p:nvPr>
            <p:ph type="title"/>
          </p:nvPr>
        </p:nvSpPr>
        <p:spPr>
          <a:xfrm>
            <a:off x="588263" y="866287"/>
            <a:ext cx="11018520" cy="553998"/>
          </a:xfrm>
        </p:spPr>
        <p:txBody>
          <a:bodyPr/>
          <a:lstStyle/>
          <a:p>
            <a:r>
              <a:rPr lang="en-US" dirty="0"/>
              <a:t>Azure Cosmos DB customer spanning industries</a:t>
            </a:r>
          </a:p>
        </p:txBody>
      </p:sp>
      <p:pic>
        <p:nvPicPr>
          <p:cNvPr id="5" name="Picture 4" descr="Logo, company name&#10;&#10;Description automatically generated">
            <a:extLst>
              <a:ext uri="{FF2B5EF4-FFF2-40B4-BE49-F238E27FC236}">
                <a16:creationId xmlns:a16="http://schemas.microsoft.com/office/drawing/2014/main" id="{F45FE224-5C09-188B-6812-A9DE8FF9A478}"/>
              </a:ext>
            </a:extLst>
          </p:cNvPr>
          <p:cNvPicPr>
            <a:picLocks noChangeAspect="1"/>
          </p:cNvPicPr>
          <p:nvPr/>
        </p:nvPicPr>
        <p:blipFill>
          <a:blip r:embed="rId2"/>
          <a:stretch>
            <a:fillRect/>
          </a:stretch>
        </p:blipFill>
        <p:spPr>
          <a:xfrm>
            <a:off x="-2381" y="2209435"/>
            <a:ext cx="12192000" cy="4008485"/>
          </a:xfrm>
          <a:prstGeom prst="rect">
            <a:avLst/>
          </a:prstGeom>
          <a:noFill/>
        </p:spPr>
      </p:pic>
    </p:spTree>
    <p:extLst>
      <p:ext uri="{BB962C8B-B14F-4D97-AF65-F5344CB8AC3E}">
        <p14:creationId xmlns:p14="http://schemas.microsoft.com/office/powerpoint/2010/main" val="299737731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790802" y="2760618"/>
            <a:ext cx="10852769" cy="1057166"/>
          </a:xfrm>
        </p:spPr>
        <p:txBody>
          <a:bodyPr/>
          <a:lstStyle/>
          <a:p>
            <a:pPr algn="ctr"/>
            <a:r>
              <a:rPr lang="en-US" sz="4800" dirty="0">
                <a:solidFill>
                  <a:schemeClr val="bg1"/>
                </a:solidFill>
                <a:latin typeface="+mn-lt"/>
              </a:rPr>
              <a:t>Demo Azure Portal &amp; System Internals</a:t>
            </a:r>
            <a:br>
              <a:rPr lang="en-US" sz="4800" dirty="0">
                <a:solidFill>
                  <a:schemeClr val="bg1"/>
                </a:solidFill>
                <a:latin typeface="+mn-lt"/>
              </a:rPr>
            </a:br>
            <a:endParaRPr lang="en-US" sz="4800" dirty="0">
              <a:solidFill>
                <a:schemeClr val="bg1"/>
              </a:solidFill>
              <a:latin typeface="+mn-lt"/>
            </a:endParaRPr>
          </a:p>
        </p:txBody>
      </p:sp>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2" name="Title 9">
            <a:extLst>
              <a:ext uri="{FF2B5EF4-FFF2-40B4-BE49-F238E27FC236}">
                <a16:creationId xmlns:a16="http://schemas.microsoft.com/office/drawing/2014/main" id="{68410213-2627-4B9C-924C-292F66A11726}"/>
              </a:ext>
            </a:extLst>
          </p:cNvPr>
          <p:cNvSpPr txBox="1">
            <a:spLocks/>
          </p:cNvSpPr>
          <p:nvPr/>
        </p:nvSpPr>
        <p:spPr>
          <a:xfrm>
            <a:off x="1339231" y="2964736"/>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dirty="0">
              <a:ln w="3175">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6F16C0E7-CD90-4716-9AB3-712BD732A74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B28A260A-40D2-40A1-A914-FE8EB22356CF}"/>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124598448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 name="Flowchart: Document 152"/>
          <p:cNvSpPr/>
          <p:nvPr/>
        </p:nvSpPr>
        <p:spPr>
          <a:xfrm>
            <a:off x="2476500" y="40386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00"/>
                </a:solidFill>
                <a:latin typeface="Segoe UI Light" panose="020B0502040204020203" pitchFamily="34" charset="0"/>
                <a:cs typeface="Segoe UI Light" panose="020B0502040204020203" pitchFamily="34" charset="0"/>
              </a:rPr>
              <a:t>Container</a:t>
            </a:r>
          </a:p>
        </p:txBody>
      </p:sp>
      <p:sp>
        <p:nvSpPr>
          <p:cNvPr id="154" name="Flowchart: Document 153"/>
          <p:cNvSpPr/>
          <p:nvPr/>
        </p:nvSpPr>
        <p:spPr>
          <a:xfrm>
            <a:off x="2552700" y="41148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00"/>
                </a:solidFill>
                <a:latin typeface="Segoe UI Light" panose="020B0502040204020203" pitchFamily="34" charset="0"/>
                <a:cs typeface="Segoe UI Light" panose="020B0502040204020203" pitchFamily="34" charset="0"/>
              </a:rPr>
              <a:t>Container</a:t>
            </a:r>
          </a:p>
        </p:txBody>
      </p:sp>
      <p:sp>
        <p:nvSpPr>
          <p:cNvPr id="155" name="Flowchart: Document 154"/>
          <p:cNvSpPr/>
          <p:nvPr/>
        </p:nvSpPr>
        <p:spPr>
          <a:xfrm>
            <a:off x="2628900" y="41910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00"/>
                </a:solidFill>
                <a:latin typeface="Segoe UI Light" panose="020B0502040204020203" pitchFamily="34" charset="0"/>
                <a:cs typeface="Segoe UI Light" panose="020B0502040204020203" pitchFamily="34" charset="0"/>
              </a:rPr>
              <a:t>Container</a:t>
            </a:r>
          </a:p>
        </p:txBody>
      </p:sp>
      <p:sp>
        <p:nvSpPr>
          <p:cNvPr id="156" name="Flowchart: Document 155"/>
          <p:cNvSpPr/>
          <p:nvPr/>
        </p:nvSpPr>
        <p:spPr>
          <a:xfrm>
            <a:off x="2705100" y="42672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FF00"/>
                </a:solidFill>
                <a:latin typeface="Segoe UI Light" panose="020B0502040204020203" pitchFamily="34" charset="0"/>
                <a:cs typeface="Segoe UI Light" panose="020B0502040204020203" pitchFamily="34" charset="0"/>
              </a:rPr>
              <a:t>Containers</a:t>
            </a:r>
          </a:p>
        </p:txBody>
      </p:sp>
      <p:sp>
        <p:nvSpPr>
          <p:cNvPr id="157" name="TextBox 156"/>
          <p:cNvSpPr txBox="1"/>
          <p:nvPr/>
        </p:nvSpPr>
        <p:spPr>
          <a:xfrm>
            <a:off x="2768464" y="3085867"/>
            <a:ext cx="1315291" cy="369332"/>
          </a:xfrm>
          <a:prstGeom prst="rect">
            <a:avLst/>
          </a:prstGeom>
          <a:noFill/>
          <a:ln>
            <a:noFill/>
          </a:ln>
        </p:spPr>
        <p:txBody>
          <a:bodyPr wrap="square" rtlCol="0">
            <a:spAutoFit/>
          </a:bodyPr>
          <a:lstStyle/>
          <a:p>
            <a:r>
              <a:rPr lang="en-US">
                <a:latin typeface="Segoe UI Light" panose="020B0502040204020203" pitchFamily="34" charset="0"/>
                <a:cs typeface="Segoe UI Light" panose="020B0502040204020203" pitchFamily="34" charset="0"/>
              </a:rPr>
              <a:t>Collections</a:t>
            </a:r>
          </a:p>
        </p:txBody>
      </p:sp>
      <p:sp>
        <p:nvSpPr>
          <p:cNvPr id="158" name="TextBox 157"/>
          <p:cNvSpPr txBox="1"/>
          <p:nvPr/>
        </p:nvSpPr>
        <p:spPr>
          <a:xfrm>
            <a:off x="1645854" y="3113308"/>
            <a:ext cx="992440" cy="369332"/>
          </a:xfrm>
          <a:prstGeom prst="rect">
            <a:avLst/>
          </a:prstGeom>
          <a:noFill/>
          <a:ln>
            <a:noFill/>
          </a:ln>
        </p:spPr>
        <p:txBody>
          <a:bodyPr wrap="square" rtlCol="0">
            <a:spAutoFit/>
          </a:bodyPr>
          <a:lstStyle/>
          <a:p>
            <a:r>
              <a:rPr lang="en-US">
                <a:latin typeface="Segoe UI Light" panose="020B0502040204020203" pitchFamily="34" charset="0"/>
                <a:cs typeface="Segoe UI Light" panose="020B0502040204020203" pitchFamily="34" charset="0"/>
              </a:rPr>
              <a:t>Tables</a:t>
            </a:r>
            <a:endParaRPr lang="en-US" sz="2200">
              <a:latin typeface="Segoe UI Light" panose="020B0502040204020203" pitchFamily="34" charset="0"/>
              <a:cs typeface="Segoe UI Light" panose="020B0502040204020203" pitchFamily="34" charset="0"/>
            </a:endParaRPr>
          </a:p>
        </p:txBody>
      </p:sp>
      <p:sp>
        <p:nvSpPr>
          <p:cNvPr id="159" name="TextBox 158"/>
          <p:cNvSpPr txBox="1"/>
          <p:nvPr/>
        </p:nvSpPr>
        <p:spPr>
          <a:xfrm>
            <a:off x="4120308" y="3096742"/>
            <a:ext cx="900548" cy="369332"/>
          </a:xfrm>
          <a:prstGeom prst="rect">
            <a:avLst/>
          </a:prstGeom>
          <a:noFill/>
          <a:ln>
            <a:noFill/>
          </a:ln>
        </p:spPr>
        <p:txBody>
          <a:bodyPr wrap="square" rtlCol="0">
            <a:spAutoFit/>
          </a:bodyPr>
          <a:lstStyle/>
          <a:p>
            <a:r>
              <a:rPr lang="en-US">
                <a:latin typeface="Segoe UI Light" panose="020B0502040204020203" pitchFamily="34" charset="0"/>
                <a:cs typeface="Segoe UI Light" panose="020B0502040204020203" pitchFamily="34" charset="0"/>
              </a:rPr>
              <a:t>Graphs</a:t>
            </a:r>
          </a:p>
        </p:txBody>
      </p:sp>
      <p:grpSp>
        <p:nvGrpSpPr>
          <p:cNvPr id="160" name="Group 159"/>
          <p:cNvGrpSpPr/>
          <p:nvPr/>
        </p:nvGrpSpPr>
        <p:grpSpPr>
          <a:xfrm>
            <a:off x="3100119" y="2537384"/>
            <a:ext cx="495957" cy="602954"/>
            <a:chOff x="1345497" y="1522604"/>
            <a:chExt cx="596149" cy="700081"/>
          </a:xfrm>
          <a:solidFill>
            <a:schemeClr val="accent2">
              <a:lumMod val="60000"/>
              <a:lumOff val="40000"/>
            </a:schemeClr>
          </a:solidFill>
        </p:grpSpPr>
        <p:pic>
          <p:nvPicPr>
            <p:cNvPr id="162" name="Picture 161"/>
            <p:cNvPicPr>
              <a:picLocks noChangeAspect="1"/>
            </p:cNvPicPr>
            <p:nvPr/>
          </p:nvPicPr>
          <p:blipFill>
            <a:blip r:embed="rId4"/>
            <a:stretch>
              <a:fillRect/>
            </a:stretch>
          </p:blipFill>
          <p:spPr>
            <a:xfrm>
              <a:off x="1345497" y="1522604"/>
              <a:ext cx="459514" cy="560559"/>
            </a:xfrm>
            <a:prstGeom prst="rect">
              <a:avLst/>
            </a:prstGeom>
            <a:grpFill/>
          </p:spPr>
        </p:pic>
        <p:pic>
          <p:nvPicPr>
            <p:cNvPr id="163" name="Picture 162"/>
            <p:cNvPicPr>
              <a:picLocks noChangeAspect="1"/>
            </p:cNvPicPr>
            <p:nvPr/>
          </p:nvPicPr>
          <p:blipFill>
            <a:blip r:embed="rId4"/>
            <a:stretch>
              <a:fillRect/>
            </a:stretch>
          </p:blipFill>
          <p:spPr>
            <a:xfrm>
              <a:off x="1408559" y="1593808"/>
              <a:ext cx="459514" cy="560559"/>
            </a:xfrm>
            <a:prstGeom prst="rect">
              <a:avLst/>
            </a:prstGeom>
            <a:grpFill/>
          </p:spPr>
        </p:pic>
        <p:pic>
          <p:nvPicPr>
            <p:cNvPr id="164" name="Picture 16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65" name="Group 164"/>
          <p:cNvGrpSpPr/>
          <p:nvPr/>
        </p:nvGrpSpPr>
        <p:grpSpPr>
          <a:xfrm>
            <a:off x="4313238" y="2483651"/>
            <a:ext cx="477293" cy="647402"/>
            <a:chOff x="2707640" y="3871118"/>
            <a:chExt cx="529298" cy="639523"/>
          </a:xfrm>
          <a:solidFill>
            <a:schemeClr val="accent4">
              <a:lumMod val="40000"/>
              <a:lumOff val="60000"/>
            </a:schemeClr>
          </a:solidFill>
        </p:grpSpPr>
        <p:grpSp>
          <p:nvGrpSpPr>
            <p:cNvPr id="166" name="Group 165"/>
            <p:cNvGrpSpPr/>
            <p:nvPr/>
          </p:nvGrpSpPr>
          <p:grpSpPr>
            <a:xfrm>
              <a:off x="2707640" y="3871118"/>
              <a:ext cx="529298" cy="639523"/>
              <a:chOff x="1345497" y="1522604"/>
              <a:chExt cx="596149" cy="700081"/>
            </a:xfrm>
            <a:grpFill/>
          </p:grpSpPr>
          <p:pic>
            <p:nvPicPr>
              <p:cNvPr id="168" name="Picture 167"/>
              <p:cNvPicPr>
                <a:picLocks noChangeAspect="1"/>
              </p:cNvPicPr>
              <p:nvPr/>
            </p:nvPicPr>
            <p:blipFill>
              <a:blip r:embed="rId4"/>
              <a:stretch>
                <a:fillRect/>
              </a:stretch>
            </p:blipFill>
            <p:spPr>
              <a:xfrm>
                <a:off x="1345497" y="1522604"/>
                <a:ext cx="459514" cy="560559"/>
              </a:xfrm>
              <a:prstGeom prst="rect">
                <a:avLst/>
              </a:prstGeom>
              <a:grpFill/>
            </p:spPr>
          </p:pic>
          <p:pic>
            <p:nvPicPr>
              <p:cNvPr id="169" name="Picture 168"/>
              <p:cNvPicPr>
                <a:picLocks noChangeAspect="1"/>
              </p:cNvPicPr>
              <p:nvPr/>
            </p:nvPicPr>
            <p:blipFill>
              <a:blip r:embed="rId4"/>
              <a:stretch>
                <a:fillRect/>
              </a:stretch>
            </p:blipFill>
            <p:spPr>
              <a:xfrm>
                <a:off x="1408559" y="1593808"/>
                <a:ext cx="459514" cy="560559"/>
              </a:xfrm>
              <a:prstGeom prst="rect">
                <a:avLst/>
              </a:prstGeom>
              <a:grpFill/>
            </p:spPr>
          </p:pic>
          <p:pic>
            <p:nvPicPr>
              <p:cNvPr id="170" name="Picture 169"/>
              <p:cNvPicPr>
                <a:picLocks noChangeAspect="1"/>
              </p:cNvPicPr>
              <p:nvPr/>
            </p:nvPicPr>
            <p:blipFill>
              <a:blip r:embed="rId4"/>
              <a:stretch>
                <a:fillRect/>
              </a:stretch>
            </p:blipFill>
            <p:spPr>
              <a:xfrm>
                <a:off x="1482132" y="1662126"/>
                <a:ext cx="459514" cy="560559"/>
              </a:xfrm>
              <a:prstGeom prst="rect">
                <a:avLst/>
              </a:prstGeom>
              <a:grpFill/>
              <a:ln w="3175">
                <a:noFill/>
              </a:ln>
            </p:spPr>
          </p:pic>
        </p:grpSp>
        <p:pic>
          <p:nvPicPr>
            <p:cNvPr id="167" name="Picture 166"/>
            <p:cNvPicPr>
              <a:picLocks noChangeAspect="1"/>
            </p:cNvPicPr>
            <p:nvPr/>
          </p:nvPicPr>
          <p:blipFill>
            <a:blip r:embed="rId5"/>
            <a:stretch>
              <a:fillRect/>
            </a:stretch>
          </p:blipFill>
          <p:spPr>
            <a:xfrm>
              <a:off x="2888445" y="4116672"/>
              <a:ext cx="298935" cy="302442"/>
            </a:xfrm>
            <a:prstGeom prst="rect">
              <a:avLst/>
            </a:prstGeom>
            <a:grpFill/>
          </p:spPr>
        </p:pic>
      </p:grpSp>
      <p:grpSp>
        <p:nvGrpSpPr>
          <p:cNvPr id="171" name="Group 170"/>
          <p:cNvGrpSpPr/>
          <p:nvPr/>
        </p:nvGrpSpPr>
        <p:grpSpPr>
          <a:xfrm>
            <a:off x="1755145" y="2561620"/>
            <a:ext cx="566603" cy="569433"/>
            <a:chOff x="2624230" y="1291099"/>
            <a:chExt cx="529298" cy="639523"/>
          </a:xfrm>
          <a:solidFill>
            <a:srgbClr val="92D050"/>
          </a:solidFill>
        </p:grpSpPr>
        <p:grpSp>
          <p:nvGrpSpPr>
            <p:cNvPr id="172" name="Group 171"/>
            <p:cNvGrpSpPr/>
            <p:nvPr/>
          </p:nvGrpSpPr>
          <p:grpSpPr>
            <a:xfrm>
              <a:off x="2624230" y="1291099"/>
              <a:ext cx="529298" cy="639523"/>
              <a:chOff x="2624230" y="1291099"/>
              <a:chExt cx="529298" cy="639523"/>
            </a:xfrm>
            <a:grpFill/>
          </p:grpSpPr>
          <p:grpSp>
            <p:nvGrpSpPr>
              <p:cNvPr id="176" name="Group 175"/>
              <p:cNvGrpSpPr/>
              <p:nvPr/>
            </p:nvGrpSpPr>
            <p:grpSpPr>
              <a:xfrm>
                <a:off x="2624230" y="1291099"/>
                <a:ext cx="529298" cy="639523"/>
                <a:chOff x="1345497" y="1522604"/>
                <a:chExt cx="596149" cy="700081"/>
              </a:xfrm>
              <a:grpFill/>
            </p:grpSpPr>
            <p:pic>
              <p:nvPicPr>
                <p:cNvPr id="180" name="Picture 179"/>
                <p:cNvPicPr>
                  <a:picLocks noChangeAspect="1"/>
                </p:cNvPicPr>
                <p:nvPr/>
              </p:nvPicPr>
              <p:blipFill>
                <a:blip r:embed="rId4"/>
                <a:stretch>
                  <a:fillRect/>
                </a:stretch>
              </p:blipFill>
              <p:spPr>
                <a:xfrm>
                  <a:off x="1345497" y="1522604"/>
                  <a:ext cx="459514" cy="560559"/>
                </a:xfrm>
                <a:prstGeom prst="rect">
                  <a:avLst/>
                </a:prstGeom>
                <a:grpFill/>
              </p:spPr>
            </p:pic>
            <p:pic>
              <p:nvPicPr>
                <p:cNvPr id="181" name="Picture 180"/>
                <p:cNvPicPr>
                  <a:picLocks noChangeAspect="1"/>
                </p:cNvPicPr>
                <p:nvPr/>
              </p:nvPicPr>
              <p:blipFill>
                <a:blip r:embed="rId4"/>
                <a:stretch>
                  <a:fillRect/>
                </a:stretch>
              </p:blipFill>
              <p:spPr>
                <a:xfrm>
                  <a:off x="1408559" y="1593808"/>
                  <a:ext cx="459514" cy="560559"/>
                </a:xfrm>
                <a:prstGeom prst="rect">
                  <a:avLst/>
                </a:prstGeom>
                <a:grpFill/>
              </p:spPr>
            </p:pic>
            <p:pic>
              <p:nvPicPr>
                <p:cNvPr id="182" name="Picture 181"/>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77" name="Group 176"/>
              <p:cNvGrpSpPr/>
              <p:nvPr/>
            </p:nvGrpSpPr>
            <p:grpSpPr>
              <a:xfrm>
                <a:off x="2809635" y="1532333"/>
                <a:ext cx="275408" cy="347520"/>
                <a:chOff x="2809635" y="1532333"/>
                <a:chExt cx="275408" cy="347520"/>
              </a:xfrm>
              <a:grpFill/>
            </p:grpSpPr>
            <p:sp>
              <p:nvSpPr>
                <p:cNvPr id="178"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1"/>
                    </a:solidFill>
                  </a:endParaRPr>
                </a:p>
              </p:txBody>
            </p:sp>
            <p:sp>
              <p:nvSpPr>
                <p:cNvPr id="179"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1"/>
                    </a:solidFill>
                  </a:endParaRPr>
                </a:p>
              </p:txBody>
            </p:sp>
          </p:grpSp>
        </p:grpSp>
        <p:pic>
          <p:nvPicPr>
            <p:cNvPr id="173" name="Picture 172"/>
            <p:cNvPicPr>
              <a:picLocks noChangeAspect="1"/>
            </p:cNvPicPr>
            <p:nvPr/>
          </p:nvPicPr>
          <p:blipFill>
            <a:blip r:embed="rId6"/>
            <a:stretch>
              <a:fillRect/>
            </a:stretch>
          </p:blipFill>
          <p:spPr>
            <a:xfrm>
              <a:off x="2795295" y="1550332"/>
              <a:ext cx="309874" cy="136492"/>
            </a:xfrm>
            <a:prstGeom prst="rect">
              <a:avLst/>
            </a:prstGeom>
            <a:grpFill/>
          </p:spPr>
        </p:pic>
        <p:pic>
          <p:nvPicPr>
            <p:cNvPr id="174" name="Picture 173"/>
            <p:cNvPicPr>
              <a:picLocks noChangeAspect="1"/>
            </p:cNvPicPr>
            <p:nvPr/>
          </p:nvPicPr>
          <p:blipFill>
            <a:blip r:embed="rId6"/>
            <a:stretch>
              <a:fillRect/>
            </a:stretch>
          </p:blipFill>
          <p:spPr>
            <a:xfrm>
              <a:off x="2797939" y="1657523"/>
              <a:ext cx="309874" cy="136492"/>
            </a:xfrm>
            <a:prstGeom prst="rect">
              <a:avLst/>
            </a:prstGeom>
            <a:grpFill/>
          </p:spPr>
        </p:pic>
        <p:pic>
          <p:nvPicPr>
            <p:cNvPr id="175" name="Picture 174"/>
            <p:cNvPicPr>
              <a:picLocks noChangeAspect="1"/>
            </p:cNvPicPr>
            <p:nvPr/>
          </p:nvPicPr>
          <p:blipFill>
            <a:blip r:embed="rId6"/>
            <a:stretch>
              <a:fillRect/>
            </a:stretch>
          </p:blipFill>
          <p:spPr>
            <a:xfrm>
              <a:off x="2797939" y="1764714"/>
              <a:ext cx="309874" cy="136492"/>
            </a:xfrm>
            <a:prstGeom prst="rect">
              <a:avLst/>
            </a:prstGeom>
            <a:grpFill/>
          </p:spPr>
        </p:pic>
      </p:grpSp>
      <p:sp>
        <p:nvSpPr>
          <p:cNvPr id="7" name="Down Arrow 6"/>
          <p:cNvSpPr/>
          <p:nvPr/>
        </p:nvSpPr>
        <p:spPr>
          <a:xfrm rot="1800350">
            <a:off x="3996965" y="3483519"/>
            <a:ext cx="332023" cy="5558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3" name="Down Arrow 182"/>
          <p:cNvSpPr/>
          <p:nvPr/>
        </p:nvSpPr>
        <p:spPr>
          <a:xfrm>
            <a:off x="3119883" y="3490077"/>
            <a:ext cx="393639" cy="52256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4" name="Down Arrow 183"/>
          <p:cNvSpPr/>
          <p:nvPr/>
        </p:nvSpPr>
        <p:spPr>
          <a:xfrm rot="19981856">
            <a:off x="2126895" y="3448681"/>
            <a:ext cx="404453" cy="52719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221" name="Group 220"/>
          <p:cNvGrpSpPr/>
          <p:nvPr/>
        </p:nvGrpSpPr>
        <p:grpSpPr>
          <a:xfrm>
            <a:off x="676958" y="5373223"/>
            <a:ext cx="785985" cy="685800"/>
            <a:chOff x="468086" y="2406098"/>
            <a:chExt cx="1110063" cy="1019598"/>
          </a:xfrm>
          <a:solidFill>
            <a:schemeClr val="accent1">
              <a:lumMod val="40000"/>
              <a:lumOff val="60000"/>
            </a:schemeClr>
          </a:solidFill>
        </p:grpSpPr>
        <p:sp>
          <p:nvSpPr>
            <p:cNvPr id="222" name="Oval 221"/>
            <p:cNvSpPr/>
            <p:nvPr/>
          </p:nvSpPr>
          <p:spPr>
            <a:xfrm>
              <a:off x="468086" y="2406098"/>
              <a:ext cx="1110063" cy="1019598"/>
            </a:xfrm>
            <a:prstGeom prst="ellipse">
              <a:avLst/>
            </a:prstGeom>
            <a:solidFill>
              <a:srgbClr val="00B0F0"/>
            </a:solidFill>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800"/>
            </a:p>
          </p:txBody>
        </p:sp>
        <p:sp>
          <p:nvSpPr>
            <p:cNvPr id="223" name="Rectangle 222"/>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24" name="Rectangle 223"/>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25" name="Rectangle 22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26" name="Rectangle 225"/>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800"/>
            </a:p>
          </p:txBody>
        </p:sp>
        <p:cxnSp>
          <p:nvCxnSpPr>
            <p:cNvPr id="227" name="Curved Connector 226"/>
            <p:cNvCxnSpPr>
              <a:stCxn id="224" idx="3"/>
              <a:endCxn id="226"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28" name="Curved Connector 227"/>
            <p:cNvCxnSpPr>
              <a:endCxn id="223"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Curved Connector 228"/>
            <p:cNvCxnSpPr>
              <a:stCxn id="224" idx="3"/>
              <a:endCxn id="22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30" name="Group 229"/>
          <p:cNvGrpSpPr/>
          <p:nvPr/>
        </p:nvGrpSpPr>
        <p:grpSpPr>
          <a:xfrm>
            <a:off x="1603570" y="5349602"/>
            <a:ext cx="785985" cy="685800"/>
            <a:chOff x="468086" y="2406098"/>
            <a:chExt cx="1110063" cy="1019598"/>
          </a:xfrm>
          <a:solidFill>
            <a:schemeClr val="accent1">
              <a:lumMod val="40000"/>
              <a:lumOff val="60000"/>
            </a:schemeClr>
          </a:solidFill>
        </p:grpSpPr>
        <p:sp>
          <p:nvSpPr>
            <p:cNvPr id="231" name="Oval 230"/>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800"/>
            </a:p>
          </p:txBody>
        </p:sp>
        <p:sp>
          <p:nvSpPr>
            <p:cNvPr id="232" name="Rectangle 23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36" name="Rectangle 23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37" name="Rectangle 23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38" name="Rectangle 23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800"/>
            </a:p>
          </p:txBody>
        </p:sp>
        <p:cxnSp>
          <p:nvCxnSpPr>
            <p:cNvPr id="240" name="Curved Connector 239"/>
            <p:cNvCxnSpPr>
              <a:stCxn id="236" idx="3"/>
              <a:endCxn id="23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41" name="Curved Connector 240"/>
            <p:cNvCxnSpPr>
              <a:endCxn id="23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Curved Connector 241"/>
            <p:cNvCxnSpPr>
              <a:stCxn id="236" idx="3"/>
              <a:endCxn id="23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43" name="Group 242"/>
          <p:cNvGrpSpPr/>
          <p:nvPr/>
        </p:nvGrpSpPr>
        <p:grpSpPr>
          <a:xfrm>
            <a:off x="2520532" y="5340461"/>
            <a:ext cx="785985" cy="685800"/>
            <a:chOff x="468086" y="2406098"/>
            <a:chExt cx="1110063" cy="1019598"/>
          </a:xfrm>
          <a:solidFill>
            <a:schemeClr val="accent1">
              <a:lumMod val="40000"/>
              <a:lumOff val="60000"/>
            </a:schemeClr>
          </a:solidFill>
        </p:grpSpPr>
        <p:sp>
          <p:nvSpPr>
            <p:cNvPr id="244" name="Oval 243"/>
            <p:cNvSpPr/>
            <p:nvPr/>
          </p:nvSpPr>
          <p:spPr>
            <a:xfrm>
              <a:off x="468086" y="2406098"/>
              <a:ext cx="1110063" cy="1019598"/>
            </a:xfrm>
            <a:prstGeom prst="ellipse">
              <a:avLst/>
            </a:prstGeom>
            <a:solidFill>
              <a:schemeClr val="accent1">
                <a:lumMod val="40000"/>
                <a:lumOff val="6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800"/>
            </a:p>
          </p:txBody>
        </p:sp>
        <p:sp>
          <p:nvSpPr>
            <p:cNvPr id="245" name="Rectangle 24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46" name="Rectangle 24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47" name="Rectangle 24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48" name="Rectangle 24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800"/>
            </a:p>
          </p:txBody>
        </p:sp>
        <p:cxnSp>
          <p:nvCxnSpPr>
            <p:cNvPr id="249" name="Curved Connector 248"/>
            <p:cNvCxnSpPr>
              <a:stCxn id="246" idx="3"/>
              <a:endCxn id="24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50" name="Curved Connector 249"/>
            <p:cNvCxnSpPr>
              <a:endCxn id="24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2" name="Curved Connector 251"/>
            <p:cNvCxnSpPr>
              <a:stCxn id="246" idx="3"/>
              <a:endCxn id="24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55" name="Group 254"/>
          <p:cNvGrpSpPr/>
          <p:nvPr/>
        </p:nvGrpSpPr>
        <p:grpSpPr>
          <a:xfrm>
            <a:off x="3452056" y="5317058"/>
            <a:ext cx="785985" cy="685800"/>
            <a:chOff x="468086" y="2406098"/>
            <a:chExt cx="1110063" cy="1019598"/>
          </a:xfrm>
          <a:solidFill>
            <a:schemeClr val="accent1">
              <a:lumMod val="40000"/>
              <a:lumOff val="60000"/>
            </a:schemeClr>
          </a:solidFill>
        </p:grpSpPr>
        <p:sp>
          <p:nvSpPr>
            <p:cNvPr id="258" name="Oval 25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800"/>
            </a:p>
          </p:txBody>
        </p:sp>
        <p:sp>
          <p:nvSpPr>
            <p:cNvPr id="259" name="Rectangle 25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60" name="Rectangle 25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65" name="Rectangle 26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68" name="Rectangle 26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800"/>
            </a:p>
          </p:txBody>
        </p:sp>
        <p:cxnSp>
          <p:nvCxnSpPr>
            <p:cNvPr id="269" name="Curved Connector 268"/>
            <p:cNvCxnSpPr>
              <a:stCxn id="260" idx="3"/>
              <a:endCxn id="26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80" name="Curved Connector 279"/>
            <p:cNvCxnSpPr>
              <a:endCxn id="25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1" name="Curved Connector 280"/>
            <p:cNvCxnSpPr>
              <a:stCxn id="260" idx="3"/>
              <a:endCxn id="26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87" name="Group 286"/>
          <p:cNvGrpSpPr/>
          <p:nvPr/>
        </p:nvGrpSpPr>
        <p:grpSpPr>
          <a:xfrm>
            <a:off x="4383580" y="5307917"/>
            <a:ext cx="785985" cy="685800"/>
            <a:chOff x="468086" y="2406098"/>
            <a:chExt cx="1110063" cy="1019598"/>
          </a:xfrm>
          <a:solidFill>
            <a:schemeClr val="accent1">
              <a:lumMod val="40000"/>
              <a:lumOff val="60000"/>
            </a:schemeClr>
          </a:solidFill>
        </p:grpSpPr>
        <p:sp>
          <p:nvSpPr>
            <p:cNvPr id="288" name="Oval 287"/>
            <p:cNvSpPr/>
            <p:nvPr/>
          </p:nvSpPr>
          <p:spPr>
            <a:xfrm>
              <a:off x="468086" y="2406098"/>
              <a:ext cx="1110063" cy="1019598"/>
            </a:xfrm>
            <a:prstGeom prst="ellipse">
              <a:avLst/>
            </a:prstGeom>
            <a:solidFill>
              <a:schemeClr val="bg1">
                <a:lumMod val="8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800"/>
            </a:p>
          </p:txBody>
        </p:sp>
        <p:sp>
          <p:nvSpPr>
            <p:cNvPr id="289" name="Rectangle 28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90" name="Rectangle 28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91" name="Rectangle 29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292" name="Rectangle 29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800"/>
            </a:p>
          </p:txBody>
        </p:sp>
        <p:cxnSp>
          <p:nvCxnSpPr>
            <p:cNvPr id="293" name="Curved Connector 292"/>
            <p:cNvCxnSpPr>
              <a:stCxn id="290" idx="3"/>
              <a:endCxn id="29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95" name="Curved Connector 294"/>
            <p:cNvCxnSpPr>
              <a:endCxn id="28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8" name="Curved Connector 297"/>
            <p:cNvCxnSpPr>
              <a:stCxn id="290" idx="3"/>
              <a:endCxn id="29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300" name="Group 299"/>
          <p:cNvGrpSpPr/>
          <p:nvPr/>
        </p:nvGrpSpPr>
        <p:grpSpPr>
          <a:xfrm>
            <a:off x="5315104" y="5307917"/>
            <a:ext cx="785985" cy="685800"/>
            <a:chOff x="468086" y="2406098"/>
            <a:chExt cx="1110063" cy="1019598"/>
          </a:xfrm>
          <a:solidFill>
            <a:schemeClr val="accent1">
              <a:lumMod val="40000"/>
              <a:lumOff val="60000"/>
            </a:schemeClr>
          </a:solidFill>
        </p:grpSpPr>
        <p:sp>
          <p:nvSpPr>
            <p:cNvPr id="301" name="Oval 300"/>
            <p:cNvSpPr/>
            <p:nvPr/>
          </p:nvSpPr>
          <p:spPr>
            <a:xfrm>
              <a:off x="468086" y="2406098"/>
              <a:ext cx="1110063" cy="1019598"/>
            </a:xfrm>
            <a:prstGeom prst="ellipse">
              <a:avLst/>
            </a:prstGeom>
            <a:solidFill>
              <a:schemeClr val="accent1">
                <a:lumMod val="75000"/>
              </a:schemeClr>
            </a:solidFill>
            <a:ln>
              <a:solidFill>
                <a:schemeClr val="bg1"/>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800"/>
            </a:p>
          </p:txBody>
        </p:sp>
        <p:sp>
          <p:nvSpPr>
            <p:cNvPr id="302" name="Rectangle 30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303" name="Rectangle 30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304" name="Rectangle 30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p>
          </p:txBody>
        </p:sp>
        <p:sp>
          <p:nvSpPr>
            <p:cNvPr id="305" name="Rectangle 30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800"/>
            </a:p>
          </p:txBody>
        </p:sp>
        <p:cxnSp>
          <p:nvCxnSpPr>
            <p:cNvPr id="306" name="Curved Connector 305"/>
            <p:cNvCxnSpPr>
              <a:stCxn id="303" idx="3"/>
              <a:endCxn id="30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07" name="Curved Connector 306"/>
            <p:cNvCxnSpPr>
              <a:endCxn id="30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8" name="Curved Connector 307"/>
            <p:cNvCxnSpPr>
              <a:stCxn id="303" idx="3"/>
              <a:endCxn id="30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09" name="Right Brace 308"/>
          <p:cNvSpPr/>
          <p:nvPr/>
        </p:nvSpPr>
        <p:spPr>
          <a:xfrm rot="5400000">
            <a:off x="3579640" y="3070966"/>
            <a:ext cx="368223" cy="6194851"/>
          </a:xfrm>
          <a:prstGeom prst="rightBrace">
            <a:avLst/>
          </a:prstGeom>
          <a:ln>
            <a:headEnd type="none"/>
            <a:tailEnd type="oval"/>
          </a:ln>
        </p:spPr>
        <p:style>
          <a:lnRef idx="1">
            <a:schemeClr val="dk1"/>
          </a:lnRef>
          <a:fillRef idx="0">
            <a:schemeClr val="dk1"/>
          </a:fillRef>
          <a:effectRef idx="0">
            <a:schemeClr val="dk1"/>
          </a:effectRef>
          <a:fontRef idx="minor">
            <a:schemeClr val="tx1"/>
          </a:fontRef>
        </p:style>
        <p:txBody>
          <a:bodyPr rtlCol="0" anchor="ctr"/>
          <a:lstStyle/>
          <a:p>
            <a:pPr algn="ctr"/>
            <a:endParaRPr lang="en-US" sz="800"/>
          </a:p>
        </p:txBody>
      </p:sp>
      <p:sp>
        <p:nvSpPr>
          <p:cNvPr id="310" name="TextBox 309"/>
          <p:cNvSpPr txBox="1"/>
          <p:nvPr/>
        </p:nvSpPr>
        <p:spPr>
          <a:xfrm>
            <a:off x="2429809" y="6307648"/>
            <a:ext cx="2646932" cy="369332"/>
          </a:xfrm>
          <a:prstGeom prst="rect">
            <a:avLst/>
          </a:prstGeom>
          <a:noFill/>
        </p:spPr>
        <p:txBody>
          <a:bodyPr wrap="square" rtlCol="0">
            <a:spAutoFit/>
          </a:bodyPr>
          <a:lstStyle/>
          <a:p>
            <a:r>
              <a:rPr lang="en-US">
                <a:latin typeface="Segoe UI Light" panose="020B0502040204020203" pitchFamily="34" charset="0"/>
                <a:cs typeface="Segoe UI Light" panose="020B0502040204020203" pitchFamily="34" charset="0"/>
              </a:rPr>
              <a:t>Resource Partitions</a:t>
            </a:r>
          </a:p>
        </p:txBody>
      </p:sp>
      <p:sp>
        <p:nvSpPr>
          <p:cNvPr id="313" name="Down Arrow 312"/>
          <p:cNvSpPr/>
          <p:nvPr/>
        </p:nvSpPr>
        <p:spPr>
          <a:xfrm rot="21325308">
            <a:off x="3065578" y="2072995"/>
            <a:ext cx="385319" cy="372172"/>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p>
        </p:txBody>
      </p:sp>
      <p:sp>
        <p:nvSpPr>
          <p:cNvPr id="314" name="Down Arrow 313"/>
          <p:cNvSpPr/>
          <p:nvPr/>
        </p:nvSpPr>
        <p:spPr>
          <a:xfrm rot="1335975">
            <a:off x="2031096" y="1960386"/>
            <a:ext cx="364063"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p>
        </p:txBody>
      </p:sp>
      <p:sp>
        <p:nvSpPr>
          <p:cNvPr id="318" name="Down Arrow 317"/>
          <p:cNvSpPr/>
          <p:nvPr/>
        </p:nvSpPr>
        <p:spPr>
          <a:xfrm rot="19981856">
            <a:off x="4197959" y="1913613"/>
            <a:ext cx="315355"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900"/>
          </a:p>
        </p:txBody>
      </p:sp>
      <p:sp>
        <p:nvSpPr>
          <p:cNvPr id="319" name="Down Arrow 318"/>
          <p:cNvSpPr/>
          <p:nvPr/>
        </p:nvSpPr>
        <p:spPr>
          <a:xfrm>
            <a:off x="3119883" y="4748960"/>
            <a:ext cx="332174"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sz="900"/>
          </a:p>
        </p:txBody>
      </p:sp>
      <p:sp>
        <p:nvSpPr>
          <p:cNvPr id="320" name="Down Arrow 319"/>
          <p:cNvSpPr/>
          <p:nvPr/>
        </p:nvSpPr>
        <p:spPr>
          <a:xfrm rot="1335975">
            <a:off x="2275231" y="4754087"/>
            <a:ext cx="277193"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sz="900"/>
          </a:p>
        </p:txBody>
      </p:sp>
      <p:sp>
        <p:nvSpPr>
          <p:cNvPr id="321" name="Down Arrow 320"/>
          <p:cNvSpPr/>
          <p:nvPr/>
        </p:nvSpPr>
        <p:spPr>
          <a:xfrm rot="18946275">
            <a:off x="3904332" y="4729033"/>
            <a:ext cx="301995" cy="550829"/>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sz="900"/>
          </a:p>
        </p:txBody>
      </p:sp>
      <p:sp>
        <p:nvSpPr>
          <p:cNvPr id="322" name="TextBox 321"/>
          <p:cNvSpPr txBox="1"/>
          <p:nvPr/>
        </p:nvSpPr>
        <p:spPr>
          <a:xfrm>
            <a:off x="6101089" y="5476062"/>
            <a:ext cx="706877" cy="507831"/>
          </a:xfrm>
          <a:prstGeom prst="rect">
            <a:avLst/>
          </a:prstGeom>
          <a:noFill/>
        </p:spPr>
        <p:txBody>
          <a:bodyPr wrap="square" rtlCol="0">
            <a:spAutoFit/>
          </a:bodyPr>
          <a:lstStyle/>
          <a:p>
            <a:r>
              <a:rPr lang="en-US" sz="2700" b="1">
                <a:solidFill>
                  <a:schemeClr val="bg1"/>
                </a:solidFill>
                <a:latin typeface="Segoe UI Light" panose="020B0502040204020203" pitchFamily="34" charset="0"/>
                <a:cs typeface="Segoe UI Light" panose="020B0502040204020203" pitchFamily="34" charset="0"/>
              </a:rPr>
              <a:t>…</a:t>
            </a:r>
          </a:p>
        </p:txBody>
      </p:sp>
      <p:grpSp>
        <p:nvGrpSpPr>
          <p:cNvPr id="2" name="Group 1"/>
          <p:cNvGrpSpPr/>
          <p:nvPr/>
        </p:nvGrpSpPr>
        <p:grpSpPr>
          <a:xfrm>
            <a:off x="6095512" y="1999453"/>
            <a:ext cx="5905988" cy="4440072"/>
            <a:chOff x="12191024" y="3998906"/>
            <a:chExt cx="11811976" cy="8880144"/>
          </a:xfrm>
        </p:grpSpPr>
        <p:grpSp>
          <p:nvGrpSpPr>
            <p:cNvPr id="323" name="Group 322"/>
            <p:cNvGrpSpPr/>
            <p:nvPr/>
          </p:nvGrpSpPr>
          <p:grpSpPr>
            <a:xfrm>
              <a:off x="13793511" y="3998906"/>
              <a:ext cx="10209489" cy="8880144"/>
              <a:chOff x="14170479" y="6188874"/>
              <a:chExt cx="10209489" cy="8880144"/>
            </a:xfrm>
          </p:grpSpPr>
          <p:sp>
            <p:nvSpPr>
              <p:cNvPr id="324" name="TextBox 323"/>
              <p:cNvSpPr txBox="1"/>
              <p:nvPr/>
            </p:nvSpPr>
            <p:spPr>
              <a:xfrm>
                <a:off x="14268939" y="10575481"/>
                <a:ext cx="10111029" cy="4493537"/>
              </a:xfrm>
              <a:prstGeom prst="rect">
                <a:avLst/>
              </a:prstGeom>
              <a:noFill/>
            </p:spPr>
            <p:txBody>
              <a:bodyPr wrap="square" rtlCol="0">
                <a:spAutoFit/>
              </a:bodyPr>
              <a:lstStyle/>
              <a:p>
                <a:pPr algn="l"/>
                <a:r>
                  <a:rPr lang="en-US" sz="2000" b="1">
                    <a:latin typeface="Segoe UI Light" panose="020B0502040204020203" pitchFamily="34" charset="0"/>
                    <a:cs typeface="Segoe UI Light" panose="020B0502040204020203" pitchFamily="34" charset="0"/>
                  </a:rPr>
                  <a:t>Resource Partition</a:t>
                </a:r>
              </a:p>
              <a:p>
                <a:pPr marL="228600" indent="-2286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A consistent, highly available, and resource governed coordination primitive</a:t>
                </a:r>
              </a:p>
              <a:p>
                <a:pPr marL="228600" indent="-2286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Consists of a replica set with each replica hosting an instance of database engine</a:t>
                </a:r>
              </a:p>
              <a:p>
                <a:pPr marL="228600" indent="-2286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Uniquely belongs to a tenant</a:t>
                </a:r>
              </a:p>
              <a:p>
                <a:pPr marL="228600" indent="-228600">
                  <a:buFont typeface="Arial" panose="020B0604020202020204" pitchFamily="34" charset="0"/>
                  <a:buChar char="•"/>
                </a:pPr>
                <a:r>
                  <a:rPr lang="en-US" sz="2000">
                    <a:latin typeface="Segoe UI Light" panose="020B0502040204020203" pitchFamily="34" charset="0"/>
                    <a:cs typeface="Segoe UI Light" panose="020B0502040204020203" pitchFamily="34" charset="0"/>
                  </a:rPr>
                  <a:t>Owns a set of keys</a:t>
                </a:r>
              </a:p>
            </p:txBody>
          </p:sp>
          <p:grpSp>
            <p:nvGrpSpPr>
              <p:cNvPr id="325" name="Group 324"/>
              <p:cNvGrpSpPr/>
              <p:nvPr/>
            </p:nvGrpSpPr>
            <p:grpSpPr>
              <a:xfrm>
                <a:off x="14170479" y="6188874"/>
                <a:ext cx="9782602" cy="4360635"/>
                <a:chOff x="14170479" y="6188874"/>
                <a:chExt cx="9782602" cy="4360635"/>
              </a:xfrm>
            </p:grpSpPr>
            <p:grpSp>
              <p:nvGrpSpPr>
                <p:cNvPr id="326" name="Group 325"/>
                <p:cNvGrpSpPr/>
                <p:nvPr/>
              </p:nvGrpSpPr>
              <p:grpSpPr>
                <a:xfrm>
                  <a:off x="14170479" y="6188874"/>
                  <a:ext cx="4724402" cy="3944583"/>
                  <a:chOff x="376818" y="2357006"/>
                  <a:chExt cx="1414653" cy="1211378"/>
                </a:xfrm>
                <a:solidFill>
                  <a:schemeClr val="accent1">
                    <a:lumMod val="40000"/>
                    <a:lumOff val="60000"/>
                  </a:schemeClr>
                </a:solidFill>
              </p:grpSpPr>
              <p:sp>
                <p:nvSpPr>
                  <p:cNvPr id="335" name="Oval 334"/>
                  <p:cNvSpPr/>
                  <p:nvPr/>
                </p:nvSpPr>
                <p:spPr>
                  <a:xfrm>
                    <a:off x="376818" y="2357006"/>
                    <a:ext cx="1414653" cy="1211378"/>
                  </a:xfrm>
                  <a:prstGeom prst="ellipse">
                    <a:avLst/>
                  </a:prstGeom>
                  <a:solidFill>
                    <a:schemeClr val="accent1">
                      <a:lumMod val="75000"/>
                    </a:schemeClr>
                  </a:solidFill>
                  <a:ln>
                    <a:solidFill>
                      <a:schemeClr val="bg1"/>
                    </a:solid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800">
                      <a:solidFill>
                        <a:schemeClr val="tx1"/>
                      </a:solidFill>
                    </a:endParaRPr>
                  </a:p>
                </p:txBody>
              </p:sp>
              <p:sp>
                <p:nvSpPr>
                  <p:cNvPr id="336" name="Rectangle 335"/>
                  <p:cNvSpPr/>
                  <p:nvPr/>
                </p:nvSpPr>
                <p:spPr>
                  <a:xfrm>
                    <a:off x="976500" y="2505458"/>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solidFill>
                        <a:schemeClr val="tx1"/>
                      </a:solidFill>
                    </a:endParaRPr>
                  </a:p>
                </p:txBody>
              </p:sp>
              <p:sp>
                <p:nvSpPr>
                  <p:cNvPr id="337" name="Rectangle 336"/>
                  <p:cNvSpPr/>
                  <p:nvPr/>
                </p:nvSpPr>
                <p:spPr>
                  <a:xfrm>
                    <a:off x="612238" y="2731975"/>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solidFill>
                        <a:schemeClr val="tx1"/>
                      </a:solidFill>
                    </a:endParaRPr>
                  </a:p>
                </p:txBody>
              </p:sp>
              <p:sp>
                <p:nvSpPr>
                  <p:cNvPr id="338" name="Rectangle 337"/>
                  <p:cNvSpPr/>
                  <p:nvPr/>
                </p:nvSpPr>
                <p:spPr>
                  <a:xfrm>
                    <a:off x="976541" y="2787503"/>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800">
                      <a:solidFill>
                        <a:schemeClr val="tx1"/>
                      </a:solidFill>
                    </a:endParaRPr>
                  </a:p>
                </p:txBody>
              </p:sp>
              <p:sp>
                <p:nvSpPr>
                  <p:cNvPr id="339" name="Rectangle 338"/>
                  <p:cNvSpPr/>
                  <p:nvPr/>
                </p:nvSpPr>
                <p:spPr>
                  <a:xfrm>
                    <a:off x="976500" y="3077658"/>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800">
                      <a:solidFill>
                        <a:schemeClr val="tx1"/>
                      </a:solidFill>
                    </a:endParaRPr>
                  </a:p>
                </p:txBody>
              </p:sp>
              <p:cxnSp>
                <p:nvCxnSpPr>
                  <p:cNvPr id="340" name="Curved Connector 339"/>
                  <p:cNvCxnSpPr>
                    <a:stCxn id="337" idx="3"/>
                    <a:endCxn id="339" idx="1"/>
                  </p:cNvCxnSpPr>
                  <p:nvPr/>
                </p:nvCxnSpPr>
                <p:spPr>
                  <a:xfrm>
                    <a:off x="723964" y="2845174"/>
                    <a:ext cx="252536" cy="345683"/>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41" name="Curved Connector 340"/>
                  <p:cNvCxnSpPr>
                    <a:stCxn id="337" idx="3"/>
                    <a:endCxn id="336" idx="1"/>
                  </p:cNvCxnSpPr>
                  <p:nvPr/>
                </p:nvCxnSpPr>
                <p:spPr>
                  <a:xfrm flipV="1">
                    <a:off x="723964" y="2618657"/>
                    <a:ext cx="252536" cy="226517"/>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2" name="Curved Connector 341"/>
                  <p:cNvCxnSpPr>
                    <a:stCxn id="337" idx="3"/>
                    <a:endCxn id="338" idx="1"/>
                  </p:cNvCxnSpPr>
                  <p:nvPr/>
                </p:nvCxnSpPr>
                <p:spPr>
                  <a:xfrm>
                    <a:off x="723964" y="2845174"/>
                    <a:ext cx="252577" cy="55528"/>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27" name="TextBox 326"/>
                <p:cNvSpPr txBox="1"/>
                <p:nvPr/>
              </p:nvSpPr>
              <p:spPr>
                <a:xfrm>
                  <a:off x="14385289" y="8133894"/>
                  <a:ext cx="1366144" cy="1169550"/>
                </a:xfrm>
                <a:prstGeom prst="rect">
                  <a:avLst/>
                </a:prstGeom>
                <a:noFill/>
              </p:spPr>
              <p:txBody>
                <a:bodyPr wrap="square" rtlCol="0">
                  <a:spAutoFit/>
                </a:bodyPr>
                <a:lstStyle/>
                <a:p>
                  <a:pPr algn="l"/>
                  <a:r>
                    <a:rPr lang="en-US" sz="1600">
                      <a:solidFill>
                        <a:schemeClr val="bg1"/>
                      </a:solidFill>
                      <a:latin typeface="Segoe UI Light" panose="020B0502040204020203" pitchFamily="34" charset="0"/>
                      <a:cs typeface="Segoe UI Light" panose="020B0502040204020203" pitchFamily="34" charset="0"/>
                    </a:rPr>
                    <a:t>Leader</a:t>
                  </a:r>
                </a:p>
              </p:txBody>
            </p:sp>
            <p:sp>
              <p:nvSpPr>
                <p:cNvPr id="328" name="TextBox 327"/>
                <p:cNvSpPr txBox="1"/>
                <p:nvPr/>
              </p:nvSpPr>
              <p:spPr>
                <a:xfrm>
                  <a:off x="16589539" y="6723488"/>
                  <a:ext cx="1839970" cy="677108"/>
                </a:xfrm>
                <a:prstGeom prst="rect">
                  <a:avLst/>
                </a:prstGeom>
                <a:noFill/>
              </p:spPr>
              <p:txBody>
                <a:bodyPr wrap="square" rtlCol="0">
                  <a:spAutoFit/>
                </a:bodyPr>
                <a:lstStyle/>
                <a:p>
                  <a:pPr algn="l"/>
                  <a:r>
                    <a:rPr lang="en-US" sz="1600">
                      <a:solidFill>
                        <a:schemeClr val="bg1"/>
                      </a:solidFill>
                      <a:latin typeface="Segoe UI Light" panose="020B0502040204020203" pitchFamily="34" charset="0"/>
                      <a:cs typeface="Segoe UI Light" panose="020B0502040204020203" pitchFamily="34" charset="0"/>
                    </a:rPr>
                    <a:t>Follower</a:t>
                  </a:r>
                </a:p>
              </p:txBody>
            </p:sp>
            <p:sp>
              <p:nvSpPr>
                <p:cNvPr id="329" name="TextBox 328"/>
                <p:cNvSpPr txBox="1"/>
                <p:nvPr/>
              </p:nvSpPr>
              <p:spPr>
                <a:xfrm>
                  <a:off x="16613545" y="7503706"/>
                  <a:ext cx="1839970" cy="677108"/>
                </a:xfrm>
                <a:prstGeom prst="rect">
                  <a:avLst/>
                </a:prstGeom>
                <a:noFill/>
              </p:spPr>
              <p:txBody>
                <a:bodyPr wrap="square" rtlCol="0">
                  <a:spAutoFit/>
                </a:bodyPr>
                <a:lstStyle/>
                <a:p>
                  <a:pPr algn="l"/>
                  <a:r>
                    <a:rPr lang="en-US" sz="1600">
                      <a:solidFill>
                        <a:schemeClr val="bg1"/>
                      </a:solidFill>
                      <a:latin typeface="Segoe UI Light" panose="020B0502040204020203" pitchFamily="34" charset="0"/>
                      <a:cs typeface="Segoe UI Light" panose="020B0502040204020203" pitchFamily="34" charset="0"/>
                    </a:rPr>
                    <a:t>Follower</a:t>
                  </a:r>
                </a:p>
              </p:txBody>
            </p:sp>
            <p:sp>
              <p:nvSpPr>
                <p:cNvPr id="330" name="TextBox 329"/>
                <p:cNvSpPr txBox="1"/>
                <p:nvPr/>
              </p:nvSpPr>
              <p:spPr>
                <a:xfrm>
                  <a:off x="16589539" y="8362306"/>
                  <a:ext cx="2202412" cy="677108"/>
                </a:xfrm>
                <a:prstGeom prst="rect">
                  <a:avLst/>
                </a:prstGeom>
                <a:noFill/>
              </p:spPr>
              <p:txBody>
                <a:bodyPr wrap="square" rtlCol="0">
                  <a:spAutoFit/>
                </a:bodyPr>
                <a:lstStyle/>
                <a:p>
                  <a:pPr algn="l"/>
                  <a:r>
                    <a:rPr lang="en-US" sz="1600">
                      <a:solidFill>
                        <a:schemeClr val="bg1"/>
                      </a:solidFill>
                      <a:latin typeface="Segoe UI Light" panose="020B0502040204020203" pitchFamily="34" charset="0"/>
                      <a:cs typeface="Segoe UI Light" panose="020B0502040204020203" pitchFamily="34" charset="0"/>
                    </a:rPr>
                    <a:t>Forwarder</a:t>
                  </a:r>
                </a:p>
              </p:txBody>
            </p:sp>
            <p:sp>
              <p:nvSpPr>
                <p:cNvPr id="331" name="TextBox 330"/>
                <p:cNvSpPr txBox="1"/>
                <p:nvPr/>
              </p:nvSpPr>
              <p:spPr>
                <a:xfrm>
                  <a:off x="15261041" y="9366803"/>
                  <a:ext cx="2195108" cy="677108"/>
                </a:xfrm>
                <a:prstGeom prst="rect">
                  <a:avLst/>
                </a:prstGeom>
                <a:noFill/>
              </p:spPr>
              <p:txBody>
                <a:bodyPr wrap="square" rtlCol="0">
                  <a:spAutoFit/>
                </a:bodyPr>
                <a:lstStyle/>
                <a:p>
                  <a:r>
                    <a:rPr lang="en-US" sz="1600">
                      <a:solidFill>
                        <a:schemeClr val="bg1"/>
                      </a:solidFill>
                      <a:latin typeface="Segoe UI Light" panose="020B0502040204020203" pitchFamily="34" charset="0"/>
                      <a:cs typeface="Segoe UI Light" panose="020B0502040204020203" pitchFamily="34" charset="0"/>
                    </a:rPr>
                    <a:t>Replica set</a:t>
                  </a:r>
                </a:p>
              </p:txBody>
            </p:sp>
            <p:sp>
              <p:nvSpPr>
                <p:cNvPr id="332" name="Right Brace 331"/>
                <p:cNvSpPr/>
                <p:nvPr/>
              </p:nvSpPr>
              <p:spPr>
                <a:xfrm rot="5400000">
                  <a:off x="16011031" y="8035038"/>
                  <a:ext cx="720890" cy="2638536"/>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p>
              </p:txBody>
            </p:sp>
            <p:cxnSp>
              <p:nvCxnSpPr>
                <p:cNvPr id="333" name="Curved Connector 332"/>
                <p:cNvCxnSpPr/>
                <p:nvPr/>
              </p:nvCxnSpPr>
              <p:spPr>
                <a:xfrm>
                  <a:off x="16517124" y="9036818"/>
                  <a:ext cx="3732888" cy="921223"/>
                </a:xfrm>
                <a:prstGeom prst="curvedConnector3">
                  <a:avLst>
                    <a:gd name="adj1" fmla="val 50000"/>
                  </a:avLst>
                </a:prstGeom>
                <a:ln>
                  <a:tailEnd type="triangle"/>
                </a:ln>
              </p:spPr>
              <p:style>
                <a:lnRef idx="1">
                  <a:schemeClr val="accent2"/>
                </a:lnRef>
                <a:fillRef idx="0">
                  <a:schemeClr val="accent2"/>
                </a:fillRef>
                <a:effectRef idx="0">
                  <a:schemeClr val="accent2"/>
                </a:effectRef>
                <a:fontRef idx="minor">
                  <a:schemeClr val="tx1"/>
                </a:fontRef>
              </p:style>
            </p:cxnSp>
            <p:sp>
              <p:nvSpPr>
                <p:cNvPr id="334" name="TextBox 333"/>
                <p:cNvSpPr txBox="1"/>
                <p:nvPr/>
              </p:nvSpPr>
              <p:spPr>
                <a:xfrm>
                  <a:off x="20150965" y="9379959"/>
                  <a:ext cx="3802116" cy="1169550"/>
                </a:xfrm>
                <a:prstGeom prst="rect">
                  <a:avLst/>
                </a:prstGeom>
                <a:noFill/>
              </p:spPr>
              <p:txBody>
                <a:bodyPr wrap="square" rtlCol="0">
                  <a:spAutoFit/>
                </a:bodyPr>
                <a:lstStyle/>
                <a:p>
                  <a:pPr algn="l"/>
                  <a:r>
                    <a:rPr lang="en-US" sz="1600">
                      <a:latin typeface="Segoe UI Light" panose="020B0502040204020203" pitchFamily="34" charset="0"/>
                      <a:cs typeface="Segoe UI Light" panose="020B0502040204020203" pitchFamily="34" charset="0"/>
                    </a:rPr>
                    <a:t>To a remote resource partition(s)</a:t>
                  </a:r>
                </a:p>
              </p:txBody>
            </p:sp>
          </p:grpSp>
        </p:grpSp>
        <p:cxnSp>
          <p:nvCxnSpPr>
            <p:cNvPr id="9" name="Straight Arrow Connector 8"/>
            <p:cNvCxnSpPr/>
            <p:nvPr/>
          </p:nvCxnSpPr>
          <p:spPr>
            <a:xfrm flipV="1">
              <a:off x="12191024" y="7374577"/>
              <a:ext cx="2013862" cy="29125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sp>
        <p:nvSpPr>
          <p:cNvPr id="343" name="TextBox 342"/>
          <p:cNvSpPr txBox="1"/>
          <p:nvPr/>
        </p:nvSpPr>
        <p:spPr>
          <a:xfrm>
            <a:off x="2570409" y="1702522"/>
            <a:ext cx="1315291" cy="369332"/>
          </a:xfrm>
          <a:prstGeom prst="rect">
            <a:avLst/>
          </a:prstGeom>
          <a:noFill/>
          <a:ln>
            <a:noFill/>
          </a:ln>
        </p:spPr>
        <p:txBody>
          <a:bodyPr wrap="square" rtlCol="0">
            <a:spAutoFit/>
          </a:bodyPr>
          <a:lstStyle/>
          <a:p>
            <a:pPr algn="ctr"/>
            <a:r>
              <a:rPr lang="en-US">
                <a:latin typeface="Segoe UI Light" panose="020B0502040204020203" pitchFamily="34" charset="0"/>
                <a:cs typeface="Segoe UI Light" panose="020B0502040204020203" pitchFamily="34" charset="0"/>
              </a:rPr>
              <a:t>Tenants</a:t>
            </a:r>
          </a:p>
        </p:txBody>
      </p:sp>
      <p:grpSp>
        <p:nvGrpSpPr>
          <p:cNvPr id="137" name="Group 136"/>
          <p:cNvGrpSpPr/>
          <p:nvPr/>
        </p:nvGrpSpPr>
        <p:grpSpPr>
          <a:xfrm>
            <a:off x="2174291" y="817844"/>
            <a:ext cx="2189436" cy="911744"/>
            <a:chOff x="8662987" y="4396646"/>
            <a:chExt cx="2370335" cy="994781"/>
          </a:xfrm>
        </p:grpSpPr>
        <p:sp>
          <p:nvSpPr>
            <p:cNvPr id="138" name="Freeform 137"/>
            <p:cNvSpPr>
              <a:spLocks/>
            </p:cNvSpPr>
            <p:nvPr/>
          </p:nvSpPr>
          <p:spPr bwMode="auto">
            <a:xfrm>
              <a:off x="958730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sp>
          <p:nvSpPr>
            <p:cNvPr id="187" name="Freeform 186"/>
            <p:cNvSpPr>
              <a:spLocks/>
            </p:cNvSpPr>
            <p:nvPr/>
          </p:nvSpPr>
          <p:spPr bwMode="auto">
            <a:xfrm>
              <a:off x="91155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sp>
          <p:nvSpPr>
            <p:cNvPr id="188" name="Freeform 187"/>
            <p:cNvSpPr>
              <a:spLocks/>
            </p:cNvSpPr>
            <p:nvPr/>
          </p:nvSpPr>
          <p:spPr bwMode="auto">
            <a:xfrm>
              <a:off x="10075934"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sp>
          <p:nvSpPr>
            <p:cNvPr id="189" name="Freeform 188"/>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sp>
          <p:nvSpPr>
            <p:cNvPr id="190" name="Freeform 189"/>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grpSp>
          <p:nvGrpSpPr>
            <p:cNvPr id="191" name="Group 190"/>
            <p:cNvGrpSpPr/>
            <p:nvPr/>
          </p:nvGrpSpPr>
          <p:grpSpPr>
            <a:xfrm>
              <a:off x="9646658" y="4819932"/>
              <a:ext cx="326294" cy="521835"/>
              <a:chOff x="9870594" y="4096783"/>
              <a:chExt cx="987037" cy="1578550"/>
            </a:xfrm>
          </p:grpSpPr>
          <p:sp>
            <p:nvSpPr>
              <p:cNvPr id="196" name="Rectangle: Rounded Corners 10"/>
              <p:cNvSpPr/>
              <p:nvPr/>
            </p:nvSpPr>
            <p:spPr>
              <a:xfrm>
                <a:off x="9870594" y="4096783"/>
                <a:ext cx="987037" cy="1578550"/>
              </a:xfrm>
              <a:prstGeom prst="roundRect">
                <a:avLst>
                  <a:gd name="adj" fmla="val 75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a:p>
            </p:txBody>
          </p:sp>
          <p:grpSp>
            <p:nvGrpSpPr>
              <p:cNvPr id="197" name="Group 196"/>
              <p:cNvGrpSpPr/>
              <p:nvPr/>
            </p:nvGrpSpPr>
            <p:grpSpPr>
              <a:xfrm>
                <a:off x="10040340" y="4272898"/>
                <a:ext cx="647543" cy="188007"/>
                <a:chOff x="10040340" y="4272898"/>
                <a:chExt cx="647543" cy="188007"/>
              </a:xfrm>
            </p:grpSpPr>
            <p:sp>
              <p:nvSpPr>
                <p:cNvPr id="204" name="Rectangle: Rounded Corners 18"/>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a:p>
              </p:txBody>
            </p:sp>
            <p:sp>
              <p:nvSpPr>
                <p:cNvPr id="205" name="Oval 204"/>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a:p>
              </p:txBody>
            </p:sp>
          </p:grpSp>
          <p:grpSp>
            <p:nvGrpSpPr>
              <p:cNvPr id="198" name="Group 197"/>
              <p:cNvGrpSpPr/>
              <p:nvPr/>
            </p:nvGrpSpPr>
            <p:grpSpPr>
              <a:xfrm>
                <a:off x="10040340" y="4533545"/>
                <a:ext cx="647543" cy="188007"/>
                <a:chOff x="10040340" y="4272898"/>
                <a:chExt cx="647543" cy="188007"/>
              </a:xfrm>
            </p:grpSpPr>
            <p:sp>
              <p:nvSpPr>
                <p:cNvPr id="202" name="Rectangle: Rounded Corners 16"/>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a:p>
              </p:txBody>
            </p:sp>
            <p:sp>
              <p:nvSpPr>
                <p:cNvPr id="203" name="Oval 202"/>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a:p>
              </p:txBody>
            </p:sp>
          </p:grpSp>
          <p:grpSp>
            <p:nvGrpSpPr>
              <p:cNvPr id="199" name="Group 198"/>
              <p:cNvGrpSpPr/>
              <p:nvPr/>
            </p:nvGrpSpPr>
            <p:grpSpPr>
              <a:xfrm>
                <a:off x="10040340" y="4786108"/>
                <a:ext cx="647543" cy="188007"/>
                <a:chOff x="10040340" y="4272898"/>
                <a:chExt cx="647543" cy="188007"/>
              </a:xfrm>
            </p:grpSpPr>
            <p:sp>
              <p:nvSpPr>
                <p:cNvPr id="200" name="Rectangle: Rounded Corners 1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a:p>
              </p:txBody>
            </p:sp>
            <p:sp>
              <p:nvSpPr>
                <p:cNvPr id="201" name="Oval 20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a:p>
              </p:txBody>
            </p:sp>
          </p:grpSp>
        </p:grpSp>
        <p:sp>
          <p:nvSpPr>
            <p:cNvPr id="192" name="Freeform 191"/>
            <p:cNvSpPr>
              <a:spLocks/>
            </p:cNvSpPr>
            <p:nvPr/>
          </p:nvSpPr>
          <p:spPr bwMode="auto">
            <a:xfrm>
              <a:off x="86629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sp>
          <p:nvSpPr>
            <p:cNvPr id="193" name="Freeform 192"/>
            <p:cNvSpPr>
              <a:spLocks/>
            </p:cNvSpPr>
            <p:nvPr/>
          </p:nvSpPr>
          <p:spPr bwMode="auto">
            <a:xfrm>
              <a:off x="8864723"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sp>
          <p:nvSpPr>
            <p:cNvPr id="194" name="Freeform 193"/>
            <p:cNvSpPr>
              <a:spLocks/>
            </p:cNvSpPr>
            <p:nvPr/>
          </p:nvSpPr>
          <p:spPr bwMode="auto">
            <a:xfrm>
              <a:off x="10657610"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sp>
          <p:nvSpPr>
            <p:cNvPr id="195" name="Freeform 194"/>
            <p:cNvSpPr>
              <a:spLocks/>
            </p:cNvSpPr>
            <p:nvPr/>
          </p:nvSpPr>
          <p:spPr bwMode="auto">
            <a:xfrm>
              <a:off x="10366535"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p>
          </p:txBody>
        </p:sp>
      </p:grpSp>
      <p:sp>
        <p:nvSpPr>
          <p:cNvPr id="142" name="Title 2">
            <a:extLst>
              <a:ext uri="{FF2B5EF4-FFF2-40B4-BE49-F238E27FC236}">
                <a16:creationId xmlns:a16="http://schemas.microsoft.com/office/drawing/2014/main" id="{17F507F2-1CD1-4A9A-B147-5FEC8940AC1E}"/>
              </a:ext>
            </a:extLst>
          </p:cNvPr>
          <p:cNvSpPr txBox="1">
            <a:spLocks/>
          </p:cNvSpPr>
          <p:nvPr/>
        </p:nvSpPr>
        <p:spPr>
          <a:xfrm>
            <a:off x="619649" y="188905"/>
            <a:ext cx="10270459" cy="553998"/>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srgbClr val="7030A0"/>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System design (</a:t>
            </a:r>
            <a:r>
              <a:rPr lang="en-US" sz="3000"/>
              <a:t>logical</a:t>
            </a:r>
            <a:r>
              <a:rPr kumimoji="0" lang="en-US" sz="30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a:t>
            </a:r>
          </a:p>
        </p:txBody>
      </p:sp>
    </p:spTree>
    <p:custDataLst>
      <p:tags r:id="rId1"/>
    </p:custDataLst>
    <p:extLst>
      <p:ext uri="{BB962C8B-B14F-4D97-AF65-F5344CB8AC3E}">
        <p14:creationId xmlns:p14="http://schemas.microsoft.com/office/powerpoint/2010/main" val="4017063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Title 2"/>
          <p:cNvSpPr txBox="1">
            <a:spLocks/>
          </p:cNvSpPr>
          <p:nvPr/>
        </p:nvSpPr>
        <p:spPr>
          <a:xfrm>
            <a:off x="619649" y="188905"/>
            <a:ext cx="10270459" cy="553998"/>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srgbClr val="7030A0"/>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7030A0"/>
                </a:solidFill>
                <a:effectLst/>
                <a:uLnTx/>
                <a:uFillTx/>
                <a:latin typeface="Segoe UI Light" panose="020B0502040204020203" pitchFamily="34" charset="0"/>
                <a:ea typeface="+mn-ea"/>
                <a:cs typeface="Segoe UI Light" panose="020B0502040204020203" pitchFamily="34" charset="0"/>
              </a:rPr>
              <a:t>System topology (behind the scene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808" y="742903"/>
            <a:ext cx="10532299" cy="5801516"/>
          </a:xfrm>
          <a:prstGeom prst="rect">
            <a:avLst/>
          </a:prstGeom>
          <a:solidFill>
            <a:schemeClr val="bg1"/>
          </a:solidFill>
        </p:spPr>
      </p:pic>
      <p:sp>
        <p:nvSpPr>
          <p:cNvPr id="3" name="Footer Placeholder 2">
            <a:extLst>
              <a:ext uri="{FF2B5EF4-FFF2-40B4-BE49-F238E27FC236}">
                <a16:creationId xmlns:a16="http://schemas.microsoft.com/office/drawing/2014/main" id="{060EA7D2-FA87-4B6B-B11C-A2FBB5E84164}"/>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Ask Questions : http://aka.ms/cosmos-qa</a:t>
            </a:r>
          </a:p>
        </p:txBody>
      </p:sp>
    </p:spTree>
    <p:extLst>
      <p:ext uri="{BB962C8B-B14F-4D97-AF65-F5344CB8AC3E}">
        <p14:creationId xmlns:p14="http://schemas.microsoft.com/office/powerpoint/2010/main" val="19109012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790802" y="2760618"/>
            <a:ext cx="10852769" cy="1057166"/>
          </a:xfrm>
        </p:spPr>
        <p:txBody>
          <a:bodyPr/>
          <a:lstStyle/>
          <a:p>
            <a:pPr algn="ctr"/>
            <a:r>
              <a:rPr lang="en-US" sz="4800" dirty="0">
                <a:solidFill>
                  <a:schemeClr val="bg1"/>
                </a:solidFill>
                <a:latin typeface="+mn-lt"/>
              </a:rPr>
              <a:t>Partitioning</a:t>
            </a:r>
            <a:br>
              <a:rPr lang="en-US" sz="4800" dirty="0">
                <a:solidFill>
                  <a:schemeClr val="bg1"/>
                </a:solidFill>
                <a:latin typeface="+mn-lt"/>
              </a:rPr>
            </a:br>
            <a:endParaRPr lang="en-US" sz="4800" dirty="0">
              <a:solidFill>
                <a:schemeClr val="bg1"/>
              </a:solidFill>
              <a:latin typeface="+mn-lt"/>
            </a:endParaRPr>
          </a:p>
        </p:txBody>
      </p:sp>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2" name="Title 9">
            <a:extLst>
              <a:ext uri="{FF2B5EF4-FFF2-40B4-BE49-F238E27FC236}">
                <a16:creationId xmlns:a16="http://schemas.microsoft.com/office/drawing/2014/main" id="{68410213-2627-4B9C-924C-292F66A11726}"/>
              </a:ext>
            </a:extLst>
          </p:cNvPr>
          <p:cNvSpPr txBox="1">
            <a:spLocks/>
          </p:cNvSpPr>
          <p:nvPr/>
        </p:nvSpPr>
        <p:spPr>
          <a:xfrm>
            <a:off x="1339231" y="2964736"/>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dirty="0">
              <a:ln w="3175">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6F16C0E7-CD90-4716-9AB3-712BD732A74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B28A260A-40D2-40A1-A914-FE8EB22356CF}"/>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267074381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6">
            <a:extLst>
              <a:ext uri="{FF2B5EF4-FFF2-40B4-BE49-F238E27FC236}">
                <a16:creationId xmlns:a16="http://schemas.microsoft.com/office/drawing/2014/main" id="{39803F09-636B-41CB-85F4-78B845E100A8}"/>
              </a:ext>
            </a:extLst>
          </p:cNvPr>
          <p:cNvSpPr txBox="1">
            <a:spLocks/>
          </p:cNvSpPr>
          <p:nvPr/>
        </p:nvSpPr>
        <p:spPr>
          <a:xfrm>
            <a:off x="101938" y="85869"/>
            <a:ext cx="1157890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Partitioning- Why Do We Do It In The First Place?</a:t>
            </a:r>
          </a:p>
        </p:txBody>
      </p:sp>
      <p:sp>
        <p:nvSpPr>
          <p:cNvPr id="5" name="Text Placeholder 5">
            <a:extLst>
              <a:ext uri="{FF2B5EF4-FFF2-40B4-BE49-F238E27FC236}">
                <a16:creationId xmlns:a16="http://schemas.microsoft.com/office/drawing/2014/main" id="{D2315BBA-D411-4B50-80B9-A550284AA6A8}"/>
              </a:ext>
            </a:extLst>
          </p:cNvPr>
          <p:cNvSpPr txBox="1">
            <a:spLocks/>
          </p:cNvSpPr>
          <p:nvPr/>
        </p:nvSpPr>
        <p:spPr>
          <a:xfrm>
            <a:off x="101938" y="1633053"/>
            <a:ext cx="10614378" cy="522494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200"/>
              </a:spcBef>
              <a:spcAft>
                <a:spcPts val="800"/>
              </a:spcAft>
              <a:buFont typeface="Arial" panose="020B0604020202020204" pitchFamily="34" charset="0"/>
              <a:buNone/>
              <a:defRPr sz="1800" kern="1200" spc="0" baseline="0">
                <a:solidFill>
                  <a:schemeClr val="tx1"/>
                </a:solidFill>
                <a:latin typeface="+mn-lt"/>
                <a:ea typeface="+mn-ea"/>
                <a:cs typeface="+mn-cs"/>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1600" kern="1200" spc="0" baseline="0" dirty="0" smtClean="0">
                <a:solidFill>
                  <a:schemeClr val="tx1"/>
                </a:solidFill>
                <a:latin typeface="+mn-lt"/>
                <a:ea typeface="+mn-ea"/>
                <a:cs typeface="Times New Roman" panose="02020603050405020304" pitchFamily="18" charset="0"/>
              </a:defRPr>
            </a:lvl2pPr>
            <a:lvl3pPr marL="569913" indent="-228600" algn="l" defTabSz="762000" rtl="0" eaLnBrk="1" latinLnBrk="0" hangingPunct="1">
              <a:lnSpc>
                <a:spcPct val="90000"/>
              </a:lnSpc>
              <a:spcBef>
                <a:spcPts val="500"/>
              </a:spcBef>
              <a:buClr>
                <a:schemeClr val="tx2"/>
              </a:buClr>
              <a:buFont typeface="Arial" panose="020B0604020202020204" pitchFamily="34" charset="0"/>
              <a:buChar char="•"/>
              <a:defRPr sz="1200" kern="1200" spc="0" baseline="0">
                <a:solidFill>
                  <a:schemeClr val="tx1"/>
                </a:solidFill>
                <a:latin typeface="+mn-lt"/>
                <a:ea typeface="+mn-ea"/>
                <a:cs typeface="+mn-cs"/>
              </a:defRPr>
            </a:lvl3pPr>
            <a:lvl4pPr marL="914400" indent="-228600" algn="l" defTabSz="762000" rtl="0" eaLnBrk="1" latinLnBrk="0" hangingPunct="1">
              <a:lnSpc>
                <a:spcPct val="90000"/>
              </a:lnSpc>
              <a:spcBef>
                <a:spcPts val="500"/>
              </a:spcBef>
              <a:buClr>
                <a:schemeClr val="tx2"/>
              </a:buClr>
              <a:buFont typeface="Arial" panose="020B0604020202020204" pitchFamily="34" charset="0"/>
              <a:buChar char="•"/>
              <a:defRPr sz="1100" kern="1200" spc="0" baseline="0">
                <a:solidFill>
                  <a:schemeClr val="tx1"/>
                </a:solidFill>
                <a:latin typeface="+mn-lt"/>
                <a:ea typeface="+mn-ea"/>
                <a:cs typeface="+mn-cs"/>
              </a:defRPr>
            </a:lvl4pPr>
            <a:lvl5pPr marL="1258888" indent="-228600" algn="l" defTabSz="762000" rtl="0" eaLnBrk="1" latinLnBrk="0" hangingPunct="1">
              <a:lnSpc>
                <a:spcPct val="90000"/>
              </a:lnSpc>
              <a:spcBef>
                <a:spcPts val="500"/>
              </a:spcBef>
              <a:buClr>
                <a:schemeClr val="tx2"/>
              </a:buClr>
              <a:buFont typeface="Arial" panose="020B0604020202020204" pitchFamily="34" charset="0"/>
              <a:buChar char="•"/>
              <a:defRPr sz="11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80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 data size grows, instead of buying more machines (scaling up) we distribute our data across multiple machines</a:t>
            </a:r>
          </a:p>
          <a:p>
            <a:pPr marL="0" marR="0" lvl="0" indent="0" algn="l" defTabSz="914400" rtl="0" eaLnBrk="1" fontAlgn="auto" latinLnBrk="0" hangingPunct="1">
              <a:lnSpc>
                <a:spcPct val="90000"/>
              </a:lnSpc>
              <a:spcBef>
                <a:spcPts val="1200"/>
              </a:spcBef>
              <a:spcAft>
                <a:spcPts val="800"/>
              </a:spcAft>
              <a:buClrTx/>
              <a:buSzTx/>
              <a:buFont typeface="Arial" panose="020B0604020202020204" pitchFamily="34" charset="0"/>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200"/>
              </a:spcBef>
              <a:spcAft>
                <a:spcPts val="80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ach machine is responsible for serving subset of the data.</a:t>
            </a:r>
          </a:p>
          <a:p>
            <a:pPr marL="0" marR="0" lvl="0" indent="0" algn="l" defTabSz="914400" rtl="0" eaLnBrk="1" fontAlgn="auto" latinLnBrk="0" hangingPunct="1">
              <a:lnSpc>
                <a:spcPct val="90000"/>
              </a:lnSpc>
              <a:spcBef>
                <a:spcPts val="1200"/>
              </a:spcBef>
              <a:spcAft>
                <a:spcPts val="800"/>
              </a:spcAft>
              <a:buClrTx/>
              <a:buSzTx/>
              <a:buFont typeface="Arial" panose="020B0604020202020204" pitchFamily="34" charset="0"/>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200"/>
              </a:spcBef>
              <a:spcAft>
                <a:spcPts val="80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alogy: Working in a team</a:t>
            </a:r>
          </a:p>
          <a:p>
            <a:pPr marL="0" marR="0" lvl="0" indent="0" algn="l" defTabSz="914400" rtl="0" eaLnBrk="1" fontAlgn="auto" latinLnBrk="0" hangingPunct="1">
              <a:lnSpc>
                <a:spcPct val="90000"/>
              </a:lnSpc>
              <a:spcBef>
                <a:spcPts val="1200"/>
              </a:spcBef>
              <a:spcAft>
                <a:spcPts val="800"/>
              </a:spcAft>
              <a:buClrTx/>
              <a:buSzTx/>
              <a:buFont typeface="Arial" panose="020B0604020202020204" pitchFamily="34" charset="0"/>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87689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B4996F-7B3F-4E14-8BE3-61404D24858C}"/>
              </a:ext>
            </a:extLst>
          </p:cNvPr>
          <p:cNvSpPr>
            <a:spLocks noGrp="1"/>
          </p:cNvSpPr>
          <p:nvPr>
            <p:ph type="title"/>
          </p:nvPr>
        </p:nvSpPr>
        <p:spPr>
          <a:xfrm>
            <a:off x="1186330" y="2258006"/>
            <a:ext cx="9144000" cy="1170994"/>
          </a:xfrm>
        </p:spPr>
        <p:txBody>
          <a:bodyPr/>
          <a:lstStyle/>
          <a:p>
            <a:r>
              <a:rPr lang="en-US" dirty="0"/>
              <a:t>Overview and Latest Improvements on Azure Cosmos DB </a:t>
            </a:r>
            <a:endParaRPr lang="en-IN" dirty="0"/>
          </a:p>
        </p:txBody>
      </p:sp>
      <p:sp>
        <p:nvSpPr>
          <p:cNvPr id="6" name="Text Placeholder 5">
            <a:extLst>
              <a:ext uri="{FF2B5EF4-FFF2-40B4-BE49-F238E27FC236}">
                <a16:creationId xmlns:a16="http://schemas.microsoft.com/office/drawing/2014/main" id="{FAA004F0-412E-44A1-81C1-6C35A0CFD394}"/>
              </a:ext>
            </a:extLst>
          </p:cNvPr>
          <p:cNvSpPr>
            <a:spLocks noGrp="1"/>
          </p:cNvSpPr>
          <p:nvPr>
            <p:ph type="body" sz="quarter" idx="12"/>
          </p:nvPr>
        </p:nvSpPr>
        <p:spPr>
          <a:xfrm>
            <a:off x="1186330" y="4110967"/>
            <a:ext cx="9144000" cy="1179810"/>
          </a:xfrm>
        </p:spPr>
        <p:txBody>
          <a:bodyPr/>
          <a:lstStyle/>
          <a:p>
            <a:r>
              <a:rPr lang="en-IN" dirty="0"/>
              <a:t>Saranya Sriram</a:t>
            </a:r>
          </a:p>
          <a:p>
            <a:r>
              <a:rPr lang="en-US" dirty="0">
                <a:solidFill>
                  <a:srgbClr val="ED7D31"/>
                </a:solidFill>
                <a:latin typeface="Calibri Light" panose="020F0302020204030204"/>
              </a:rPr>
              <a:t>       @sharan779</a:t>
            </a:r>
            <a:r>
              <a:rPr lang="en-IN" dirty="0"/>
              <a:t> </a:t>
            </a:r>
          </a:p>
          <a:p>
            <a:endParaRPr lang="en-IN" dirty="0"/>
          </a:p>
        </p:txBody>
      </p:sp>
      <p:pic>
        <p:nvPicPr>
          <p:cNvPr id="2" name="Picture 1" descr="Logo&#10;&#10;Description automatically generated">
            <a:extLst>
              <a:ext uri="{FF2B5EF4-FFF2-40B4-BE49-F238E27FC236}">
                <a16:creationId xmlns:a16="http://schemas.microsoft.com/office/drawing/2014/main" id="{022A8FF3-FE09-47F6-4294-7CA8ED9F949C}"/>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186330" y="4574222"/>
            <a:ext cx="360217" cy="270163"/>
          </a:xfrm>
          <a:prstGeom prst="rect">
            <a:avLst/>
          </a:prstGeom>
        </p:spPr>
      </p:pic>
    </p:spTree>
    <p:extLst>
      <p:ext uri="{BB962C8B-B14F-4D97-AF65-F5344CB8AC3E}">
        <p14:creationId xmlns:p14="http://schemas.microsoft.com/office/powerpoint/2010/main" val="26540863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5B725B9-2ED1-4CBE-BD14-D2E36CDF8E02}"/>
              </a:ext>
            </a:extLst>
          </p:cNvPr>
          <p:cNvSpPr>
            <a:spLocks noGrp="1"/>
          </p:cNvSpPr>
          <p:nvPr>
            <p:ph type="title"/>
          </p:nvPr>
        </p:nvSpPr>
        <p:spPr>
          <a:xfrm>
            <a:off x="337851" y="54894"/>
            <a:ext cx="10515600" cy="1325563"/>
          </a:xfrm>
        </p:spPr>
        <p:txBody>
          <a:bodyPr>
            <a:normAutofit/>
          </a:bodyPr>
          <a:lstStyle/>
          <a:p>
            <a:r>
              <a:rPr lang="en-US" sz="4000">
                <a:latin typeface="Arial" panose="020B0604020202020204" pitchFamily="34" charset="0"/>
                <a:cs typeface="Arial" panose="020B0604020202020204" pitchFamily="34" charset="0"/>
              </a:rPr>
              <a:t>Partitioning</a:t>
            </a:r>
          </a:p>
        </p:txBody>
      </p:sp>
      <p:sp>
        <p:nvSpPr>
          <p:cNvPr id="7" name="Content Placeholder 2">
            <a:extLst>
              <a:ext uri="{FF2B5EF4-FFF2-40B4-BE49-F238E27FC236}">
                <a16:creationId xmlns:a16="http://schemas.microsoft.com/office/drawing/2014/main" id="{EC36CE53-4A34-49C2-936E-6613CCAF8DFD}"/>
              </a:ext>
            </a:extLst>
          </p:cNvPr>
          <p:cNvSpPr txBox="1">
            <a:spLocks/>
          </p:cNvSpPr>
          <p:nvPr/>
        </p:nvSpPr>
        <p:spPr>
          <a:xfrm>
            <a:off x="337851" y="1788986"/>
            <a:ext cx="11015949" cy="4351338"/>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ogical partition: </a:t>
            </a:r>
            <a:r>
              <a:rPr kumimoji="0" lang="en-US"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ores all data associated with the same partition key valu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hysical partition: </a:t>
            </a:r>
            <a:r>
              <a:rPr kumimoji="0" lang="en-US"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xed amount of reserved SSD-backed storage + comput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smos DB distributes logical partitions among a smaller number of physical partit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rom user’s perspective: define 1 partition key per contain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20623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088EE3-F4EE-4344-B203-A05BE245FC7F}"/>
              </a:ext>
            </a:extLst>
          </p:cNvPr>
          <p:cNvSpPr>
            <a:spLocks noGrp="1"/>
          </p:cNvSpPr>
          <p:nvPr>
            <p:ph type="title"/>
          </p:nvPr>
        </p:nvSpPr>
        <p:spPr>
          <a:xfrm>
            <a:off x="10022074" y="250874"/>
            <a:ext cx="1948082" cy="6459019"/>
          </a:xfrm>
        </p:spPr>
        <p:txBody>
          <a:bodyPr>
            <a:normAutofit/>
          </a:bodyPr>
          <a:lstStyle/>
          <a:p>
            <a:pPr algn="ctr"/>
            <a:r>
              <a:rPr lang="en-US" sz="3600"/>
              <a:t>Logical </a:t>
            </a:r>
            <a:br>
              <a:rPr lang="en-US" sz="3600"/>
            </a:br>
            <a:r>
              <a:rPr lang="en-US" sz="3600"/>
              <a:t>to</a:t>
            </a:r>
            <a:br>
              <a:rPr lang="en-US" sz="3600"/>
            </a:br>
            <a:r>
              <a:rPr lang="en-US" sz="3600"/>
              <a:t>Physical</a:t>
            </a:r>
            <a:br>
              <a:rPr lang="en-US" sz="3600"/>
            </a:br>
            <a:r>
              <a:rPr lang="en-US" sz="3600"/>
              <a:t>Partition Mapping</a:t>
            </a:r>
          </a:p>
        </p:txBody>
      </p:sp>
      <p:pic>
        <p:nvPicPr>
          <p:cNvPr id="4" name="Picture 3">
            <a:extLst>
              <a:ext uri="{FF2B5EF4-FFF2-40B4-BE49-F238E27FC236}">
                <a16:creationId xmlns:a16="http://schemas.microsoft.com/office/drawing/2014/main" id="{5FD3AD18-4ACE-483E-80B3-5FBCD9E7CDBA}"/>
              </a:ext>
            </a:extLst>
          </p:cNvPr>
          <p:cNvPicPr>
            <a:picLocks noChangeAspect="1"/>
          </p:cNvPicPr>
          <p:nvPr/>
        </p:nvPicPr>
        <p:blipFill>
          <a:blip r:embed="rId2"/>
          <a:stretch>
            <a:fillRect/>
          </a:stretch>
        </p:blipFill>
        <p:spPr>
          <a:xfrm>
            <a:off x="86617" y="114558"/>
            <a:ext cx="9890380" cy="6743441"/>
          </a:xfrm>
          <a:prstGeom prst="rect">
            <a:avLst/>
          </a:prstGeom>
        </p:spPr>
      </p:pic>
    </p:spTree>
    <p:extLst>
      <p:ext uri="{BB962C8B-B14F-4D97-AF65-F5344CB8AC3E}">
        <p14:creationId xmlns:p14="http://schemas.microsoft.com/office/powerpoint/2010/main" val="262778506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0F671-8610-49FC-9551-3F03FAA1B36E}"/>
              </a:ext>
            </a:extLst>
          </p:cNvPr>
          <p:cNvSpPr>
            <a:spLocks noGrp="1"/>
          </p:cNvSpPr>
          <p:nvPr>
            <p:ph type="title"/>
          </p:nvPr>
        </p:nvSpPr>
        <p:spPr>
          <a:xfrm>
            <a:off x="269240" y="289513"/>
            <a:ext cx="11655840" cy="899665"/>
          </a:xfrm>
        </p:spPr>
        <p:txBody>
          <a:bodyPr>
            <a:normAutofit/>
          </a:bodyPr>
          <a:lstStyle/>
          <a:p>
            <a:r>
              <a:rPr lang="en-US" sz="4000">
                <a:latin typeface="Arial" panose="020B0604020202020204" pitchFamily="34" charset="0"/>
                <a:cs typeface="Arial" panose="020B0604020202020204" pitchFamily="34" charset="0"/>
              </a:rPr>
              <a:t>Partitions</a:t>
            </a:r>
          </a:p>
        </p:txBody>
      </p:sp>
      <p:sp>
        <p:nvSpPr>
          <p:cNvPr id="111" name="Title 1">
            <a:extLst>
              <a:ext uri="{FF2B5EF4-FFF2-40B4-BE49-F238E27FC236}">
                <a16:creationId xmlns:a16="http://schemas.microsoft.com/office/drawing/2014/main" id="{7E994518-9D44-421F-9D96-EEFB0900354B}"/>
              </a:ext>
            </a:extLst>
          </p:cNvPr>
          <p:cNvSpPr txBox="1">
            <a:spLocks/>
          </p:cNvSpPr>
          <p:nvPr/>
        </p:nvSpPr>
        <p:spPr>
          <a:xfrm>
            <a:off x="269240" y="289513"/>
            <a:ext cx="11655840" cy="89966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Partitions</a:t>
            </a:r>
          </a:p>
        </p:txBody>
      </p:sp>
      <p:sp>
        <p:nvSpPr>
          <p:cNvPr id="112" name="TextBox 111">
            <a:extLst>
              <a:ext uri="{FF2B5EF4-FFF2-40B4-BE49-F238E27FC236}">
                <a16:creationId xmlns:a16="http://schemas.microsoft.com/office/drawing/2014/main" id="{8B0F0041-8DB1-427F-A846-35E429BF396C}"/>
              </a:ext>
            </a:extLst>
          </p:cNvPr>
          <p:cNvSpPr txBox="1"/>
          <p:nvPr/>
        </p:nvSpPr>
        <p:spPr>
          <a:xfrm>
            <a:off x="5676287" y="2928030"/>
            <a:ext cx="1440000" cy="7940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3600" b="1"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a:t>
            </a:r>
          </a:p>
        </p:txBody>
      </p:sp>
      <p:sp>
        <p:nvSpPr>
          <p:cNvPr id="130" name="TextBox 129">
            <a:extLst>
              <a:ext uri="{FF2B5EF4-FFF2-40B4-BE49-F238E27FC236}">
                <a16:creationId xmlns:a16="http://schemas.microsoft.com/office/drawing/2014/main" id="{77693A3B-063F-4D62-9B4C-D366E9ECDAD6}"/>
              </a:ext>
            </a:extLst>
          </p:cNvPr>
          <p:cNvSpPr txBox="1"/>
          <p:nvPr/>
        </p:nvSpPr>
        <p:spPr>
          <a:xfrm>
            <a:off x="4230837" y="1558028"/>
            <a:ext cx="2470977" cy="627865"/>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Arial" panose="020B0604020202020204" pitchFamily="34" charset="0"/>
                <a:ea typeface="+mn-ea"/>
                <a:cs typeface="Arial" panose="020B0604020202020204" pitchFamily="34" charset="0"/>
              </a:rPr>
              <a:t>hash(City ID)</a:t>
            </a:r>
          </a:p>
        </p:txBody>
      </p:sp>
      <p:cxnSp>
        <p:nvCxnSpPr>
          <p:cNvPr id="131" name="Straight Arrow Connector 130">
            <a:extLst>
              <a:ext uri="{FF2B5EF4-FFF2-40B4-BE49-F238E27FC236}">
                <a16:creationId xmlns:a16="http://schemas.microsoft.com/office/drawing/2014/main" id="{274FB4EC-82A6-48EF-8FDA-08407486B63B}"/>
              </a:ext>
            </a:extLst>
          </p:cNvPr>
          <p:cNvCxnSpPr>
            <a:cxnSpLocks/>
          </p:cNvCxnSpPr>
          <p:nvPr/>
        </p:nvCxnSpPr>
        <p:spPr>
          <a:xfrm>
            <a:off x="4737585" y="2236369"/>
            <a:ext cx="0" cy="392859"/>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D50F9F7A-CEF5-48A3-84FD-FA38D6B68D33}"/>
              </a:ext>
            </a:extLst>
          </p:cNvPr>
          <p:cNvCxnSpPr>
            <a:cxnSpLocks/>
          </p:cNvCxnSpPr>
          <p:nvPr/>
        </p:nvCxnSpPr>
        <p:spPr>
          <a:xfrm>
            <a:off x="6680599" y="2192357"/>
            <a:ext cx="1808764" cy="454219"/>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72CBC69F-DDE5-4074-9836-54C0F8BF4E1B}"/>
              </a:ext>
            </a:extLst>
          </p:cNvPr>
          <p:cNvGrpSpPr/>
          <p:nvPr/>
        </p:nvGrpSpPr>
        <p:grpSpPr>
          <a:xfrm>
            <a:off x="834820" y="2195347"/>
            <a:ext cx="3500488" cy="3506023"/>
            <a:chOff x="1966391" y="2712977"/>
            <a:chExt cx="3500488" cy="3506023"/>
          </a:xfrm>
        </p:grpSpPr>
        <p:grpSp>
          <p:nvGrpSpPr>
            <p:cNvPr id="155" name="Group 154">
              <a:extLst>
                <a:ext uri="{FF2B5EF4-FFF2-40B4-BE49-F238E27FC236}">
                  <a16:creationId xmlns:a16="http://schemas.microsoft.com/office/drawing/2014/main" id="{55938189-B827-41C6-AF06-52833EDEB15C}"/>
                </a:ext>
              </a:extLst>
            </p:cNvPr>
            <p:cNvGrpSpPr/>
            <p:nvPr/>
          </p:nvGrpSpPr>
          <p:grpSpPr>
            <a:xfrm>
              <a:off x="2143610" y="4101695"/>
              <a:ext cx="1159601" cy="580317"/>
              <a:chOff x="7919988" y="2744429"/>
              <a:chExt cx="1159601" cy="580317"/>
            </a:xfrm>
            <a:solidFill>
              <a:schemeClr val="bg1">
                <a:lumMod val="95000"/>
              </a:schemeClr>
            </a:solidFill>
          </p:grpSpPr>
          <p:sp>
            <p:nvSpPr>
              <p:cNvPr id="189" name="Rectangle 188">
                <a:extLst>
                  <a:ext uri="{FF2B5EF4-FFF2-40B4-BE49-F238E27FC236}">
                    <a16:creationId xmlns:a16="http://schemas.microsoft.com/office/drawing/2014/main" id="{00988F40-B1DE-401B-8608-FF21BB676CD5}"/>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90" name="Rectangle 189">
                <a:extLst>
                  <a:ext uri="{FF2B5EF4-FFF2-40B4-BE49-F238E27FC236}">
                    <a16:creationId xmlns:a16="http://schemas.microsoft.com/office/drawing/2014/main" id="{C02DB3B6-A6A6-4DCF-82FD-85A526686CCA}"/>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01A8FD69-2BCF-4904-BA99-C2FB3FB85EB2}"/>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Beijing</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cxnSp>
          <p:nvCxnSpPr>
            <p:cNvPr id="156" name="Straight Arrow Connector 155">
              <a:extLst>
                <a:ext uri="{FF2B5EF4-FFF2-40B4-BE49-F238E27FC236}">
                  <a16:creationId xmlns:a16="http://schemas.microsoft.com/office/drawing/2014/main" id="{9B00190F-2D0A-4DFB-BDBC-0BA42A37C13E}"/>
                </a:ext>
              </a:extLst>
            </p:cNvPr>
            <p:cNvCxnSpPr>
              <a:cxnSpLocks/>
            </p:cNvCxnSpPr>
            <p:nvPr/>
          </p:nvCxnSpPr>
          <p:spPr>
            <a:xfrm flipH="1">
              <a:off x="3182457" y="2712977"/>
              <a:ext cx="2284422" cy="390754"/>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24A87DE1-5183-45D6-87C7-A062EE1CB260}"/>
                </a:ext>
              </a:extLst>
            </p:cNvPr>
            <p:cNvSpPr/>
            <p:nvPr/>
          </p:nvSpPr>
          <p:spPr bwMode="auto">
            <a:xfrm>
              <a:off x="2115863" y="4821680"/>
              <a:ext cx="1156828" cy="417453"/>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Seattle</a:t>
              </a:r>
              <a:endParaRPr kumimoji="0" lang="en-US" sz="18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nvGrpSpPr>
            <p:cNvPr id="161" name="Group 160">
              <a:extLst>
                <a:ext uri="{FF2B5EF4-FFF2-40B4-BE49-F238E27FC236}">
                  <a16:creationId xmlns:a16="http://schemas.microsoft.com/office/drawing/2014/main" id="{16F1B6C7-41B3-4F4C-AAAF-3B3C4557CDD0}"/>
                </a:ext>
              </a:extLst>
            </p:cNvPr>
            <p:cNvGrpSpPr/>
            <p:nvPr/>
          </p:nvGrpSpPr>
          <p:grpSpPr>
            <a:xfrm>
              <a:off x="2389347" y="3419793"/>
              <a:ext cx="745007" cy="417453"/>
              <a:chOff x="1275510" y="6072184"/>
              <a:chExt cx="508602" cy="456278"/>
            </a:xfrm>
          </p:grpSpPr>
          <p:grpSp>
            <p:nvGrpSpPr>
              <p:cNvPr id="168" name="Group 167">
                <a:extLst>
                  <a:ext uri="{FF2B5EF4-FFF2-40B4-BE49-F238E27FC236}">
                    <a16:creationId xmlns:a16="http://schemas.microsoft.com/office/drawing/2014/main" id="{A3150CA2-0FF0-4852-BA66-1FFE8E182294}"/>
                  </a:ext>
                </a:extLst>
              </p:cNvPr>
              <p:cNvGrpSpPr/>
              <p:nvPr/>
            </p:nvGrpSpPr>
            <p:grpSpPr>
              <a:xfrm>
                <a:off x="1275510" y="6224570"/>
                <a:ext cx="508602" cy="151498"/>
                <a:chOff x="551886" y="4945335"/>
                <a:chExt cx="508602" cy="151498"/>
              </a:xfrm>
            </p:grpSpPr>
            <p:sp>
              <p:nvSpPr>
                <p:cNvPr id="186" name="Rectangle 185">
                  <a:extLst>
                    <a:ext uri="{FF2B5EF4-FFF2-40B4-BE49-F238E27FC236}">
                      <a16:creationId xmlns:a16="http://schemas.microsoft.com/office/drawing/2014/main" id="{00B0622E-4E95-47B0-A9D0-4159BB9836B5}"/>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87" name="Oval 186">
                  <a:extLst>
                    <a:ext uri="{FF2B5EF4-FFF2-40B4-BE49-F238E27FC236}">
                      <a16:creationId xmlns:a16="http://schemas.microsoft.com/office/drawing/2014/main" id="{542A822B-D9E8-4D2C-A61A-1A8E1F52E0AE}"/>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88" name="Straight Connector 187">
                  <a:extLst>
                    <a:ext uri="{FF2B5EF4-FFF2-40B4-BE49-F238E27FC236}">
                      <a16:creationId xmlns:a16="http://schemas.microsoft.com/office/drawing/2014/main" id="{5415C48B-B967-4B3A-9516-2A4B4DC30764}"/>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8A65D28A-E453-4735-B6CB-EA21D2910198}"/>
                  </a:ext>
                </a:extLst>
              </p:cNvPr>
              <p:cNvGrpSpPr/>
              <p:nvPr/>
            </p:nvGrpSpPr>
            <p:grpSpPr>
              <a:xfrm>
                <a:off x="1275510" y="6376964"/>
                <a:ext cx="508602" cy="151498"/>
                <a:chOff x="551886" y="4945335"/>
                <a:chExt cx="508602" cy="151498"/>
              </a:xfrm>
            </p:grpSpPr>
            <p:sp>
              <p:nvSpPr>
                <p:cNvPr id="179" name="Rectangle 178">
                  <a:extLst>
                    <a:ext uri="{FF2B5EF4-FFF2-40B4-BE49-F238E27FC236}">
                      <a16:creationId xmlns:a16="http://schemas.microsoft.com/office/drawing/2014/main" id="{FC807671-37C5-466C-9DA6-70427C44509B}"/>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84" name="Oval 183">
                  <a:extLst>
                    <a:ext uri="{FF2B5EF4-FFF2-40B4-BE49-F238E27FC236}">
                      <a16:creationId xmlns:a16="http://schemas.microsoft.com/office/drawing/2014/main" id="{2CDA45AB-7D7A-4B5F-9AA9-9592289C842B}"/>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85" name="Straight Connector 184">
                  <a:extLst>
                    <a:ext uri="{FF2B5EF4-FFF2-40B4-BE49-F238E27FC236}">
                      <a16:creationId xmlns:a16="http://schemas.microsoft.com/office/drawing/2014/main" id="{348335A1-2EE5-4903-9D8B-D3D983F84394}"/>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1" name="Group 170">
                <a:extLst>
                  <a:ext uri="{FF2B5EF4-FFF2-40B4-BE49-F238E27FC236}">
                    <a16:creationId xmlns:a16="http://schemas.microsoft.com/office/drawing/2014/main" id="{D41BE665-C843-4AE9-A769-016417094C40}"/>
                  </a:ext>
                </a:extLst>
              </p:cNvPr>
              <p:cNvGrpSpPr/>
              <p:nvPr/>
            </p:nvGrpSpPr>
            <p:grpSpPr>
              <a:xfrm>
                <a:off x="1275510" y="6072184"/>
                <a:ext cx="508602" cy="151498"/>
                <a:chOff x="551886" y="4945335"/>
                <a:chExt cx="508602" cy="151498"/>
              </a:xfrm>
            </p:grpSpPr>
            <p:sp>
              <p:nvSpPr>
                <p:cNvPr id="174" name="Rectangle 173">
                  <a:extLst>
                    <a:ext uri="{FF2B5EF4-FFF2-40B4-BE49-F238E27FC236}">
                      <a16:creationId xmlns:a16="http://schemas.microsoft.com/office/drawing/2014/main" id="{F8B957EF-95FC-4A34-905A-AC3C91EAB059}"/>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77" name="Oval 176">
                  <a:extLst>
                    <a:ext uri="{FF2B5EF4-FFF2-40B4-BE49-F238E27FC236}">
                      <a16:creationId xmlns:a16="http://schemas.microsoft.com/office/drawing/2014/main" id="{F782ADBE-4BA5-4867-AD7B-B5BBF93F3578}"/>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78" name="Straight Connector 177">
                  <a:extLst>
                    <a:ext uri="{FF2B5EF4-FFF2-40B4-BE49-F238E27FC236}">
                      <a16:creationId xmlns:a16="http://schemas.microsoft.com/office/drawing/2014/main" id="{844D19BF-A333-462F-ACA9-8CFF51E5C937}"/>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62" name="Rectangle 161">
              <a:extLst>
                <a:ext uri="{FF2B5EF4-FFF2-40B4-BE49-F238E27FC236}">
                  <a16:creationId xmlns:a16="http://schemas.microsoft.com/office/drawing/2014/main" id="{23554466-129E-467D-B92F-7A0693786DDE}"/>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nvGrpSpPr>
            <p:cNvPr id="164" name="Group 163">
              <a:extLst>
                <a:ext uri="{FF2B5EF4-FFF2-40B4-BE49-F238E27FC236}">
                  <a16:creationId xmlns:a16="http://schemas.microsoft.com/office/drawing/2014/main" id="{E4016959-EF70-4734-93BA-597DBAEBB3B0}"/>
                </a:ext>
              </a:extLst>
            </p:cNvPr>
            <p:cNvGrpSpPr/>
            <p:nvPr/>
          </p:nvGrpSpPr>
          <p:grpSpPr>
            <a:xfrm>
              <a:off x="2113090" y="5352625"/>
              <a:ext cx="1159601" cy="580317"/>
              <a:chOff x="7919988" y="2744429"/>
              <a:chExt cx="1159601" cy="580317"/>
            </a:xfrm>
            <a:solidFill>
              <a:schemeClr val="bg1">
                <a:lumMod val="95000"/>
              </a:schemeClr>
            </a:solidFill>
          </p:grpSpPr>
          <p:sp>
            <p:nvSpPr>
              <p:cNvPr id="165" name="Rectangle 164">
                <a:extLst>
                  <a:ext uri="{FF2B5EF4-FFF2-40B4-BE49-F238E27FC236}">
                    <a16:creationId xmlns:a16="http://schemas.microsoft.com/office/drawing/2014/main" id="{702191A2-61CD-478C-96E3-7C796FC81647}"/>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66" name="Rectangle 165">
                <a:extLst>
                  <a:ext uri="{FF2B5EF4-FFF2-40B4-BE49-F238E27FC236}">
                    <a16:creationId xmlns:a16="http://schemas.microsoft.com/office/drawing/2014/main" id="{9FF6046D-D81A-41FC-912C-DCC23EA3F81D}"/>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67" name="Rectangle 166">
                <a:extLst>
                  <a:ext uri="{FF2B5EF4-FFF2-40B4-BE49-F238E27FC236}">
                    <a16:creationId xmlns:a16="http://schemas.microsoft.com/office/drawing/2014/main" id="{5E7E913A-0179-4747-9838-EEC629953759}"/>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Paris</a:t>
                </a:r>
              </a:p>
            </p:txBody>
          </p:sp>
        </p:grpSp>
      </p:grpSp>
      <p:grpSp>
        <p:nvGrpSpPr>
          <p:cNvPr id="196" name="Group 195">
            <a:extLst>
              <a:ext uri="{FF2B5EF4-FFF2-40B4-BE49-F238E27FC236}">
                <a16:creationId xmlns:a16="http://schemas.microsoft.com/office/drawing/2014/main" id="{D7346B1A-E3FE-47AB-B791-05CE29B5B0EE}"/>
              </a:ext>
            </a:extLst>
          </p:cNvPr>
          <p:cNvGrpSpPr/>
          <p:nvPr/>
        </p:nvGrpSpPr>
        <p:grpSpPr>
          <a:xfrm>
            <a:off x="3400766" y="2733037"/>
            <a:ext cx="1674951" cy="2985091"/>
            <a:chOff x="1966391" y="3233909"/>
            <a:chExt cx="1674951" cy="2985091"/>
          </a:xfrm>
        </p:grpSpPr>
        <p:grpSp>
          <p:nvGrpSpPr>
            <p:cNvPr id="197" name="Group 196">
              <a:extLst>
                <a:ext uri="{FF2B5EF4-FFF2-40B4-BE49-F238E27FC236}">
                  <a16:creationId xmlns:a16="http://schemas.microsoft.com/office/drawing/2014/main" id="{C412C9D3-53E2-4C3B-B31F-EA873DD28D2E}"/>
                </a:ext>
              </a:extLst>
            </p:cNvPr>
            <p:cNvGrpSpPr/>
            <p:nvPr/>
          </p:nvGrpSpPr>
          <p:grpSpPr>
            <a:xfrm>
              <a:off x="2143610" y="4101695"/>
              <a:ext cx="1159601" cy="580317"/>
              <a:chOff x="7919988" y="2744429"/>
              <a:chExt cx="1159601" cy="580317"/>
            </a:xfrm>
            <a:solidFill>
              <a:schemeClr val="bg1">
                <a:lumMod val="95000"/>
              </a:schemeClr>
            </a:solidFill>
          </p:grpSpPr>
          <p:sp>
            <p:nvSpPr>
              <p:cNvPr id="213" name="Rectangle 212">
                <a:extLst>
                  <a:ext uri="{FF2B5EF4-FFF2-40B4-BE49-F238E27FC236}">
                    <a16:creationId xmlns:a16="http://schemas.microsoft.com/office/drawing/2014/main" id="{8EFB98BF-1680-489F-85B8-D84B4000421C}"/>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14" name="Rectangle 213">
                <a:extLst>
                  <a:ext uri="{FF2B5EF4-FFF2-40B4-BE49-F238E27FC236}">
                    <a16:creationId xmlns:a16="http://schemas.microsoft.com/office/drawing/2014/main" id="{61C1B326-A362-4D63-A454-23E8474B2106}"/>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15" name="Rectangle 214">
                <a:extLst>
                  <a:ext uri="{FF2B5EF4-FFF2-40B4-BE49-F238E27FC236}">
                    <a16:creationId xmlns:a16="http://schemas.microsoft.com/office/drawing/2014/main" id="{7EF9654D-B7B9-4235-A01B-3268F6EE0AE2}"/>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051"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Redmond</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sp>
          <p:nvSpPr>
            <p:cNvPr id="198" name="Rectangle 197">
              <a:extLst>
                <a:ext uri="{FF2B5EF4-FFF2-40B4-BE49-F238E27FC236}">
                  <a16:creationId xmlns:a16="http://schemas.microsoft.com/office/drawing/2014/main" id="{048E0EDA-AABE-41B5-B8A6-7C759697A355}"/>
                </a:ext>
              </a:extLst>
            </p:cNvPr>
            <p:cNvSpPr/>
            <p:nvPr/>
          </p:nvSpPr>
          <p:spPr bwMode="auto">
            <a:xfrm>
              <a:off x="2115863" y="4821680"/>
              <a:ext cx="1156828" cy="417453"/>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Shanghai</a:t>
              </a:r>
            </a:p>
          </p:txBody>
        </p:sp>
        <p:grpSp>
          <p:nvGrpSpPr>
            <p:cNvPr id="199" name="Group 198">
              <a:extLst>
                <a:ext uri="{FF2B5EF4-FFF2-40B4-BE49-F238E27FC236}">
                  <a16:creationId xmlns:a16="http://schemas.microsoft.com/office/drawing/2014/main" id="{0F344D5A-709D-4C9C-89F6-72B13C2D8AFF}"/>
                </a:ext>
              </a:extLst>
            </p:cNvPr>
            <p:cNvGrpSpPr/>
            <p:nvPr/>
          </p:nvGrpSpPr>
          <p:grpSpPr>
            <a:xfrm>
              <a:off x="2389347" y="3419793"/>
              <a:ext cx="745007" cy="417453"/>
              <a:chOff x="1275510" y="6072184"/>
              <a:chExt cx="508602" cy="456278"/>
            </a:xfrm>
          </p:grpSpPr>
          <p:grpSp>
            <p:nvGrpSpPr>
              <p:cNvPr id="201" name="Group 200">
                <a:extLst>
                  <a:ext uri="{FF2B5EF4-FFF2-40B4-BE49-F238E27FC236}">
                    <a16:creationId xmlns:a16="http://schemas.microsoft.com/office/drawing/2014/main" id="{ECF8E9AD-BFB4-4105-B740-2CA7A8090A14}"/>
                  </a:ext>
                </a:extLst>
              </p:cNvPr>
              <p:cNvGrpSpPr/>
              <p:nvPr/>
            </p:nvGrpSpPr>
            <p:grpSpPr>
              <a:xfrm>
                <a:off x="1275510" y="6224570"/>
                <a:ext cx="508602" cy="151498"/>
                <a:chOff x="551886" y="4945335"/>
                <a:chExt cx="508602" cy="151498"/>
              </a:xfrm>
            </p:grpSpPr>
            <p:sp>
              <p:nvSpPr>
                <p:cNvPr id="210" name="Rectangle 209">
                  <a:extLst>
                    <a:ext uri="{FF2B5EF4-FFF2-40B4-BE49-F238E27FC236}">
                      <a16:creationId xmlns:a16="http://schemas.microsoft.com/office/drawing/2014/main" id="{00E4765D-7F50-4202-8952-42F22FDE706F}"/>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11" name="Oval 210">
                  <a:extLst>
                    <a:ext uri="{FF2B5EF4-FFF2-40B4-BE49-F238E27FC236}">
                      <a16:creationId xmlns:a16="http://schemas.microsoft.com/office/drawing/2014/main" id="{4724E1B5-898C-45B2-B9D3-3DB09BDC3E0C}"/>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212" name="Straight Connector 211">
                  <a:extLst>
                    <a:ext uri="{FF2B5EF4-FFF2-40B4-BE49-F238E27FC236}">
                      <a16:creationId xmlns:a16="http://schemas.microsoft.com/office/drawing/2014/main" id="{C4750A55-6B92-4063-B3F8-D1CACF65F997}"/>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2" name="Group 201">
                <a:extLst>
                  <a:ext uri="{FF2B5EF4-FFF2-40B4-BE49-F238E27FC236}">
                    <a16:creationId xmlns:a16="http://schemas.microsoft.com/office/drawing/2014/main" id="{6BC529F3-0216-4D82-B683-3B9ACD9490EB}"/>
                  </a:ext>
                </a:extLst>
              </p:cNvPr>
              <p:cNvGrpSpPr/>
              <p:nvPr/>
            </p:nvGrpSpPr>
            <p:grpSpPr>
              <a:xfrm>
                <a:off x="1275510" y="6376964"/>
                <a:ext cx="508602" cy="151498"/>
                <a:chOff x="551886" y="4945335"/>
                <a:chExt cx="508602" cy="151498"/>
              </a:xfrm>
            </p:grpSpPr>
            <p:sp>
              <p:nvSpPr>
                <p:cNvPr id="207" name="Rectangle 206">
                  <a:extLst>
                    <a:ext uri="{FF2B5EF4-FFF2-40B4-BE49-F238E27FC236}">
                      <a16:creationId xmlns:a16="http://schemas.microsoft.com/office/drawing/2014/main" id="{42C7B4B2-EE1D-4460-AFFE-7F60F8DC833A}"/>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08" name="Oval 207">
                  <a:extLst>
                    <a:ext uri="{FF2B5EF4-FFF2-40B4-BE49-F238E27FC236}">
                      <a16:creationId xmlns:a16="http://schemas.microsoft.com/office/drawing/2014/main" id="{4CB94DC0-21D7-4EB2-A4F1-7B69498B7943}"/>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209" name="Straight Connector 208">
                  <a:extLst>
                    <a:ext uri="{FF2B5EF4-FFF2-40B4-BE49-F238E27FC236}">
                      <a16:creationId xmlns:a16="http://schemas.microsoft.com/office/drawing/2014/main" id="{E13A6415-B611-446F-84D6-3E367C2406D2}"/>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3" name="Group 202">
                <a:extLst>
                  <a:ext uri="{FF2B5EF4-FFF2-40B4-BE49-F238E27FC236}">
                    <a16:creationId xmlns:a16="http://schemas.microsoft.com/office/drawing/2014/main" id="{1F76A17F-EF07-48A4-9C3D-FAFED935AEB4}"/>
                  </a:ext>
                </a:extLst>
              </p:cNvPr>
              <p:cNvGrpSpPr/>
              <p:nvPr/>
            </p:nvGrpSpPr>
            <p:grpSpPr>
              <a:xfrm>
                <a:off x="1275510" y="6072184"/>
                <a:ext cx="508602" cy="151498"/>
                <a:chOff x="551886" y="4945335"/>
                <a:chExt cx="508602" cy="151498"/>
              </a:xfrm>
            </p:grpSpPr>
            <p:sp>
              <p:nvSpPr>
                <p:cNvPr id="204" name="Rectangle 203">
                  <a:extLst>
                    <a:ext uri="{FF2B5EF4-FFF2-40B4-BE49-F238E27FC236}">
                      <a16:creationId xmlns:a16="http://schemas.microsoft.com/office/drawing/2014/main" id="{604D6573-9DF6-4EA0-B20C-D27A6E445F49}"/>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05" name="Oval 204">
                  <a:extLst>
                    <a:ext uri="{FF2B5EF4-FFF2-40B4-BE49-F238E27FC236}">
                      <a16:creationId xmlns:a16="http://schemas.microsoft.com/office/drawing/2014/main" id="{919DBE48-0659-4F44-94C7-4754B0A70076}"/>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206" name="Straight Connector 205">
                  <a:extLst>
                    <a:ext uri="{FF2B5EF4-FFF2-40B4-BE49-F238E27FC236}">
                      <a16:creationId xmlns:a16="http://schemas.microsoft.com/office/drawing/2014/main" id="{143C5B02-8AD5-4193-869F-3BCDC32CFF94}"/>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00" name="Rectangle 199">
              <a:extLst>
                <a:ext uri="{FF2B5EF4-FFF2-40B4-BE49-F238E27FC236}">
                  <a16:creationId xmlns:a16="http://schemas.microsoft.com/office/drawing/2014/main" id="{448C630C-4147-467F-81A0-1CD37E7C42AF}"/>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grpSp>
        <p:nvGrpSpPr>
          <p:cNvPr id="216" name="Group 215">
            <a:extLst>
              <a:ext uri="{FF2B5EF4-FFF2-40B4-BE49-F238E27FC236}">
                <a16:creationId xmlns:a16="http://schemas.microsoft.com/office/drawing/2014/main" id="{D0C5DA08-3D96-4C4D-9AF0-617E6607D9F0}"/>
              </a:ext>
            </a:extLst>
          </p:cNvPr>
          <p:cNvGrpSpPr/>
          <p:nvPr/>
        </p:nvGrpSpPr>
        <p:grpSpPr>
          <a:xfrm>
            <a:off x="7391050" y="2733037"/>
            <a:ext cx="1674951" cy="2985091"/>
            <a:chOff x="9328755" y="3250668"/>
            <a:chExt cx="1674951" cy="2985091"/>
          </a:xfrm>
        </p:grpSpPr>
        <p:grpSp>
          <p:nvGrpSpPr>
            <p:cNvPr id="217" name="Group 216">
              <a:extLst>
                <a:ext uri="{FF2B5EF4-FFF2-40B4-BE49-F238E27FC236}">
                  <a16:creationId xmlns:a16="http://schemas.microsoft.com/office/drawing/2014/main" id="{ED384EE1-F18B-46F1-A2A8-C3985478E8C8}"/>
                </a:ext>
              </a:extLst>
            </p:cNvPr>
            <p:cNvGrpSpPr/>
            <p:nvPr/>
          </p:nvGrpSpPr>
          <p:grpSpPr>
            <a:xfrm>
              <a:off x="9328755" y="3250668"/>
              <a:ext cx="1674951" cy="2985091"/>
              <a:chOff x="1966391" y="3233909"/>
              <a:chExt cx="1674951" cy="2985091"/>
            </a:xfrm>
          </p:grpSpPr>
          <p:grpSp>
            <p:nvGrpSpPr>
              <p:cNvPr id="222" name="Group 221">
                <a:extLst>
                  <a:ext uri="{FF2B5EF4-FFF2-40B4-BE49-F238E27FC236}">
                    <a16:creationId xmlns:a16="http://schemas.microsoft.com/office/drawing/2014/main" id="{9928445B-78E2-491D-B51F-0716A978C685}"/>
                  </a:ext>
                </a:extLst>
              </p:cNvPr>
              <p:cNvGrpSpPr/>
              <p:nvPr/>
            </p:nvGrpSpPr>
            <p:grpSpPr>
              <a:xfrm>
                <a:off x="2143610" y="4101695"/>
                <a:ext cx="1159601" cy="580317"/>
                <a:chOff x="7919988" y="2744429"/>
                <a:chExt cx="1159601" cy="580317"/>
              </a:xfrm>
              <a:solidFill>
                <a:schemeClr val="bg1">
                  <a:lumMod val="95000"/>
                </a:schemeClr>
              </a:solidFill>
            </p:grpSpPr>
            <p:sp>
              <p:nvSpPr>
                <p:cNvPr id="241" name="Rectangle 240">
                  <a:extLst>
                    <a:ext uri="{FF2B5EF4-FFF2-40B4-BE49-F238E27FC236}">
                      <a16:creationId xmlns:a16="http://schemas.microsoft.com/office/drawing/2014/main" id="{0799C048-1FC5-427B-A533-35589D87DB7E}"/>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42" name="Rectangle 241">
                  <a:extLst>
                    <a:ext uri="{FF2B5EF4-FFF2-40B4-BE49-F238E27FC236}">
                      <a16:creationId xmlns:a16="http://schemas.microsoft.com/office/drawing/2014/main" id="{42687EEB-6563-4E86-9AF2-C2345645F2D0}"/>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43" name="Rectangle 242">
                  <a:extLst>
                    <a:ext uri="{FF2B5EF4-FFF2-40B4-BE49-F238E27FC236}">
                      <a16:creationId xmlns:a16="http://schemas.microsoft.com/office/drawing/2014/main" id="{EA144700-FF52-44B2-B39D-618EB8881923}"/>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grpSp>
            <p:nvGrpSpPr>
              <p:cNvPr id="223" name="Group 222">
                <a:extLst>
                  <a:ext uri="{FF2B5EF4-FFF2-40B4-BE49-F238E27FC236}">
                    <a16:creationId xmlns:a16="http://schemas.microsoft.com/office/drawing/2014/main" id="{826541D0-E7A2-42DE-89C0-59F16FB2336E}"/>
                  </a:ext>
                </a:extLst>
              </p:cNvPr>
              <p:cNvGrpSpPr/>
              <p:nvPr/>
            </p:nvGrpSpPr>
            <p:grpSpPr>
              <a:xfrm>
                <a:off x="2389347" y="3419793"/>
                <a:ext cx="745007" cy="417453"/>
                <a:chOff x="1275510" y="6072184"/>
                <a:chExt cx="508602" cy="456278"/>
              </a:xfrm>
            </p:grpSpPr>
            <p:grpSp>
              <p:nvGrpSpPr>
                <p:cNvPr id="229" name="Group 228">
                  <a:extLst>
                    <a:ext uri="{FF2B5EF4-FFF2-40B4-BE49-F238E27FC236}">
                      <a16:creationId xmlns:a16="http://schemas.microsoft.com/office/drawing/2014/main" id="{06A2E418-5AB1-41C1-91E3-C415EA777C5F}"/>
                    </a:ext>
                  </a:extLst>
                </p:cNvPr>
                <p:cNvGrpSpPr/>
                <p:nvPr/>
              </p:nvGrpSpPr>
              <p:grpSpPr>
                <a:xfrm>
                  <a:off x="1275510" y="6224570"/>
                  <a:ext cx="508602" cy="151498"/>
                  <a:chOff x="551886" y="4945335"/>
                  <a:chExt cx="508602" cy="151498"/>
                </a:xfrm>
              </p:grpSpPr>
              <p:sp>
                <p:nvSpPr>
                  <p:cNvPr id="238" name="Rectangle 237">
                    <a:extLst>
                      <a:ext uri="{FF2B5EF4-FFF2-40B4-BE49-F238E27FC236}">
                        <a16:creationId xmlns:a16="http://schemas.microsoft.com/office/drawing/2014/main" id="{4B6DFA58-902E-45B6-B1A5-E666DE41C9F1}"/>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39" name="Oval 238">
                    <a:extLst>
                      <a:ext uri="{FF2B5EF4-FFF2-40B4-BE49-F238E27FC236}">
                        <a16:creationId xmlns:a16="http://schemas.microsoft.com/office/drawing/2014/main" id="{ADAB7003-A0DE-4E59-8E3C-442375B8BA0A}"/>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240" name="Straight Connector 239">
                    <a:extLst>
                      <a:ext uri="{FF2B5EF4-FFF2-40B4-BE49-F238E27FC236}">
                        <a16:creationId xmlns:a16="http://schemas.microsoft.com/office/drawing/2014/main" id="{8483C187-E357-4804-8A69-EBE9DB3A1CB7}"/>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0" name="Group 229">
                  <a:extLst>
                    <a:ext uri="{FF2B5EF4-FFF2-40B4-BE49-F238E27FC236}">
                      <a16:creationId xmlns:a16="http://schemas.microsoft.com/office/drawing/2014/main" id="{90C8B332-FF26-4768-89C3-78EBC8642783}"/>
                    </a:ext>
                  </a:extLst>
                </p:cNvPr>
                <p:cNvGrpSpPr/>
                <p:nvPr/>
              </p:nvGrpSpPr>
              <p:grpSpPr>
                <a:xfrm>
                  <a:off x="1275510" y="6376964"/>
                  <a:ext cx="508602" cy="151498"/>
                  <a:chOff x="551886" y="4945335"/>
                  <a:chExt cx="508602" cy="151498"/>
                </a:xfrm>
              </p:grpSpPr>
              <p:sp>
                <p:nvSpPr>
                  <p:cNvPr id="235" name="Rectangle 234">
                    <a:extLst>
                      <a:ext uri="{FF2B5EF4-FFF2-40B4-BE49-F238E27FC236}">
                        <a16:creationId xmlns:a16="http://schemas.microsoft.com/office/drawing/2014/main" id="{08603646-2C28-4221-A735-6E7204C664AA}"/>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36" name="Oval 235">
                    <a:extLst>
                      <a:ext uri="{FF2B5EF4-FFF2-40B4-BE49-F238E27FC236}">
                        <a16:creationId xmlns:a16="http://schemas.microsoft.com/office/drawing/2014/main" id="{F27065E2-8072-4E21-9121-5AAA4F73F8E4}"/>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237" name="Straight Connector 236">
                    <a:extLst>
                      <a:ext uri="{FF2B5EF4-FFF2-40B4-BE49-F238E27FC236}">
                        <a16:creationId xmlns:a16="http://schemas.microsoft.com/office/drawing/2014/main" id="{38010FA1-1BBF-42AC-ABBD-9226DADBCDAD}"/>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71848622-8010-41D7-B345-B2FFEA7867A9}"/>
                    </a:ext>
                  </a:extLst>
                </p:cNvPr>
                <p:cNvGrpSpPr/>
                <p:nvPr/>
              </p:nvGrpSpPr>
              <p:grpSpPr>
                <a:xfrm>
                  <a:off x="1275510" y="6072184"/>
                  <a:ext cx="508602" cy="151498"/>
                  <a:chOff x="551886" y="4945335"/>
                  <a:chExt cx="508602" cy="151498"/>
                </a:xfrm>
              </p:grpSpPr>
              <p:sp>
                <p:nvSpPr>
                  <p:cNvPr id="232" name="Rectangle 231">
                    <a:extLst>
                      <a:ext uri="{FF2B5EF4-FFF2-40B4-BE49-F238E27FC236}">
                        <a16:creationId xmlns:a16="http://schemas.microsoft.com/office/drawing/2014/main" id="{F6693EC3-2006-496B-B587-CCA3F43B393E}"/>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33" name="Oval 232">
                    <a:extLst>
                      <a:ext uri="{FF2B5EF4-FFF2-40B4-BE49-F238E27FC236}">
                        <a16:creationId xmlns:a16="http://schemas.microsoft.com/office/drawing/2014/main" id="{4CA922A7-64AB-4F65-A9E5-2DC173D57A90}"/>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234" name="Straight Connector 233">
                    <a:extLst>
                      <a:ext uri="{FF2B5EF4-FFF2-40B4-BE49-F238E27FC236}">
                        <a16:creationId xmlns:a16="http://schemas.microsoft.com/office/drawing/2014/main" id="{85CDAD97-4EB4-4B86-8225-DD516EBBE40F}"/>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24" name="Rectangle 223">
                <a:extLst>
                  <a:ext uri="{FF2B5EF4-FFF2-40B4-BE49-F238E27FC236}">
                    <a16:creationId xmlns:a16="http://schemas.microsoft.com/office/drawing/2014/main" id="{88DE2BAC-4CF9-4D0B-B174-3812F03BE738}"/>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nvGrpSpPr>
              <p:cNvPr id="225" name="Group 224">
                <a:extLst>
                  <a:ext uri="{FF2B5EF4-FFF2-40B4-BE49-F238E27FC236}">
                    <a16:creationId xmlns:a16="http://schemas.microsoft.com/office/drawing/2014/main" id="{5166E371-BBD2-4165-A172-3F7142B3096F}"/>
                  </a:ext>
                </a:extLst>
              </p:cNvPr>
              <p:cNvGrpSpPr/>
              <p:nvPr/>
            </p:nvGrpSpPr>
            <p:grpSpPr>
              <a:xfrm>
                <a:off x="2143610" y="5534203"/>
                <a:ext cx="1159601" cy="580317"/>
                <a:chOff x="7950508" y="2926007"/>
                <a:chExt cx="1159601" cy="580317"/>
              </a:xfrm>
              <a:solidFill>
                <a:schemeClr val="bg1">
                  <a:lumMod val="95000"/>
                </a:schemeClr>
              </a:solidFill>
            </p:grpSpPr>
            <p:sp>
              <p:nvSpPr>
                <p:cNvPr id="226" name="Rectangle 225">
                  <a:extLst>
                    <a:ext uri="{FF2B5EF4-FFF2-40B4-BE49-F238E27FC236}">
                      <a16:creationId xmlns:a16="http://schemas.microsoft.com/office/drawing/2014/main" id="{177E72F0-5B52-447A-8A30-688E9EAC4E07}"/>
                    </a:ext>
                  </a:extLst>
                </p:cNvPr>
                <p:cNvSpPr/>
                <p:nvPr/>
              </p:nvSpPr>
              <p:spPr bwMode="auto">
                <a:xfrm>
                  <a:off x="8183851" y="2926007"/>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27" name="Rectangle 226">
                  <a:extLst>
                    <a:ext uri="{FF2B5EF4-FFF2-40B4-BE49-F238E27FC236}">
                      <a16:creationId xmlns:a16="http://schemas.microsoft.com/office/drawing/2014/main" id="{F830B3C1-5710-472F-A0ED-0D6ADB432B71}"/>
                    </a:ext>
                  </a:extLst>
                </p:cNvPr>
                <p:cNvSpPr/>
                <p:nvPr/>
              </p:nvSpPr>
              <p:spPr bwMode="auto">
                <a:xfrm>
                  <a:off x="8067179" y="300743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28" name="Rectangle 227">
                  <a:extLst>
                    <a:ext uri="{FF2B5EF4-FFF2-40B4-BE49-F238E27FC236}">
                      <a16:creationId xmlns:a16="http://schemas.microsoft.com/office/drawing/2014/main" id="{68B38995-8255-43AB-A4C3-F33A1A87B3CA}"/>
                    </a:ext>
                  </a:extLst>
                </p:cNvPr>
                <p:cNvSpPr/>
                <p:nvPr/>
              </p:nvSpPr>
              <p:spPr bwMode="auto">
                <a:xfrm>
                  <a:off x="7950508" y="308887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grpSp>
        <p:grpSp>
          <p:nvGrpSpPr>
            <p:cNvPr id="218" name="Group 217">
              <a:extLst>
                <a:ext uri="{FF2B5EF4-FFF2-40B4-BE49-F238E27FC236}">
                  <a16:creationId xmlns:a16="http://schemas.microsoft.com/office/drawing/2014/main" id="{918F8357-93F1-46E9-9080-D4BF0836D4F5}"/>
                </a:ext>
              </a:extLst>
            </p:cNvPr>
            <p:cNvGrpSpPr/>
            <p:nvPr/>
          </p:nvGrpSpPr>
          <p:grpSpPr>
            <a:xfrm>
              <a:off x="9502187" y="4834005"/>
              <a:ext cx="1159601" cy="580317"/>
              <a:chOff x="5896369" y="4821680"/>
              <a:chExt cx="1159601" cy="580317"/>
            </a:xfrm>
          </p:grpSpPr>
          <p:sp>
            <p:nvSpPr>
              <p:cNvPr id="219" name="Rectangle 218">
                <a:extLst>
                  <a:ext uri="{FF2B5EF4-FFF2-40B4-BE49-F238E27FC236}">
                    <a16:creationId xmlns:a16="http://schemas.microsoft.com/office/drawing/2014/main" id="{4FAB6FF8-F0D9-49CA-8E9C-39836E9FAC40}"/>
                  </a:ext>
                </a:extLst>
              </p:cNvPr>
              <p:cNvSpPr/>
              <p:nvPr/>
            </p:nvSpPr>
            <p:spPr bwMode="auto">
              <a:xfrm>
                <a:off x="6129712" y="4821680"/>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20" name="Rectangle 219">
                <a:extLst>
                  <a:ext uri="{FF2B5EF4-FFF2-40B4-BE49-F238E27FC236}">
                    <a16:creationId xmlns:a16="http://schemas.microsoft.com/office/drawing/2014/main" id="{E9C24E5A-3D23-4CA0-87AC-2224125591DF}"/>
                  </a:ext>
                </a:extLst>
              </p:cNvPr>
              <p:cNvSpPr/>
              <p:nvPr/>
            </p:nvSpPr>
            <p:spPr bwMode="auto">
              <a:xfrm>
                <a:off x="6013040" y="4903112"/>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21" name="Rectangle 220">
                <a:extLst>
                  <a:ext uri="{FF2B5EF4-FFF2-40B4-BE49-F238E27FC236}">
                    <a16:creationId xmlns:a16="http://schemas.microsoft.com/office/drawing/2014/main" id="{0D286E89-099F-401D-A629-7DBA26E764D3}"/>
                  </a:ext>
                </a:extLst>
              </p:cNvPr>
              <p:cNvSpPr/>
              <p:nvPr/>
            </p:nvSpPr>
            <p:spPr bwMode="auto">
              <a:xfrm>
                <a:off x="5896369" y="4984544"/>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grpSp>
      <p:cxnSp>
        <p:nvCxnSpPr>
          <p:cNvPr id="244" name="Straight Arrow Connector 243">
            <a:extLst>
              <a:ext uri="{FF2B5EF4-FFF2-40B4-BE49-F238E27FC236}">
                <a16:creationId xmlns:a16="http://schemas.microsoft.com/office/drawing/2014/main" id="{D362F206-1749-4566-AE6D-E7343717F600}"/>
              </a:ext>
            </a:extLst>
          </p:cNvPr>
          <p:cNvCxnSpPr>
            <a:cxnSpLocks/>
          </p:cNvCxnSpPr>
          <p:nvPr/>
        </p:nvCxnSpPr>
        <p:spPr>
          <a:xfrm>
            <a:off x="5971425" y="2268041"/>
            <a:ext cx="0" cy="392859"/>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245" name="TextBox 244">
            <a:extLst>
              <a:ext uri="{FF2B5EF4-FFF2-40B4-BE49-F238E27FC236}">
                <a16:creationId xmlns:a16="http://schemas.microsoft.com/office/drawing/2014/main" id="{0FD1A6ED-318E-44DA-8BAE-815BBC79E2CE}"/>
              </a:ext>
            </a:extLst>
          </p:cNvPr>
          <p:cNvSpPr txBox="1"/>
          <p:nvPr/>
        </p:nvSpPr>
        <p:spPr>
          <a:xfrm>
            <a:off x="790478" y="5772068"/>
            <a:ext cx="2312679" cy="6278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1</a:t>
            </a:r>
          </a:p>
        </p:txBody>
      </p:sp>
      <p:sp>
        <p:nvSpPr>
          <p:cNvPr id="246" name="TextBox 245">
            <a:extLst>
              <a:ext uri="{FF2B5EF4-FFF2-40B4-BE49-F238E27FC236}">
                <a16:creationId xmlns:a16="http://schemas.microsoft.com/office/drawing/2014/main" id="{DF37D966-0F03-4638-A856-D141E66BD8AA}"/>
              </a:ext>
            </a:extLst>
          </p:cNvPr>
          <p:cNvSpPr txBox="1"/>
          <p:nvPr/>
        </p:nvSpPr>
        <p:spPr>
          <a:xfrm>
            <a:off x="3321947" y="5785203"/>
            <a:ext cx="2312679" cy="6278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2</a:t>
            </a:r>
          </a:p>
        </p:txBody>
      </p:sp>
      <p:sp>
        <p:nvSpPr>
          <p:cNvPr id="247" name="TextBox 246">
            <a:extLst>
              <a:ext uri="{FF2B5EF4-FFF2-40B4-BE49-F238E27FC236}">
                <a16:creationId xmlns:a16="http://schemas.microsoft.com/office/drawing/2014/main" id="{D0B60509-AE39-4E19-B14D-D0847646471B}"/>
              </a:ext>
            </a:extLst>
          </p:cNvPr>
          <p:cNvSpPr txBox="1"/>
          <p:nvPr/>
        </p:nvSpPr>
        <p:spPr>
          <a:xfrm>
            <a:off x="7402674" y="5822813"/>
            <a:ext cx="2312679" cy="6278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N</a:t>
            </a:r>
          </a:p>
        </p:txBody>
      </p:sp>
      <p:cxnSp>
        <p:nvCxnSpPr>
          <p:cNvPr id="250" name="Straight Connector 249">
            <a:extLst>
              <a:ext uri="{FF2B5EF4-FFF2-40B4-BE49-F238E27FC236}">
                <a16:creationId xmlns:a16="http://schemas.microsoft.com/office/drawing/2014/main" id="{F9F9CD8F-BE09-4236-9AFD-4BDCEB797EE1}"/>
              </a:ext>
            </a:extLst>
          </p:cNvPr>
          <p:cNvCxnSpPr/>
          <p:nvPr/>
        </p:nvCxnSpPr>
        <p:spPr>
          <a:xfrm flipH="1">
            <a:off x="2806431" y="5724159"/>
            <a:ext cx="0" cy="24472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052A593E-090F-4166-8E81-D4C42B05BF29}"/>
              </a:ext>
            </a:extLst>
          </p:cNvPr>
          <p:cNvCxnSpPr/>
          <p:nvPr/>
        </p:nvCxnSpPr>
        <p:spPr>
          <a:xfrm flipH="1">
            <a:off x="4924996" y="5738117"/>
            <a:ext cx="0" cy="24472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1203B865-BFF9-437C-89DF-B899DC5AEC90}"/>
              </a:ext>
            </a:extLst>
          </p:cNvPr>
          <p:cNvCxnSpPr/>
          <p:nvPr/>
        </p:nvCxnSpPr>
        <p:spPr>
          <a:xfrm flipH="1">
            <a:off x="7273225" y="5749277"/>
            <a:ext cx="0" cy="24472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3" name="Straight Arrow Connector 252">
            <a:extLst>
              <a:ext uri="{FF2B5EF4-FFF2-40B4-BE49-F238E27FC236}">
                <a16:creationId xmlns:a16="http://schemas.microsoft.com/office/drawing/2014/main" id="{39085247-7854-492C-983C-5D14002BA593}"/>
              </a:ext>
            </a:extLst>
          </p:cNvPr>
          <p:cNvCxnSpPr/>
          <p:nvPr/>
        </p:nvCxnSpPr>
        <p:spPr>
          <a:xfrm>
            <a:off x="583623" y="5859079"/>
            <a:ext cx="9190383" cy="0"/>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0296262D-8DA4-4173-A6B4-7EE90DB3FEF3}"/>
              </a:ext>
            </a:extLst>
          </p:cNvPr>
          <p:cNvSpPr txBox="1"/>
          <p:nvPr/>
        </p:nvSpPr>
        <p:spPr>
          <a:xfrm>
            <a:off x="1129820" y="6453116"/>
            <a:ext cx="1353696"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1</a:t>
            </a:r>
          </a:p>
        </p:txBody>
      </p:sp>
      <p:sp>
        <p:nvSpPr>
          <p:cNvPr id="255" name="TextBox 254">
            <a:extLst>
              <a:ext uri="{FF2B5EF4-FFF2-40B4-BE49-F238E27FC236}">
                <a16:creationId xmlns:a16="http://schemas.microsoft.com/office/drawing/2014/main" id="{6F30A8CF-B1A0-4501-93CC-C38B4B1BE1C6}"/>
              </a:ext>
            </a:extLst>
          </p:cNvPr>
          <p:cNvSpPr txBox="1"/>
          <p:nvPr/>
        </p:nvSpPr>
        <p:spPr>
          <a:xfrm>
            <a:off x="3375203" y="6486513"/>
            <a:ext cx="1353696"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2</a:t>
            </a:r>
          </a:p>
        </p:txBody>
      </p:sp>
      <p:sp>
        <p:nvSpPr>
          <p:cNvPr id="256" name="TextBox 255">
            <a:extLst>
              <a:ext uri="{FF2B5EF4-FFF2-40B4-BE49-F238E27FC236}">
                <a16:creationId xmlns:a16="http://schemas.microsoft.com/office/drawing/2014/main" id="{476925F7-9357-4FE8-B68D-895CD11B81EE}"/>
              </a:ext>
            </a:extLst>
          </p:cNvPr>
          <p:cNvSpPr txBox="1"/>
          <p:nvPr/>
        </p:nvSpPr>
        <p:spPr>
          <a:xfrm>
            <a:off x="7881317" y="6426223"/>
            <a:ext cx="1113435"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X</a:t>
            </a:r>
          </a:p>
        </p:txBody>
      </p:sp>
    </p:spTree>
    <p:extLst>
      <p:ext uri="{BB962C8B-B14F-4D97-AF65-F5344CB8AC3E}">
        <p14:creationId xmlns:p14="http://schemas.microsoft.com/office/powerpoint/2010/main" val="183840716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0F671-8610-49FC-9551-3F03FAA1B36E}"/>
              </a:ext>
            </a:extLst>
          </p:cNvPr>
          <p:cNvSpPr>
            <a:spLocks noGrp="1"/>
          </p:cNvSpPr>
          <p:nvPr>
            <p:ph type="title"/>
          </p:nvPr>
        </p:nvSpPr>
        <p:spPr/>
        <p:txBody>
          <a:bodyPr>
            <a:normAutofit/>
          </a:bodyPr>
          <a:lstStyle/>
          <a:p>
            <a:r>
              <a:rPr lang="en-US" sz="4000">
                <a:latin typeface="Arial" panose="020B0604020202020204" pitchFamily="34" charset="0"/>
                <a:cs typeface="Arial" panose="020B0604020202020204" pitchFamily="34" charset="0"/>
              </a:rPr>
              <a:t>Partitions</a:t>
            </a:r>
          </a:p>
        </p:txBody>
      </p:sp>
      <p:sp>
        <p:nvSpPr>
          <p:cNvPr id="16" name="TextBox 15">
            <a:extLst>
              <a:ext uri="{FF2B5EF4-FFF2-40B4-BE49-F238E27FC236}">
                <a16:creationId xmlns:a16="http://schemas.microsoft.com/office/drawing/2014/main" id="{A179C0E0-A413-4BF5-8616-BBCC4635328D}"/>
              </a:ext>
            </a:extLst>
          </p:cNvPr>
          <p:cNvSpPr txBox="1"/>
          <p:nvPr/>
        </p:nvSpPr>
        <p:spPr>
          <a:xfrm>
            <a:off x="5676287" y="2928030"/>
            <a:ext cx="1440000" cy="7940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3600" b="1"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a:t>
            </a:r>
          </a:p>
        </p:txBody>
      </p:sp>
      <p:sp>
        <p:nvSpPr>
          <p:cNvPr id="43" name="TextBox 42">
            <a:extLst>
              <a:ext uri="{FF2B5EF4-FFF2-40B4-BE49-F238E27FC236}">
                <a16:creationId xmlns:a16="http://schemas.microsoft.com/office/drawing/2014/main" id="{50D33BB8-F271-445C-B8F5-2C849233A5BD}"/>
              </a:ext>
            </a:extLst>
          </p:cNvPr>
          <p:cNvSpPr txBox="1"/>
          <p:nvPr/>
        </p:nvSpPr>
        <p:spPr>
          <a:xfrm>
            <a:off x="4230837" y="1558028"/>
            <a:ext cx="2470977" cy="627865"/>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Arial" panose="020B0604020202020204" pitchFamily="34" charset="0"/>
                <a:ea typeface="+mn-ea"/>
                <a:cs typeface="Arial" panose="020B0604020202020204" pitchFamily="34" charset="0"/>
              </a:rPr>
              <a:t>hash(City ID)</a:t>
            </a:r>
          </a:p>
        </p:txBody>
      </p:sp>
      <p:cxnSp>
        <p:nvCxnSpPr>
          <p:cNvPr id="45" name="Straight Arrow Connector 44">
            <a:extLst>
              <a:ext uri="{FF2B5EF4-FFF2-40B4-BE49-F238E27FC236}">
                <a16:creationId xmlns:a16="http://schemas.microsoft.com/office/drawing/2014/main" id="{3358DD02-9AAA-4863-B736-86D0CF38F58C}"/>
              </a:ext>
            </a:extLst>
          </p:cNvPr>
          <p:cNvCxnSpPr>
            <a:cxnSpLocks/>
          </p:cNvCxnSpPr>
          <p:nvPr/>
        </p:nvCxnSpPr>
        <p:spPr>
          <a:xfrm>
            <a:off x="4737585" y="2236369"/>
            <a:ext cx="0" cy="392859"/>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9E56AEDA-43E1-40FE-9377-2A3C9093BC70}"/>
              </a:ext>
            </a:extLst>
          </p:cNvPr>
          <p:cNvCxnSpPr>
            <a:cxnSpLocks/>
          </p:cNvCxnSpPr>
          <p:nvPr/>
        </p:nvCxnSpPr>
        <p:spPr>
          <a:xfrm>
            <a:off x="6680599" y="2192357"/>
            <a:ext cx="1808764" cy="454219"/>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88F15C9C-0BDC-4158-A37E-6B3197425134}"/>
              </a:ext>
            </a:extLst>
          </p:cNvPr>
          <p:cNvGrpSpPr/>
          <p:nvPr/>
        </p:nvGrpSpPr>
        <p:grpSpPr>
          <a:xfrm>
            <a:off x="834820" y="2195347"/>
            <a:ext cx="3500488" cy="3506023"/>
            <a:chOff x="1966391" y="2712977"/>
            <a:chExt cx="3500488" cy="3506023"/>
          </a:xfrm>
        </p:grpSpPr>
        <p:grpSp>
          <p:nvGrpSpPr>
            <p:cNvPr id="24" name="Group 23">
              <a:extLst>
                <a:ext uri="{FF2B5EF4-FFF2-40B4-BE49-F238E27FC236}">
                  <a16:creationId xmlns:a16="http://schemas.microsoft.com/office/drawing/2014/main" id="{3F95D264-AF11-48B3-B841-4A1099841FFC}"/>
                </a:ext>
              </a:extLst>
            </p:cNvPr>
            <p:cNvGrpSpPr/>
            <p:nvPr/>
          </p:nvGrpSpPr>
          <p:grpSpPr>
            <a:xfrm>
              <a:off x="2143610" y="4101695"/>
              <a:ext cx="1159601" cy="580317"/>
              <a:chOff x="7919988" y="2744429"/>
              <a:chExt cx="1159601" cy="580317"/>
            </a:xfrm>
            <a:solidFill>
              <a:schemeClr val="bg1">
                <a:lumMod val="95000"/>
              </a:schemeClr>
            </a:solidFill>
          </p:grpSpPr>
          <p:sp>
            <p:nvSpPr>
              <p:cNvPr id="25" name="Rectangle 24">
                <a:extLst>
                  <a:ext uri="{FF2B5EF4-FFF2-40B4-BE49-F238E27FC236}">
                    <a16:creationId xmlns:a16="http://schemas.microsoft.com/office/drawing/2014/main" id="{7AFC51A2-2812-44CD-9401-69CF6C611B3C}"/>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6" name="Rectangle 25">
                <a:extLst>
                  <a:ext uri="{FF2B5EF4-FFF2-40B4-BE49-F238E27FC236}">
                    <a16:creationId xmlns:a16="http://schemas.microsoft.com/office/drawing/2014/main" id="{93066876-CFEF-4D73-AB92-9238778513F4}"/>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7" name="Rectangle 26">
                <a:extLst>
                  <a:ext uri="{FF2B5EF4-FFF2-40B4-BE49-F238E27FC236}">
                    <a16:creationId xmlns:a16="http://schemas.microsoft.com/office/drawing/2014/main" id="{40961E76-DF81-43ED-B8AE-DBB804C6B41D}"/>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Beijing</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cxnSp>
          <p:nvCxnSpPr>
            <p:cNvPr id="44" name="Straight Arrow Connector 43">
              <a:extLst>
                <a:ext uri="{FF2B5EF4-FFF2-40B4-BE49-F238E27FC236}">
                  <a16:creationId xmlns:a16="http://schemas.microsoft.com/office/drawing/2014/main" id="{08F86D59-D7D2-47EF-BD0B-FA5E7814D872}"/>
                </a:ext>
              </a:extLst>
            </p:cNvPr>
            <p:cNvCxnSpPr>
              <a:cxnSpLocks/>
            </p:cNvCxnSpPr>
            <p:nvPr/>
          </p:nvCxnSpPr>
          <p:spPr>
            <a:xfrm flipH="1">
              <a:off x="3182457" y="2712977"/>
              <a:ext cx="2284422" cy="390754"/>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F7321A78-7933-478D-AC81-F0E7E76EB88D}"/>
                </a:ext>
              </a:extLst>
            </p:cNvPr>
            <p:cNvSpPr/>
            <p:nvPr/>
          </p:nvSpPr>
          <p:spPr bwMode="auto">
            <a:xfrm>
              <a:off x="2115863" y="4821680"/>
              <a:ext cx="1156828" cy="417453"/>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Seattle</a:t>
              </a:r>
              <a:endParaRPr kumimoji="0" lang="en-US" sz="18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nvGrpSpPr>
            <p:cNvPr id="81" name="Group 80">
              <a:extLst>
                <a:ext uri="{FF2B5EF4-FFF2-40B4-BE49-F238E27FC236}">
                  <a16:creationId xmlns:a16="http://schemas.microsoft.com/office/drawing/2014/main" id="{55DE3930-B5AB-4744-B1B4-CB731B4B8EB8}"/>
                </a:ext>
              </a:extLst>
            </p:cNvPr>
            <p:cNvGrpSpPr/>
            <p:nvPr/>
          </p:nvGrpSpPr>
          <p:grpSpPr>
            <a:xfrm>
              <a:off x="2389347" y="3419793"/>
              <a:ext cx="745007" cy="417453"/>
              <a:chOff x="1275510" y="6072184"/>
              <a:chExt cx="508602" cy="456278"/>
            </a:xfrm>
          </p:grpSpPr>
          <p:grpSp>
            <p:nvGrpSpPr>
              <p:cNvPr id="82" name="Group 81">
                <a:extLst>
                  <a:ext uri="{FF2B5EF4-FFF2-40B4-BE49-F238E27FC236}">
                    <a16:creationId xmlns:a16="http://schemas.microsoft.com/office/drawing/2014/main" id="{3971ECBA-337B-46C8-88E4-E80CD07268BD}"/>
                  </a:ext>
                </a:extLst>
              </p:cNvPr>
              <p:cNvGrpSpPr/>
              <p:nvPr/>
            </p:nvGrpSpPr>
            <p:grpSpPr>
              <a:xfrm>
                <a:off x="1275510" y="6224570"/>
                <a:ext cx="508602" cy="151498"/>
                <a:chOff x="551886" y="4945335"/>
                <a:chExt cx="508602" cy="151498"/>
              </a:xfrm>
            </p:grpSpPr>
            <p:sp>
              <p:nvSpPr>
                <p:cNvPr id="91" name="Rectangle 90">
                  <a:extLst>
                    <a:ext uri="{FF2B5EF4-FFF2-40B4-BE49-F238E27FC236}">
                      <a16:creationId xmlns:a16="http://schemas.microsoft.com/office/drawing/2014/main" id="{A87F235D-D0D2-4E48-9F2C-0ABA5E7D961C}"/>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92" name="Oval 91">
                  <a:extLst>
                    <a:ext uri="{FF2B5EF4-FFF2-40B4-BE49-F238E27FC236}">
                      <a16:creationId xmlns:a16="http://schemas.microsoft.com/office/drawing/2014/main" id="{5C6802B3-E9E2-4401-B5B0-54383D768D99}"/>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93" name="Straight Connector 92">
                  <a:extLst>
                    <a:ext uri="{FF2B5EF4-FFF2-40B4-BE49-F238E27FC236}">
                      <a16:creationId xmlns:a16="http://schemas.microsoft.com/office/drawing/2014/main" id="{290397D7-3AF6-4AF6-9A42-BB85CBD3CCAB}"/>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9DDC9521-6DC8-4EBD-AA61-F52FF02458FC}"/>
                  </a:ext>
                </a:extLst>
              </p:cNvPr>
              <p:cNvGrpSpPr/>
              <p:nvPr/>
            </p:nvGrpSpPr>
            <p:grpSpPr>
              <a:xfrm>
                <a:off x="1275510" y="6376964"/>
                <a:ext cx="508602" cy="151498"/>
                <a:chOff x="551886" y="4945335"/>
                <a:chExt cx="508602" cy="151498"/>
              </a:xfrm>
            </p:grpSpPr>
            <p:sp>
              <p:nvSpPr>
                <p:cNvPr id="88" name="Rectangle 87">
                  <a:extLst>
                    <a:ext uri="{FF2B5EF4-FFF2-40B4-BE49-F238E27FC236}">
                      <a16:creationId xmlns:a16="http://schemas.microsoft.com/office/drawing/2014/main" id="{22743E03-21AC-4A8D-BF0B-09AF53D8B828}"/>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89" name="Oval 88">
                  <a:extLst>
                    <a:ext uri="{FF2B5EF4-FFF2-40B4-BE49-F238E27FC236}">
                      <a16:creationId xmlns:a16="http://schemas.microsoft.com/office/drawing/2014/main" id="{1A7DA3D3-DAC9-4F41-9DF7-8F14976DA288}"/>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90" name="Straight Connector 89">
                  <a:extLst>
                    <a:ext uri="{FF2B5EF4-FFF2-40B4-BE49-F238E27FC236}">
                      <a16:creationId xmlns:a16="http://schemas.microsoft.com/office/drawing/2014/main" id="{BC59248C-8D53-4FC1-AD4E-9C40A2B5CD21}"/>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50BDC987-C3FD-4054-A448-0805B7ED99A8}"/>
                  </a:ext>
                </a:extLst>
              </p:cNvPr>
              <p:cNvGrpSpPr/>
              <p:nvPr/>
            </p:nvGrpSpPr>
            <p:grpSpPr>
              <a:xfrm>
                <a:off x="1275510" y="6072184"/>
                <a:ext cx="508602" cy="151498"/>
                <a:chOff x="551886" y="4945335"/>
                <a:chExt cx="508602" cy="151498"/>
              </a:xfrm>
            </p:grpSpPr>
            <p:sp>
              <p:nvSpPr>
                <p:cNvPr id="85" name="Rectangle 84">
                  <a:extLst>
                    <a:ext uri="{FF2B5EF4-FFF2-40B4-BE49-F238E27FC236}">
                      <a16:creationId xmlns:a16="http://schemas.microsoft.com/office/drawing/2014/main" id="{44B40457-217E-4841-BEB7-2D675701E201}"/>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86" name="Oval 85">
                  <a:extLst>
                    <a:ext uri="{FF2B5EF4-FFF2-40B4-BE49-F238E27FC236}">
                      <a16:creationId xmlns:a16="http://schemas.microsoft.com/office/drawing/2014/main" id="{796ECC00-E4BF-45E0-A5CD-1FF6CA0B2D21}"/>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87" name="Straight Connector 86">
                  <a:extLst>
                    <a:ext uri="{FF2B5EF4-FFF2-40B4-BE49-F238E27FC236}">
                      <a16:creationId xmlns:a16="http://schemas.microsoft.com/office/drawing/2014/main" id="{F16BFE50-1139-4A63-B137-F91B37E4B127}"/>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94" name="Rectangle 93">
              <a:extLst>
                <a:ext uri="{FF2B5EF4-FFF2-40B4-BE49-F238E27FC236}">
                  <a16:creationId xmlns:a16="http://schemas.microsoft.com/office/drawing/2014/main" id="{81D89388-3850-4B1D-872D-8C306C84EF50}"/>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nvGrpSpPr>
            <p:cNvPr id="97" name="Group 96">
              <a:extLst>
                <a:ext uri="{FF2B5EF4-FFF2-40B4-BE49-F238E27FC236}">
                  <a16:creationId xmlns:a16="http://schemas.microsoft.com/office/drawing/2014/main" id="{0B9B94B2-E7D9-4E1C-B804-DAC5E43FDADC}"/>
                </a:ext>
              </a:extLst>
            </p:cNvPr>
            <p:cNvGrpSpPr/>
            <p:nvPr/>
          </p:nvGrpSpPr>
          <p:grpSpPr>
            <a:xfrm>
              <a:off x="2113090" y="5352625"/>
              <a:ext cx="1159601" cy="580317"/>
              <a:chOff x="7919988" y="2744429"/>
              <a:chExt cx="1159601" cy="580317"/>
            </a:xfrm>
            <a:solidFill>
              <a:schemeClr val="bg1">
                <a:lumMod val="95000"/>
              </a:schemeClr>
            </a:solidFill>
          </p:grpSpPr>
          <p:sp>
            <p:nvSpPr>
              <p:cNvPr id="98" name="Rectangle 97">
                <a:extLst>
                  <a:ext uri="{FF2B5EF4-FFF2-40B4-BE49-F238E27FC236}">
                    <a16:creationId xmlns:a16="http://schemas.microsoft.com/office/drawing/2014/main" id="{DC072B55-1F89-43E0-AC45-818D088AE2AD}"/>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99" name="Rectangle 98">
                <a:extLst>
                  <a:ext uri="{FF2B5EF4-FFF2-40B4-BE49-F238E27FC236}">
                    <a16:creationId xmlns:a16="http://schemas.microsoft.com/office/drawing/2014/main" id="{A5E41779-318B-4C1E-9A7A-597F2497C55B}"/>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00" name="Rectangle 99">
                <a:extLst>
                  <a:ext uri="{FF2B5EF4-FFF2-40B4-BE49-F238E27FC236}">
                    <a16:creationId xmlns:a16="http://schemas.microsoft.com/office/drawing/2014/main" id="{12F8BD4E-7D41-4FFD-BAAA-820F3181EC12}"/>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Paris</a:t>
                </a:r>
              </a:p>
            </p:txBody>
          </p:sp>
        </p:grpSp>
      </p:grpSp>
      <p:sp>
        <p:nvSpPr>
          <p:cNvPr id="101" name="TextBox 100">
            <a:extLst>
              <a:ext uri="{FF2B5EF4-FFF2-40B4-BE49-F238E27FC236}">
                <a16:creationId xmlns:a16="http://schemas.microsoft.com/office/drawing/2014/main" id="{1A95B62E-D260-4996-9930-25FB850FDFCD}"/>
              </a:ext>
            </a:extLst>
          </p:cNvPr>
          <p:cNvSpPr txBox="1"/>
          <p:nvPr/>
        </p:nvSpPr>
        <p:spPr>
          <a:xfrm>
            <a:off x="8186628" y="1213609"/>
            <a:ext cx="4085537" cy="1292662"/>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Documents with same partition key value (City ID) are in same partition</a:t>
            </a:r>
          </a:p>
        </p:txBody>
      </p:sp>
      <p:grpSp>
        <p:nvGrpSpPr>
          <p:cNvPr id="103" name="Group 102">
            <a:extLst>
              <a:ext uri="{FF2B5EF4-FFF2-40B4-BE49-F238E27FC236}">
                <a16:creationId xmlns:a16="http://schemas.microsoft.com/office/drawing/2014/main" id="{EBCF7A23-4BE7-41EB-9430-9BC41E4ECFB9}"/>
              </a:ext>
            </a:extLst>
          </p:cNvPr>
          <p:cNvGrpSpPr/>
          <p:nvPr/>
        </p:nvGrpSpPr>
        <p:grpSpPr>
          <a:xfrm>
            <a:off x="3400766" y="2733037"/>
            <a:ext cx="1674951" cy="2985091"/>
            <a:chOff x="1966391" y="3233909"/>
            <a:chExt cx="1674951" cy="2985091"/>
          </a:xfrm>
        </p:grpSpPr>
        <p:grpSp>
          <p:nvGrpSpPr>
            <p:cNvPr id="104" name="Group 103">
              <a:extLst>
                <a:ext uri="{FF2B5EF4-FFF2-40B4-BE49-F238E27FC236}">
                  <a16:creationId xmlns:a16="http://schemas.microsoft.com/office/drawing/2014/main" id="{6BD54536-01ED-4B06-A317-F57E8F2CEAFB}"/>
                </a:ext>
              </a:extLst>
            </p:cNvPr>
            <p:cNvGrpSpPr/>
            <p:nvPr/>
          </p:nvGrpSpPr>
          <p:grpSpPr>
            <a:xfrm>
              <a:off x="2143610" y="4101695"/>
              <a:ext cx="1159601" cy="580317"/>
              <a:chOff x="7919988" y="2744429"/>
              <a:chExt cx="1159601" cy="580317"/>
            </a:xfrm>
            <a:solidFill>
              <a:schemeClr val="bg1">
                <a:lumMod val="95000"/>
              </a:schemeClr>
            </a:solidFill>
          </p:grpSpPr>
          <p:sp>
            <p:nvSpPr>
              <p:cNvPr id="125" name="Rectangle 124">
                <a:extLst>
                  <a:ext uri="{FF2B5EF4-FFF2-40B4-BE49-F238E27FC236}">
                    <a16:creationId xmlns:a16="http://schemas.microsoft.com/office/drawing/2014/main" id="{348B627B-0BCE-4F26-9F06-25ADC3FC5091}"/>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6" name="Rectangle 125">
                <a:extLst>
                  <a:ext uri="{FF2B5EF4-FFF2-40B4-BE49-F238E27FC236}">
                    <a16:creationId xmlns:a16="http://schemas.microsoft.com/office/drawing/2014/main" id="{AC635BCF-1155-4E32-9390-25A3C3551DEF}"/>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7" name="Rectangle 126">
                <a:extLst>
                  <a:ext uri="{FF2B5EF4-FFF2-40B4-BE49-F238E27FC236}">
                    <a16:creationId xmlns:a16="http://schemas.microsoft.com/office/drawing/2014/main" id="{182101B0-0B4B-4019-BC07-FD0BDC9C02F9}"/>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051"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Redmond</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sp>
          <p:nvSpPr>
            <p:cNvPr id="106" name="Rectangle 105">
              <a:extLst>
                <a:ext uri="{FF2B5EF4-FFF2-40B4-BE49-F238E27FC236}">
                  <a16:creationId xmlns:a16="http://schemas.microsoft.com/office/drawing/2014/main" id="{B0497721-2F4A-4147-BAC4-951183874E30}"/>
                </a:ext>
              </a:extLst>
            </p:cNvPr>
            <p:cNvSpPr/>
            <p:nvPr/>
          </p:nvSpPr>
          <p:spPr bwMode="auto">
            <a:xfrm>
              <a:off x="2115863" y="4821680"/>
              <a:ext cx="1156828" cy="417453"/>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Shanghai</a:t>
              </a:r>
            </a:p>
          </p:txBody>
        </p:sp>
        <p:grpSp>
          <p:nvGrpSpPr>
            <p:cNvPr id="107" name="Group 106">
              <a:extLst>
                <a:ext uri="{FF2B5EF4-FFF2-40B4-BE49-F238E27FC236}">
                  <a16:creationId xmlns:a16="http://schemas.microsoft.com/office/drawing/2014/main" id="{FAE7CB91-FFE1-4F98-B496-2E4102CB181D}"/>
                </a:ext>
              </a:extLst>
            </p:cNvPr>
            <p:cNvGrpSpPr/>
            <p:nvPr/>
          </p:nvGrpSpPr>
          <p:grpSpPr>
            <a:xfrm>
              <a:off x="2389347" y="3419793"/>
              <a:ext cx="745007" cy="417453"/>
              <a:chOff x="1275510" y="6072184"/>
              <a:chExt cx="508602" cy="456278"/>
            </a:xfrm>
          </p:grpSpPr>
          <p:grpSp>
            <p:nvGrpSpPr>
              <p:cNvPr id="113" name="Group 112">
                <a:extLst>
                  <a:ext uri="{FF2B5EF4-FFF2-40B4-BE49-F238E27FC236}">
                    <a16:creationId xmlns:a16="http://schemas.microsoft.com/office/drawing/2014/main" id="{D1493A29-9BFA-4928-859F-6CA204292CF3}"/>
                  </a:ext>
                </a:extLst>
              </p:cNvPr>
              <p:cNvGrpSpPr/>
              <p:nvPr/>
            </p:nvGrpSpPr>
            <p:grpSpPr>
              <a:xfrm>
                <a:off x="1275510" y="6224570"/>
                <a:ext cx="508602" cy="151498"/>
                <a:chOff x="551886" y="4945335"/>
                <a:chExt cx="508602" cy="151498"/>
              </a:xfrm>
            </p:grpSpPr>
            <p:sp>
              <p:nvSpPr>
                <p:cNvPr id="122" name="Rectangle 121">
                  <a:extLst>
                    <a:ext uri="{FF2B5EF4-FFF2-40B4-BE49-F238E27FC236}">
                      <a16:creationId xmlns:a16="http://schemas.microsoft.com/office/drawing/2014/main" id="{B2E28BCC-8347-485E-8009-EACF16DE9366}"/>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3" name="Oval 122">
                  <a:extLst>
                    <a:ext uri="{FF2B5EF4-FFF2-40B4-BE49-F238E27FC236}">
                      <a16:creationId xmlns:a16="http://schemas.microsoft.com/office/drawing/2014/main" id="{3B5DD0AD-DE01-4DEA-8304-BA2B5DE2F815}"/>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24" name="Straight Connector 123">
                  <a:extLst>
                    <a:ext uri="{FF2B5EF4-FFF2-40B4-BE49-F238E27FC236}">
                      <a16:creationId xmlns:a16="http://schemas.microsoft.com/office/drawing/2014/main" id="{0280BC61-B152-446D-8A87-C068C83C3FCF}"/>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4EBDD7A4-A6BD-4004-93C7-5DEE02520C9D}"/>
                  </a:ext>
                </a:extLst>
              </p:cNvPr>
              <p:cNvGrpSpPr/>
              <p:nvPr/>
            </p:nvGrpSpPr>
            <p:grpSpPr>
              <a:xfrm>
                <a:off x="1275510" y="6376964"/>
                <a:ext cx="508602" cy="151498"/>
                <a:chOff x="551886" y="4945335"/>
                <a:chExt cx="508602" cy="151498"/>
              </a:xfrm>
            </p:grpSpPr>
            <p:sp>
              <p:nvSpPr>
                <p:cNvPr id="119" name="Rectangle 118">
                  <a:extLst>
                    <a:ext uri="{FF2B5EF4-FFF2-40B4-BE49-F238E27FC236}">
                      <a16:creationId xmlns:a16="http://schemas.microsoft.com/office/drawing/2014/main" id="{7BA36D3C-0010-4AA0-930B-ACEA46793AB7}"/>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0" name="Oval 119">
                  <a:extLst>
                    <a:ext uri="{FF2B5EF4-FFF2-40B4-BE49-F238E27FC236}">
                      <a16:creationId xmlns:a16="http://schemas.microsoft.com/office/drawing/2014/main" id="{0360F9EB-1617-48D7-ACE0-94D0F6575DA5}"/>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21" name="Straight Connector 120">
                  <a:extLst>
                    <a:ext uri="{FF2B5EF4-FFF2-40B4-BE49-F238E27FC236}">
                      <a16:creationId xmlns:a16="http://schemas.microsoft.com/office/drawing/2014/main" id="{2DED7475-A458-49F0-9D3D-C0C3449BA8E4}"/>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0FD75FB2-6399-4332-AEFB-184B139250A3}"/>
                  </a:ext>
                </a:extLst>
              </p:cNvPr>
              <p:cNvGrpSpPr/>
              <p:nvPr/>
            </p:nvGrpSpPr>
            <p:grpSpPr>
              <a:xfrm>
                <a:off x="1275510" y="6072184"/>
                <a:ext cx="508602" cy="151498"/>
                <a:chOff x="551886" y="4945335"/>
                <a:chExt cx="508602" cy="151498"/>
              </a:xfrm>
            </p:grpSpPr>
            <p:sp>
              <p:nvSpPr>
                <p:cNvPr id="116" name="Rectangle 115">
                  <a:extLst>
                    <a:ext uri="{FF2B5EF4-FFF2-40B4-BE49-F238E27FC236}">
                      <a16:creationId xmlns:a16="http://schemas.microsoft.com/office/drawing/2014/main" id="{CB18BF9C-07D7-445A-A02E-04057C3CF54B}"/>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17" name="Oval 116">
                  <a:extLst>
                    <a:ext uri="{FF2B5EF4-FFF2-40B4-BE49-F238E27FC236}">
                      <a16:creationId xmlns:a16="http://schemas.microsoft.com/office/drawing/2014/main" id="{14048F16-7800-4264-B6E8-9D18DF2A1E5F}"/>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18" name="Straight Connector 117">
                  <a:extLst>
                    <a:ext uri="{FF2B5EF4-FFF2-40B4-BE49-F238E27FC236}">
                      <a16:creationId xmlns:a16="http://schemas.microsoft.com/office/drawing/2014/main" id="{704E343B-A983-41BD-BAC2-619616D5DB0C}"/>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08" name="Rectangle 107">
              <a:extLst>
                <a:ext uri="{FF2B5EF4-FFF2-40B4-BE49-F238E27FC236}">
                  <a16:creationId xmlns:a16="http://schemas.microsoft.com/office/drawing/2014/main" id="{1CBB280C-E3A9-48F7-BF8F-8011D917B0D8}"/>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grpSp>
        <p:nvGrpSpPr>
          <p:cNvPr id="170" name="Group 169">
            <a:extLst>
              <a:ext uri="{FF2B5EF4-FFF2-40B4-BE49-F238E27FC236}">
                <a16:creationId xmlns:a16="http://schemas.microsoft.com/office/drawing/2014/main" id="{E12BA47E-DF7D-4193-95B2-644DAE5BC93D}"/>
              </a:ext>
            </a:extLst>
          </p:cNvPr>
          <p:cNvGrpSpPr/>
          <p:nvPr/>
        </p:nvGrpSpPr>
        <p:grpSpPr>
          <a:xfrm>
            <a:off x="7391050" y="2733037"/>
            <a:ext cx="1674951" cy="2985091"/>
            <a:chOff x="9328755" y="3250668"/>
            <a:chExt cx="1674951" cy="2985091"/>
          </a:xfrm>
        </p:grpSpPr>
        <p:grpSp>
          <p:nvGrpSpPr>
            <p:cNvPr id="128" name="Group 127">
              <a:extLst>
                <a:ext uri="{FF2B5EF4-FFF2-40B4-BE49-F238E27FC236}">
                  <a16:creationId xmlns:a16="http://schemas.microsoft.com/office/drawing/2014/main" id="{B3103BED-7286-4A24-9CDD-8CB670B6ADD1}"/>
                </a:ext>
              </a:extLst>
            </p:cNvPr>
            <p:cNvGrpSpPr/>
            <p:nvPr/>
          </p:nvGrpSpPr>
          <p:grpSpPr>
            <a:xfrm>
              <a:off x="9328755" y="3250668"/>
              <a:ext cx="1674951" cy="2985091"/>
              <a:chOff x="1966391" y="3233909"/>
              <a:chExt cx="1674951" cy="2985091"/>
            </a:xfrm>
          </p:grpSpPr>
          <p:grpSp>
            <p:nvGrpSpPr>
              <p:cNvPr id="129" name="Group 128">
                <a:extLst>
                  <a:ext uri="{FF2B5EF4-FFF2-40B4-BE49-F238E27FC236}">
                    <a16:creationId xmlns:a16="http://schemas.microsoft.com/office/drawing/2014/main" id="{14C8B557-A506-475D-BD72-9D8D72E4E5EC}"/>
                  </a:ext>
                </a:extLst>
              </p:cNvPr>
              <p:cNvGrpSpPr/>
              <p:nvPr/>
            </p:nvGrpSpPr>
            <p:grpSpPr>
              <a:xfrm>
                <a:off x="2143610" y="4101695"/>
                <a:ext cx="1159601" cy="580317"/>
                <a:chOff x="7919988" y="2744429"/>
                <a:chExt cx="1159601" cy="580317"/>
              </a:xfrm>
              <a:solidFill>
                <a:schemeClr val="bg1">
                  <a:lumMod val="95000"/>
                </a:schemeClr>
              </a:solidFill>
            </p:grpSpPr>
            <p:sp>
              <p:nvSpPr>
                <p:cNvPr id="150" name="Rectangle 149">
                  <a:extLst>
                    <a:ext uri="{FF2B5EF4-FFF2-40B4-BE49-F238E27FC236}">
                      <a16:creationId xmlns:a16="http://schemas.microsoft.com/office/drawing/2014/main" id="{8BC0B1D7-BF2E-4817-8924-089C234C267F}"/>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1" name="Rectangle 150">
                  <a:extLst>
                    <a:ext uri="{FF2B5EF4-FFF2-40B4-BE49-F238E27FC236}">
                      <a16:creationId xmlns:a16="http://schemas.microsoft.com/office/drawing/2014/main" id="{6DB08B90-890D-48C0-83AB-7E5F6B3C1371}"/>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2" name="Rectangle 151">
                  <a:extLst>
                    <a:ext uri="{FF2B5EF4-FFF2-40B4-BE49-F238E27FC236}">
                      <a16:creationId xmlns:a16="http://schemas.microsoft.com/office/drawing/2014/main" id="{71DF3D67-DA04-42F3-811A-BC5271A42DBD}"/>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grpSp>
            <p:nvGrpSpPr>
              <p:cNvPr id="132" name="Group 131">
                <a:extLst>
                  <a:ext uri="{FF2B5EF4-FFF2-40B4-BE49-F238E27FC236}">
                    <a16:creationId xmlns:a16="http://schemas.microsoft.com/office/drawing/2014/main" id="{8125F798-2A46-49D1-8841-69EDCDAC5CDE}"/>
                  </a:ext>
                </a:extLst>
              </p:cNvPr>
              <p:cNvGrpSpPr/>
              <p:nvPr/>
            </p:nvGrpSpPr>
            <p:grpSpPr>
              <a:xfrm>
                <a:off x="2389347" y="3419793"/>
                <a:ext cx="745007" cy="417453"/>
                <a:chOff x="1275510" y="6072184"/>
                <a:chExt cx="508602" cy="456278"/>
              </a:xfrm>
            </p:grpSpPr>
            <p:grpSp>
              <p:nvGrpSpPr>
                <p:cNvPr id="138" name="Group 137">
                  <a:extLst>
                    <a:ext uri="{FF2B5EF4-FFF2-40B4-BE49-F238E27FC236}">
                      <a16:creationId xmlns:a16="http://schemas.microsoft.com/office/drawing/2014/main" id="{2025003E-088D-44F5-AA45-7C6F2837169E}"/>
                    </a:ext>
                  </a:extLst>
                </p:cNvPr>
                <p:cNvGrpSpPr/>
                <p:nvPr/>
              </p:nvGrpSpPr>
              <p:grpSpPr>
                <a:xfrm>
                  <a:off x="1275510" y="6224570"/>
                  <a:ext cx="508602" cy="151498"/>
                  <a:chOff x="551886" y="4945335"/>
                  <a:chExt cx="508602" cy="151498"/>
                </a:xfrm>
              </p:grpSpPr>
              <p:sp>
                <p:nvSpPr>
                  <p:cNvPr id="147" name="Rectangle 146">
                    <a:extLst>
                      <a:ext uri="{FF2B5EF4-FFF2-40B4-BE49-F238E27FC236}">
                        <a16:creationId xmlns:a16="http://schemas.microsoft.com/office/drawing/2014/main" id="{266CE4D8-5D38-4484-9700-F703006A8E6C}"/>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48" name="Oval 147">
                    <a:extLst>
                      <a:ext uri="{FF2B5EF4-FFF2-40B4-BE49-F238E27FC236}">
                        <a16:creationId xmlns:a16="http://schemas.microsoft.com/office/drawing/2014/main" id="{DFD6170E-D157-4999-8AC1-C0DD3BF2B1D8}"/>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49" name="Straight Connector 148">
                    <a:extLst>
                      <a:ext uri="{FF2B5EF4-FFF2-40B4-BE49-F238E27FC236}">
                        <a16:creationId xmlns:a16="http://schemas.microsoft.com/office/drawing/2014/main" id="{A9BB1AC7-A433-4CE7-9021-89BD75FFDA06}"/>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A673F6A1-6C2A-4B34-9EBB-948968F32A97}"/>
                    </a:ext>
                  </a:extLst>
                </p:cNvPr>
                <p:cNvGrpSpPr/>
                <p:nvPr/>
              </p:nvGrpSpPr>
              <p:grpSpPr>
                <a:xfrm>
                  <a:off x="1275510" y="6376964"/>
                  <a:ext cx="508602" cy="151498"/>
                  <a:chOff x="551886" y="4945335"/>
                  <a:chExt cx="508602" cy="151498"/>
                </a:xfrm>
              </p:grpSpPr>
              <p:sp>
                <p:nvSpPr>
                  <p:cNvPr id="144" name="Rectangle 143">
                    <a:extLst>
                      <a:ext uri="{FF2B5EF4-FFF2-40B4-BE49-F238E27FC236}">
                        <a16:creationId xmlns:a16="http://schemas.microsoft.com/office/drawing/2014/main" id="{79DB543F-D998-42FA-B2EE-6AA9D1980F83}"/>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45" name="Oval 144">
                    <a:extLst>
                      <a:ext uri="{FF2B5EF4-FFF2-40B4-BE49-F238E27FC236}">
                        <a16:creationId xmlns:a16="http://schemas.microsoft.com/office/drawing/2014/main" id="{9E410885-7A7D-4670-B491-12D9FD0E7F88}"/>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46" name="Straight Connector 145">
                    <a:extLst>
                      <a:ext uri="{FF2B5EF4-FFF2-40B4-BE49-F238E27FC236}">
                        <a16:creationId xmlns:a16="http://schemas.microsoft.com/office/drawing/2014/main" id="{551FFAD2-BBB7-40FC-B7C0-4A6EC32B57D4}"/>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81868E9B-FD8D-4316-87E0-548293C9AA5F}"/>
                    </a:ext>
                  </a:extLst>
                </p:cNvPr>
                <p:cNvGrpSpPr/>
                <p:nvPr/>
              </p:nvGrpSpPr>
              <p:grpSpPr>
                <a:xfrm>
                  <a:off x="1275510" y="6072184"/>
                  <a:ext cx="508602" cy="151498"/>
                  <a:chOff x="551886" y="4945335"/>
                  <a:chExt cx="508602" cy="151498"/>
                </a:xfrm>
              </p:grpSpPr>
              <p:sp>
                <p:nvSpPr>
                  <p:cNvPr id="141" name="Rectangle 140">
                    <a:extLst>
                      <a:ext uri="{FF2B5EF4-FFF2-40B4-BE49-F238E27FC236}">
                        <a16:creationId xmlns:a16="http://schemas.microsoft.com/office/drawing/2014/main" id="{89A8CAEF-3B29-4849-9C06-500F6D3612CC}"/>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42" name="Oval 141">
                    <a:extLst>
                      <a:ext uri="{FF2B5EF4-FFF2-40B4-BE49-F238E27FC236}">
                        <a16:creationId xmlns:a16="http://schemas.microsoft.com/office/drawing/2014/main" id="{8EBB6B06-DC8D-4F89-8CF8-4DD2613F8659}"/>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43" name="Straight Connector 142">
                    <a:extLst>
                      <a:ext uri="{FF2B5EF4-FFF2-40B4-BE49-F238E27FC236}">
                        <a16:creationId xmlns:a16="http://schemas.microsoft.com/office/drawing/2014/main" id="{7717E636-4DD6-4284-AD44-FC4779F42C1E}"/>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33" name="Rectangle 132">
                <a:extLst>
                  <a:ext uri="{FF2B5EF4-FFF2-40B4-BE49-F238E27FC236}">
                    <a16:creationId xmlns:a16="http://schemas.microsoft.com/office/drawing/2014/main" id="{D3B040F1-07D9-4C45-BF25-A7A4663C022F}"/>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nvGrpSpPr>
              <p:cNvPr id="134" name="Group 133">
                <a:extLst>
                  <a:ext uri="{FF2B5EF4-FFF2-40B4-BE49-F238E27FC236}">
                    <a16:creationId xmlns:a16="http://schemas.microsoft.com/office/drawing/2014/main" id="{EDEA2E31-1544-43A1-A95E-4F45390572B6}"/>
                  </a:ext>
                </a:extLst>
              </p:cNvPr>
              <p:cNvGrpSpPr/>
              <p:nvPr/>
            </p:nvGrpSpPr>
            <p:grpSpPr>
              <a:xfrm>
                <a:off x="2143610" y="5534203"/>
                <a:ext cx="1159601" cy="580317"/>
                <a:chOff x="7950508" y="2926007"/>
                <a:chExt cx="1159601" cy="580317"/>
              </a:xfrm>
              <a:solidFill>
                <a:schemeClr val="bg1">
                  <a:lumMod val="95000"/>
                </a:schemeClr>
              </a:solidFill>
            </p:grpSpPr>
            <p:sp>
              <p:nvSpPr>
                <p:cNvPr id="135" name="Rectangle 134">
                  <a:extLst>
                    <a:ext uri="{FF2B5EF4-FFF2-40B4-BE49-F238E27FC236}">
                      <a16:creationId xmlns:a16="http://schemas.microsoft.com/office/drawing/2014/main" id="{56BC40A5-BC30-49A0-B2F7-DC8CCEF27936}"/>
                    </a:ext>
                  </a:extLst>
                </p:cNvPr>
                <p:cNvSpPr/>
                <p:nvPr/>
              </p:nvSpPr>
              <p:spPr bwMode="auto">
                <a:xfrm>
                  <a:off x="8183851" y="2926007"/>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36" name="Rectangle 135">
                  <a:extLst>
                    <a:ext uri="{FF2B5EF4-FFF2-40B4-BE49-F238E27FC236}">
                      <a16:creationId xmlns:a16="http://schemas.microsoft.com/office/drawing/2014/main" id="{9CFAB436-42FF-4514-A66D-CEE612D45AA1}"/>
                    </a:ext>
                  </a:extLst>
                </p:cNvPr>
                <p:cNvSpPr/>
                <p:nvPr/>
              </p:nvSpPr>
              <p:spPr bwMode="auto">
                <a:xfrm>
                  <a:off x="8067179" y="300743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37" name="Rectangle 136">
                  <a:extLst>
                    <a:ext uri="{FF2B5EF4-FFF2-40B4-BE49-F238E27FC236}">
                      <a16:creationId xmlns:a16="http://schemas.microsoft.com/office/drawing/2014/main" id="{53EAEE64-402E-4803-B7BA-C9BADB865091}"/>
                    </a:ext>
                  </a:extLst>
                </p:cNvPr>
                <p:cNvSpPr/>
                <p:nvPr/>
              </p:nvSpPr>
              <p:spPr bwMode="auto">
                <a:xfrm>
                  <a:off x="7950508" y="308887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grpSp>
        <p:grpSp>
          <p:nvGrpSpPr>
            <p:cNvPr id="163" name="Group 162">
              <a:extLst>
                <a:ext uri="{FF2B5EF4-FFF2-40B4-BE49-F238E27FC236}">
                  <a16:creationId xmlns:a16="http://schemas.microsoft.com/office/drawing/2014/main" id="{B5D85D97-EBB0-4E61-81FC-1D721B537772}"/>
                </a:ext>
              </a:extLst>
            </p:cNvPr>
            <p:cNvGrpSpPr/>
            <p:nvPr/>
          </p:nvGrpSpPr>
          <p:grpSpPr>
            <a:xfrm>
              <a:off x="9502187" y="4834005"/>
              <a:ext cx="1159601" cy="580317"/>
              <a:chOff x="5896369" y="4821680"/>
              <a:chExt cx="1159601" cy="580317"/>
            </a:xfrm>
          </p:grpSpPr>
          <p:sp>
            <p:nvSpPr>
              <p:cNvPr id="157" name="Rectangle 156">
                <a:extLst>
                  <a:ext uri="{FF2B5EF4-FFF2-40B4-BE49-F238E27FC236}">
                    <a16:creationId xmlns:a16="http://schemas.microsoft.com/office/drawing/2014/main" id="{FCC05889-E7E2-487D-A9CF-E711F51B542D}"/>
                  </a:ext>
                </a:extLst>
              </p:cNvPr>
              <p:cNvSpPr/>
              <p:nvPr/>
            </p:nvSpPr>
            <p:spPr bwMode="auto">
              <a:xfrm>
                <a:off x="6129712" y="4821680"/>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8" name="Rectangle 157">
                <a:extLst>
                  <a:ext uri="{FF2B5EF4-FFF2-40B4-BE49-F238E27FC236}">
                    <a16:creationId xmlns:a16="http://schemas.microsoft.com/office/drawing/2014/main" id="{9AE132EE-4FAF-46C4-967F-1E144E6FEF7D}"/>
                  </a:ext>
                </a:extLst>
              </p:cNvPr>
              <p:cNvSpPr/>
              <p:nvPr/>
            </p:nvSpPr>
            <p:spPr bwMode="auto">
              <a:xfrm>
                <a:off x="6013040" y="4903112"/>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9" name="Rectangle 158">
                <a:extLst>
                  <a:ext uri="{FF2B5EF4-FFF2-40B4-BE49-F238E27FC236}">
                    <a16:creationId xmlns:a16="http://schemas.microsoft.com/office/drawing/2014/main" id="{872259DE-200B-4364-AF81-ECA09846F954}"/>
                  </a:ext>
                </a:extLst>
              </p:cNvPr>
              <p:cNvSpPr/>
              <p:nvPr/>
            </p:nvSpPr>
            <p:spPr bwMode="auto">
              <a:xfrm>
                <a:off x="5896369" y="4984544"/>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grpSp>
      <p:cxnSp>
        <p:nvCxnSpPr>
          <p:cNvPr id="172" name="Straight Arrow Connector 171">
            <a:extLst>
              <a:ext uri="{FF2B5EF4-FFF2-40B4-BE49-F238E27FC236}">
                <a16:creationId xmlns:a16="http://schemas.microsoft.com/office/drawing/2014/main" id="{DF018CD1-A879-48D6-A299-028F57045ABF}"/>
              </a:ext>
            </a:extLst>
          </p:cNvPr>
          <p:cNvCxnSpPr>
            <a:cxnSpLocks/>
          </p:cNvCxnSpPr>
          <p:nvPr/>
        </p:nvCxnSpPr>
        <p:spPr>
          <a:xfrm>
            <a:off x="5971425" y="2268041"/>
            <a:ext cx="0" cy="392859"/>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1D48E1C3-0BAC-4DA9-BF09-6E68BDA0BC6A}"/>
              </a:ext>
            </a:extLst>
          </p:cNvPr>
          <p:cNvSpPr txBox="1"/>
          <p:nvPr/>
        </p:nvSpPr>
        <p:spPr>
          <a:xfrm>
            <a:off x="790478" y="5772068"/>
            <a:ext cx="2312679" cy="6278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1</a:t>
            </a:r>
          </a:p>
        </p:txBody>
      </p:sp>
      <p:sp>
        <p:nvSpPr>
          <p:cNvPr id="175" name="TextBox 174">
            <a:extLst>
              <a:ext uri="{FF2B5EF4-FFF2-40B4-BE49-F238E27FC236}">
                <a16:creationId xmlns:a16="http://schemas.microsoft.com/office/drawing/2014/main" id="{9367CC37-5CD7-48DB-AA59-3B39435ED45E}"/>
              </a:ext>
            </a:extLst>
          </p:cNvPr>
          <p:cNvSpPr txBox="1"/>
          <p:nvPr/>
        </p:nvSpPr>
        <p:spPr>
          <a:xfrm>
            <a:off x="3321947" y="5785203"/>
            <a:ext cx="2312679" cy="6278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2</a:t>
            </a:r>
          </a:p>
        </p:txBody>
      </p:sp>
      <p:sp>
        <p:nvSpPr>
          <p:cNvPr id="176" name="TextBox 175">
            <a:extLst>
              <a:ext uri="{FF2B5EF4-FFF2-40B4-BE49-F238E27FC236}">
                <a16:creationId xmlns:a16="http://schemas.microsoft.com/office/drawing/2014/main" id="{E02A00F2-1E13-4064-A44F-E2FACBC55E75}"/>
              </a:ext>
            </a:extLst>
          </p:cNvPr>
          <p:cNvSpPr txBox="1"/>
          <p:nvPr/>
        </p:nvSpPr>
        <p:spPr>
          <a:xfrm>
            <a:off x="7402674" y="5822813"/>
            <a:ext cx="2312679" cy="6278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N</a:t>
            </a:r>
          </a:p>
        </p:txBody>
      </p:sp>
      <p:sp>
        <p:nvSpPr>
          <p:cNvPr id="95" name="Rectangle 94">
            <a:extLst>
              <a:ext uri="{FF2B5EF4-FFF2-40B4-BE49-F238E27FC236}">
                <a16:creationId xmlns:a16="http://schemas.microsoft.com/office/drawing/2014/main" id="{69527776-9529-46DC-9314-B7920FAF7123}"/>
              </a:ext>
            </a:extLst>
          </p:cNvPr>
          <p:cNvSpPr/>
          <p:nvPr/>
        </p:nvSpPr>
        <p:spPr bwMode="auto">
          <a:xfrm>
            <a:off x="7101352" y="1562946"/>
            <a:ext cx="926259"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Beijing</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sp>
        <p:nvSpPr>
          <p:cNvPr id="96" name="Rectangle 95">
            <a:extLst>
              <a:ext uri="{FF2B5EF4-FFF2-40B4-BE49-F238E27FC236}">
                <a16:creationId xmlns:a16="http://schemas.microsoft.com/office/drawing/2014/main" id="{A239757B-2BD2-454A-8C26-A795540AA842}"/>
              </a:ext>
            </a:extLst>
          </p:cNvPr>
          <p:cNvSpPr/>
          <p:nvPr/>
        </p:nvSpPr>
        <p:spPr bwMode="auto">
          <a:xfrm>
            <a:off x="7253752" y="1715346"/>
            <a:ext cx="926259"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Shanghai</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cxnSp>
        <p:nvCxnSpPr>
          <p:cNvPr id="102" name="Straight Connector 101">
            <a:extLst>
              <a:ext uri="{FF2B5EF4-FFF2-40B4-BE49-F238E27FC236}">
                <a16:creationId xmlns:a16="http://schemas.microsoft.com/office/drawing/2014/main" id="{482AF761-138E-47B7-B355-6C0F90BCCE90}"/>
              </a:ext>
            </a:extLst>
          </p:cNvPr>
          <p:cNvCxnSpPr/>
          <p:nvPr/>
        </p:nvCxnSpPr>
        <p:spPr>
          <a:xfrm flipH="1">
            <a:off x="2806431" y="5724159"/>
            <a:ext cx="0" cy="24472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AEF9467-0260-4DE9-82D4-F527C389C82B}"/>
              </a:ext>
            </a:extLst>
          </p:cNvPr>
          <p:cNvCxnSpPr/>
          <p:nvPr/>
        </p:nvCxnSpPr>
        <p:spPr>
          <a:xfrm flipH="1">
            <a:off x="4924996" y="5738117"/>
            <a:ext cx="0" cy="24472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3519FA7-CF6F-49F7-9E44-0B880214991B}"/>
              </a:ext>
            </a:extLst>
          </p:cNvPr>
          <p:cNvCxnSpPr/>
          <p:nvPr/>
        </p:nvCxnSpPr>
        <p:spPr>
          <a:xfrm flipH="1">
            <a:off x="7273225" y="5749277"/>
            <a:ext cx="0" cy="24472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DF7B1A09-37FD-4E35-BFD2-FFD9E43CED60}"/>
              </a:ext>
            </a:extLst>
          </p:cNvPr>
          <p:cNvCxnSpPr/>
          <p:nvPr/>
        </p:nvCxnSpPr>
        <p:spPr>
          <a:xfrm>
            <a:off x="583623" y="5859079"/>
            <a:ext cx="9190383" cy="0"/>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2F7C3BE-9F07-4CB5-B98B-35768C409197}"/>
              </a:ext>
            </a:extLst>
          </p:cNvPr>
          <p:cNvSpPr txBox="1"/>
          <p:nvPr/>
        </p:nvSpPr>
        <p:spPr>
          <a:xfrm>
            <a:off x="1129820" y="6453116"/>
            <a:ext cx="1353696"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1</a:t>
            </a:r>
          </a:p>
        </p:txBody>
      </p:sp>
      <p:sp>
        <p:nvSpPr>
          <p:cNvPr id="112" name="TextBox 111">
            <a:extLst>
              <a:ext uri="{FF2B5EF4-FFF2-40B4-BE49-F238E27FC236}">
                <a16:creationId xmlns:a16="http://schemas.microsoft.com/office/drawing/2014/main" id="{4C11CD21-D387-430D-8A61-ABD4D2839CEC}"/>
              </a:ext>
            </a:extLst>
          </p:cNvPr>
          <p:cNvSpPr txBox="1"/>
          <p:nvPr/>
        </p:nvSpPr>
        <p:spPr>
          <a:xfrm>
            <a:off x="3375203" y="6486513"/>
            <a:ext cx="1353696"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2</a:t>
            </a:r>
          </a:p>
        </p:txBody>
      </p:sp>
      <p:sp>
        <p:nvSpPr>
          <p:cNvPr id="130" name="TextBox 129">
            <a:extLst>
              <a:ext uri="{FF2B5EF4-FFF2-40B4-BE49-F238E27FC236}">
                <a16:creationId xmlns:a16="http://schemas.microsoft.com/office/drawing/2014/main" id="{F33FB095-AD72-45FE-9882-538AF10EC646}"/>
              </a:ext>
            </a:extLst>
          </p:cNvPr>
          <p:cNvSpPr txBox="1"/>
          <p:nvPr/>
        </p:nvSpPr>
        <p:spPr>
          <a:xfrm>
            <a:off x="7881317" y="6426223"/>
            <a:ext cx="1113435"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X</a:t>
            </a:r>
          </a:p>
        </p:txBody>
      </p:sp>
    </p:spTree>
    <p:extLst>
      <p:ext uri="{BB962C8B-B14F-4D97-AF65-F5344CB8AC3E}">
        <p14:creationId xmlns:p14="http://schemas.microsoft.com/office/powerpoint/2010/main" val="40231083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9" presetClass="path" presetSubtype="0" accel="50000" decel="50000" fill="hold" grpId="0" nodeType="clickEffect">
                                  <p:stCondLst>
                                    <p:cond delay="0"/>
                                  </p:stCondLst>
                                  <p:childTnLst>
                                    <p:animMotion origin="layout" path="M -2.70833E-6 -3.33333E-6 L -0.46901 0.28033 " pathEditMode="relative" rAng="0" ptsTypes="AA">
                                      <p:cBhvr>
                                        <p:cTn id="6" dur="2000" fill="hold"/>
                                        <p:tgtEl>
                                          <p:spTgt spid="95"/>
                                        </p:tgtEl>
                                        <p:attrNameLst>
                                          <p:attrName>ppt_x</p:attrName>
                                          <p:attrName>ppt_y</p:attrName>
                                        </p:attrNameLst>
                                      </p:cBhvr>
                                      <p:rCtr x="-23451" y="14005"/>
                                    </p:animMotion>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9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2" nodeType="clickEffect">
                                  <p:stCondLst>
                                    <p:cond delay="0"/>
                                  </p:stCondLst>
                                  <p:childTnLst>
                                    <p:set>
                                      <p:cBhvr>
                                        <p:cTn id="14" dur="1" fill="hold">
                                          <p:stCondLst>
                                            <p:cond delay="0"/>
                                          </p:stCondLst>
                                        </p:cTn>
                                        <p:tgtEl>
                                          <p:spTgt spid="9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49" presetClass="path" presetSubtype="0" accel="50000" decel="50000" fill="hold" grpId="0" nodeType="clickEffect">
                                  <p:stCondLst>
                                    <p:cond delay="0"/>
                                  </p:stCondLst>
                                  <p:childTnLst>
                                    <p:animMotion origin="layout" path="M -2.70833E-6 4.44444E-6 L -0.28346 0.3868 " pathEditMode="relative" rAng="0" ptsTypes="AA">
                                      <p:cBhvr>
                                        <p:cTn id="18" dur="2000" fill="hold"/>
                                        <p:tgtEl>
                                          <p:spTgt spid="96"/>
                                        </p:tgtEl>
                                        <p:attrNameLst>
                                          <p:attrName>ppt_x</p:attrName>
                                          <p:attrName>ppt_y</p:attrName>
                                        </p:attrNameLst>
                                      </p:cBhvr>
                                      <p:rCtr x="-14180" y="19329"/>
                                    </p:animMotion>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9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6" grpId="0" animBg="1"/>
      <p:bldP spid="96" grpId="1" animBg="1"/>
      <p:bldP spid="96" grpId="2"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0F671-8610-49FC-9551-3F03FAA1B36E}"/>
              </a:ext>
            </a:extLst>
          </p:cNvPr>
          <p:cNvSpPr>
            <a:spLocks noGrp="1"/>
          </p:cNvSpPr>
          <p:nvPr>
            <p:ph type="title"/>
          </p:nvPr>
        </p:nvSpPr>
        <p:spPr/>
        <p:txBody>
          <a:bodyPr>
            <a:normAutofit/>
          </a:bodyPr>
          <a:lstStyle/>
          <a:p>
            <a:r>
              <a:rPr lang="en-US" sz="4000">
                <a:latin typeface="Arial" panose="020B0604020202020204" pitchFamily="34" charset="0"/>
                <a:cs typeface="Arial" panose="020B0604020202020204" pitchFamily="34" charset="0"/>
              </a:rPr>
              <a:t>Partitions</a:t>
            </a:r>
          </a:p>
        </p:txBody>
      </p:sp>
      <p:sp>
        <p:nvSpPr>
          <p:cNvPr id="16" name="TextBox 15">
            <a:extLst>
              <a:ext uri="{FF2B5EF4-FFF2-40B4-BE49-F238E27FC236}">
                <a16:creationId xmlns:a16="http://schemas.microsoft.com/office/drawing/2014/main" id="{A179C0E0-A413-4BF5-8616-BBCC4635328D}"/>
              </a:ext>
            </a:extLst>
          </p:cNvPr>
          <p:cNvSpPr txBox="1"/>
          <p:nvPr/>
        </p:nvSpPr>
        <p:spPr>
          <a:xfrm>
            <a:off x="5676287" y="2928030"/>
            <a:ext cx="1440000" cy="7940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3600" b="1"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a:t>
            </a:r>
          </a:p>
        </p:txBody>
      </p:sp>
      <p:sp>
        <p:nvSpPr>
          <p:cNvPr id="43" name="TextBox 42">
            <a:extLst>
              <a:ext uri="{FF2B5EF4-FFF2-40B4-BE49-F238E27FC236}">
                <a16:creationId xmlns:a16="http://schemas.microsoft.com/office/drawing/2014/main" id="{50D33BB8-F271-445C-B8F5-2C849233A5BD}"/>
              </a:ext>
            </a:extLst>
          </p:cNvPr>
          <p:cNvSpPr txBox="1"/>
          <p:nvPr/>
        </p:nvSpPr>
        <p:spPr>
          <a:xfrm>
            <a:off x="4230837" y="1558028"/>
            <a:ext cx="2470977" cy="627865"/>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Arial" panose="020B0604020202020204" pitchFamily="34" charset="0"/>
                <a:ea typeface="+mn-ea"/>
                <a:cs typeface="Arial" panose="020B0604020202020204" pitchFamily="34" charset="0"/>
              </a:rPr>
              <a:t>hash(City ID)</a:t>
            </a:r>
          </a:p>
        </p:txBody>
      </p:sp>
      <p:cxnSp>
        <p:nvCxnSpPr>
          <p:cNvPr id="45" name="Straight Arrow Connector 44">
            <a:extLst>
              <a:ext uri="{FF2B5EF4-FFF2-40B4-BE49-F238E27FC236}">
                <a16:creationId xmlns:a16="http://schemas.microsoft.com/office/drawing/2014/main" id="{3358DD02-9AAA-4863-B736-86D0CF38F58C}"/>
              </a:ext>
            </a:extLst>
          </p:cNvPr>
          <p:cNvCxnSpPr>
            <a:cxnSpLocks/>
          </p:cNvCxnSpPr>
          <p:nvPr/>
        </p:nvCxnSpPr>
        <p:spPr>
          <a:xfrm>
            <a:off x="4737585" y="2236369"/>
            <a:ext cx="0" cy="392859"/>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9E56AEDA-43E1-40FE-9377-2A3C9093BC70}"/>
              </a:ext>
            </a:extLst>
          </p:cNvPr>
          <p:cNvCxnSpPr>
            <a:cxnSpLocks/>
          </p:cNvCxnSpPr>
          <p:nvPr/>
        </p:nvCxnSpPr>
        <p:spPr>
          <a:xfrm>
            <a:off x="6680599" y="2192357"/>
            <a:ext cx="1808764" cy="454219"/>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88F15C9C-0BDC-4158-A37E-6B3197425134}"/>
              </a:ext>
            </a:extLst>
          </p:cNvPr>
          <p:cNvGrpSpPr/>
          <p:nvPr/>
        </p:nvGrpSpPr>
        <p:grpSpPr>
          <a:xfrm>
            <a:off x="834820" y="2195347"/>
            <a:ext cx="3500488" cy="3506023"/>
            <a:chOff x="1966391" y="2712977"/>
            <a:chExt cx="3500488" cy="3506023"/>
          </a:xfrm>
        </p:grpSpPr>
        <p:grpSp>
          <p:nvGrpSpPr>
            <p:cNvPr id="24" name="Group 23">
              <a:extLst>
                <a:ext uri="{FF2B5EF4-FFF2-40B4-BE49-F238E27FC236}">
                  <a16:creationId xmlns:a16="http://schemas.microsoft.com/office/drawing/2014/main" id="{3F95D264-AF11-48B3-B841-4A1099841FFC}"/>
                </a:ext>
              </a:extLst>
            </p:cNvPr>
            <p:cNvGrpSpPr/>
            <p:nvPr/>
          </p:nvGrpSpPr>
          <p:grpSpPr>
            <a:xfrm>
              <a:off x="2143610" y="4101695"/>
              <a:ext cx="1159601" cy="580317"/>
              <a:chOff x="7919988" y="2744429"/>
              <a:chExt cx="1159601" cy="580317"/>
            </a:xfrm>
            <a:solidFill>
              <a:schemeClr val="bg1">
                <a:lumMod val="95000"/>
              </a:schemeClr>
            </a:solidFill>
          </p:grpSpPr>
          <p:sp>
            <p:nvSpPr>
              <p:cNvPr id="25" name="Rectangle 24">
                <a:extLst>
                  <a:ext uri="{FF2B5EF4-FFF2-40B4-BE49-F238E27FC236}">
                    <a16:creationId xmlns:a16="http://schemas.microsoft.com/office/drawing/2014/main" id="{7AFC51A2-2812-44CD-9401-69CF6C611B3C}"/>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6" name="Rectangle 25">
                <a:extLst>
                  <a:ext uri="{FF2B5EF4-FFF2-40B4-BE49-F238E27FC236}">
                    <a16:creationId xmlns:a16="http://schemas.microsoft.com/office/drawing/2014/main" id="{93066876-CFEF-4D73-AB92-9238778513F4}"/>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7" name="Rectangle 26">
                <a:extLst>
                  <a:ext uri="{FF2B5EF4-FFF2-40B4-BE49-F238E27FC236}">
                    <a16:creationId xmlns:a16="http://schemas.microsoft.com/office/drawing/2014/main" id="{40961E76-DF81-43ED-B8AE-DBB804C6B41D}"/>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Beijing</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cxnSp>
          <p:nvCxnSpPr>
            <p:cNvPr id="44" name="Straight Arrow Connector 43">
              <a:extLst>
                <a:ext uri="{FF2B5EF4-FFF2-40B4-BE49-F238E27FC236}">
                  <a16:creationId xmlns:a16="http://schemas.microsoft.com/office/drawing/2014/main" id="{08F86D59-D7D2-47EF-BD0B-FA5E7814D872}"/>
                </a:ext>
              </a:extLst>
            </p:cNvPr>
            <p:cNvCxnSpPr>
              <a:cxnSpLocks/>
            </p:cNvCxnSpPr>
            <p:nvPr/>
          </p:nvCxnSpPr>
          <p:spPr>
            <a:xfrm flipH="1">
              <a:off x="3182457" y="2712977"/>
              <a:ext cx="2284422" cy="390754"/>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F7321A78-7933-478D-AC81-F0E7E76EB88D}"/>
                </a:ext>
              </a:extLst>
            </p:cNvPr>
            <p:cNvSpPr/>
            <p:nvPr/>
          </p:nvSpPr>
          <p:spPr bwMode="auto">
            <a:xfrm>
              <a:off x="2115863" y="4821680"/>
              <a:ext cx="1156828" cy="417453"/>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Seattle</a:t>
              </a:r>
              <a:endParaRPr kumimoji="0" lang="en-US" sz="18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nvGrpSpPr>
            <p:cNvPr id="81" name="Group 80">
              <a:extLst>
                <a:ext uri="{FF2B5EF4-FFF2-40B4-BE49-F238E27FC236}">
                  <a16:creationId xmlns:a16="http://schemas.microsoft.com/office/drawing/2014/main" id="{55DE3930-B5AB-4744-B1B4-CB731B4B8EB8}"/>
                </a:ext>
              </a:extLst>
            </p:cNvPr>
            <p:cNvGrpSpPr/>
            <p:nvPr/>
          </p:nvGrpSpPr>
          <p:grpSpPr>
            <a:xfrm>
              <a:off x="2389347" y="3419793"/>
              <a:ext cx="745007" cy="417453"/>
              <a:chOff x="1275510" y="6072184"/>
              <a:chExt cx="508602" cy="456278"/>
            </a:xfrm>
          </p:grpSpPr>
          <p:grpSp>
            <p:nvGrpSpPr>
              <p:cNvPr id="82" name="Group 81">
                <a:extLst>
                  <a:ext uri="{FF2B5EF4-FFF2-40B4-BE49-F238E27FC236}">
                    <a16:creationId xmlns:a16="http://schemas.microsoft.com/office/drawing/2014/main" id="{3971ECBA-337B-46C8-88E4-E80CD07268BD}"/>
                  </a:ext>
                </a:extLst>
              </p:cNvPr>
              <p:cNvGrpSpPr/>
              <p:nvPr/>
            </p:nvGrpSpPr>
            <p:grpSpPr>
              <a:xfrm>
                <a:off x="1275510" y="6224570"/>
                <a:ext cx="508602" cy="151498"/>
                <a:chOff x="551886" y="4945335"/>
                <a:chExt cx="508602" cy="151498"/>
              </a:xfrm>
            </p:grpSpPr>
            <p:sp>
              <p:nvSpPr>
                <p:cNvPr id="91" name="Rectangle 90">
                  <a:extLst>
                    <a:ext uri="{FF2B5EF4-FFF2-40B4-BE49-F238E27FC236}">
                      <a16:creationId xmlns:a16="http://schemas.microsoft.com/office/drawing/2014/main" id="{A87F235D-D0D2-4E48-9F2C-0ABA5E7D961C}"/>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92" name="Oval 91">
                  <a:extLst>
                    <a:ext uri="{FF2B5EF4-FFF2-40B4-BE49-F238E27FC236}">
                      <a16:creationId xmlns:a16="http://schemas.microsoft.com/office/drawing/2014/main" id="{5C6802B3-E9E2-4401-B5B0-54383D768D99}"/>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93" name="Straight Connector 92">
                  <a:extLst>
                    <a:ext uri="{FF2B5EF4-FFF2-40B4-BE49-F238E27FC236}">
                      <a16:creationId xmlns:a16="http://schemas.microsoft.com/office/drawing/2014/main" id="{290397D7-3AF6-4AF6-9A42-BB85CBD3CCAB}"/>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9DDC9521-6DC8-4EBD-AA61-F52FF02458FC}"/>
                  </a:ext>
                </a:extLst>
              </p:cNvPr>
              <p:cNvGrpSpPr/>
              <p:nvPr/>
            </p:nvGrpSpPr>
            <p:grpSpPr>
              <a:xfrm>
                <a:off x="1275510" y="6376964"/>
                <a:ext cx="508602" cy="151498"/>
                <a:chOff x="551886" y="4945335"/>
                <a:chExt cx="508602" cy="151498"/>
              </a:xfrm>
            </p:grpSpPr>
            <p:sp>
              <p:nvSpPr>
                <p:cNvPr id="88" name="Rectangle 87">
                  <a:extLst>
                    <a:ext uri="{FF2B5EF4-FFF2-40B4-BE49-F238E27FC236}">
                      <a16:creationId xmlns:a16="http://schemas.microsoft.com/office/drawing/2014/main" id="{22743E03-21AC-4A8D-BF0B-09AF53D8B828}"/>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89" name="Oval 88">
                  <a:extLst>
                    <a:ext uri="{FF2B5EF4-FFF2-40B4-BE49-F238E27FC236}">
                      <a16:creationId xmlns:a16="http://schemas.microsoft.com/office/drawing/2014/main" id="{1A7DA3D3-DAC9-4F41-9DF7-8F14976DA288}"/>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90" name="Straight Connector 89">
                  <a:extLst>
                    <a:ext uri="{FF2B5EF4-FFF2-40B4-BE49-F238E27FC236}">
                      <a16:creationId xmlns:a16="http://schemas.microsoft.com/office/drawing/2014/main" id="{BC59248C-8D53-4FC1-AD4E-9C40A2B5CD21}"/>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50BDC987-C3FD-4054-A448-0805B7ED99A8}"/>
                  </a:ext>
                </a:extLst>
              </p:cNvPr>
              <p:cNvGrpSpPr/>
              <p:nvPr/>
            </p:nvGrpSpPr>
            <p:grpSpPr>
              <a:xfrm>
                <a:off x="1275510" y="6072184"/>
                <a:ext cx="508602" cy="151498"/>
                <a:chOff x="551886" y="4945335"/>
                <a:chExt cx="508602" cy="151498"/>
              </a:xfrm>
            </p:grpSpPr>
            <p:sp>
              <p:nvSpPr>
                <p:cNvPr id="85" name="Rectangle 84">
                  <a:extLst>
                    <a:ext uri="{FF2B5EF4-FFF2-40B4-BE49-F238E27FC236}">
                      <a16:creationId xmlns:a16="http://schemas.microsoft.com/office/drawing/2014/main" id="{44B40457-217E-4841-BEB7-2D675701E201}"/>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86" name="Oval 85">
                  <a:extLst>
                    <a:ext uri="{FF2B5EF4-FFF2-40B4-BE49-F238E27FC236}">
                      <a16:creationId xmlns:a16="http://schemas.microsoft.com/office/drawing/2014/main" id="{796ECC00-E4BF-45E0-A5CD-1FF6CA0B2D21}"/>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87" name="Straight Connector 86">
                  <a:extLst>
                    <a:ext uri="{FF2B5EF4-FFF2-40B4-BE49-F238E27FC236}">
                      <a16:creationId xmlns:a16="http://schemas.microsoft.com/office/drawing/2014/main" id="{F16BFE50-1139-4A63-B137-F91B37E4B127}"/>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94" name="Rectangle 93">
              <a:extLst>
                <a:ext uri="{FF2B5EF4-FFF2-40B4-BE49-F238E27FC236}">
                  <a16:creationId xmlns:a16="http://schemas.microsoft.com/office/drawing/2014/main" id="{81D89388-3850-4B1D-872D-8C306C84EF50}"/>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nvGrpSpPr>
            <p:cNvPr id="97" name="Group 96">
              <a:extLst>
                <a:ext uri="{FF2B5EF4-FFF2-40B4-BE49-F238E27FC236}">
                  <a16:creationId xmlns:a16="http://schemas.microsoft.com/office/drawing/2014/main" id="{0B9B94B2-E7D9-4E1C-B804-DAC5E43FDADC}"/>
                </a:ext>
              </a:extLst>
            </p:cNvPr>
            <p:cNvGrpSpPr/>
            <p:nvPr/>
          </p:nvGrpSpPr>
          <p:grpSpPr>
            <a:xfrm>
              <a:off x="2113090" y="5352625"/>
              <a:ext cx="1159601" cy="580317"/>
              <a:chOff x="7919988" y="2744429"/>
              <a:chExt cx="1159601" cy="580317"/>
            </a:xfrm>
            <a:solidFill>
              <a:schemeClr val="bg1">
                <a:lumMod val="95000"/>
              </a:schemeClr>
            </a:solidFill>
          </p:grpSpPr>
          <p:sp>
            <p:nvSpPr>
              <p:cNvPr id="98" name="Rectangle 97">
                <a:extLst>
                  <a:ext uri="{FF2B5EF4-FFF2-40B4-BE49-F238E27FC236}">
                    <a16:creationId xmlns:a16="http://schemas.microsoft.com/office/drawing/2014/main" id="{DC072B55-1F89-43E0-AC45-818D088AE2AD}"/>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99" name="Rectangle 98">
                <a:extLst>
                  <a:ext uri="{FF2B5EF4-FFF2-40B4-BE49-F238E27FC236}">
                    <a16:creationId xmlns:a16="http://schemas.microsoft.com/office/drawing/2014/main" id="{A5E41779-318B-4C1E-9A7A-597F2497C55B}"/>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00" name="Rectangle 99">
                <a:extLst>
                  <a:ext uri="{FF2B5EF4-FFF2-40B4-BE49-F238E27FC236}">
                    <a16:creationId xmlns:a16="http://schemas.microsoft.com/office/drawing/2014/main" id="{12F8BD4E-7D41-4FFD-BAAA-820F3181EC12}"/>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Paris</a:t>
                </a:r>
              </a:p>
            </p:txBody>
          </p:sp>
        </p:grpSp>
      </p:grpSp>
      <p:sp>
        <p:nvSpPr>
          <p:cNvPr id="101" name="TextBox 100">
            <a:extLst>
              <a:ext uri="{FF2B5EF4-FFF2-40B4-BE49-F238E27FC236}">
                <a16:creationId xmlns:a16="http://schemas.microsoft.com/office/drawing/2014/main" id="{1A95B62E-D260-4996-9930-25FB850FDFCD}"/>
              </a:ext>
            </a:extLst>
          </p:cNvPr>
          <p:cNvSpPr txBox="1"/>
          <p:nvPr/>
        </p:nvSpPr>
        <p:spPr>
          <a:xfrm>
            <a:off x="6775494" y="1505622"/>
            <a:ext cx="5427876" cy="6278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Automatically split when close to full</a:t>
            </a:r>
          </a:p>
        </p:txBody>
      </p:sp>
      <p:grpSp>
        <p:nvGrpSpPr>
          <p:cNvPr id="103" name="Group 102">
            <a:extLst>
              <a:ext uri="{FF2B5EF4-FFF2-40B4-BE49-F238E27FC236}">
                <a16:creationId xmlns:a16="http://schemas.microsoft.com/office/drawing/2014/main" id="{EBCF7A23-4BE7-41EB-9430-9BC41E4ECFB9}"/>
              </a:ext>
            </a:extLst>
          </p:cNvPr>
          <p:cNvGrpSpPr/>
          <p:nvPr/>
        </p:nvGrpSpPr>
        <p:grpSpPr>
          <a:xfrm>
            <a:off x="3400766" y="2733037"/>
            <a:ext cx="1674951" cy="2985091"/>
            <a:chOff x="1966391" y="3233909"/>
            <a:chExt cx="1674951" cy="2985091"/>
          </a:xfrm>
        </p:grpSpPr>
        <p:grpSp>
          <p:nvGrpSpPr>
            <p:cNvPr id="104" name="Group 103">
              <a:extLst>
                <a:ext uri="{FF2B5EF4-FFF2-40B4-BE49-F238E27FC236}">
                  <a16:creationId xmlns:a16="http://schemas.microsoft.com/office/drawing/2014/main" id="{6BD54536-01ED-4B06-A317-F57E8F2CEAFB}"/>
                </a:ext>
              </a:extLst>
            </p:cNvPr>
            <p:cNvGrpSpPr/>
            <p:nvPr/>
          </p:nvGrpSpPr>
          <p:grpSpPr>
            <a:xfrm>
              <a:off x="2143610" y="4101695"/>
              <a:ext cx="1159601" cy="580317"/>
              <a:chOff x="7919988" y="2744429"/>
              <a:chExt cx="1159601" cy="580317"/>
            </a:xfrm>
            <a:solidFill>
              <a:schemeClr val="bg1">
                <a:lumMod val="95000"/>
              </a:schemeClr>
            </a:solidFill>
          </p:grpSpPr>
          <p:sp>
            <p:nvSpPr>
              <p:cNvPr id="125" name="Rectangle 124">
                <a:extLst>
                  <a:ext uri="{FF2B5EF4-FFF2-40B4-BE49-F238E27FC236}">
                    <a16:creationId xmlns:a16="http://schemas.microsoft.com/office/drawing/2014/main" id="{348B627B-0BCE-4F26-9F06-25ADC3FC5091}"/>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6" name="Rectangle 125">
                <a:extLst>
                  <a:ext uri="{FF2B5EF4-FFF2-40B4-BE49-F238E27FC236}">
                    <a16:creationId xmlns:a16="http://schemas.microsoft.com/office/drawing/2014/main" id="{AC635BCF-1155-4E32-9390-25A3C3551DEF}"/>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7" name="Rectangle 126">
                <a:extLst>
                  <a:ext uri="{FF2B5EF4-FFF2-40B4-BE49-F238E27FC236}">
                    <a16:creationId xmlns:a16="http://schemas.microsoft.com/office/drawing/2014/main" id="{182101B0-0B4B-4019-BC07-FD0BDC9C02F9}"/>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051"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Redmond</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sp>
          <p:nvSpPr>
            <p:cNvPr id="106" name="Rectangle 105">
              <a:extLst>
                <a:ext uri="{FF2B5EF4-FFF2-40B4-BE49-F238E27FC236}">
                  <a16:creationId xmlns:a16="http://schemas.microsoft.com/office/drawing/2014/main" id="{B0497721-2F4A-4147-BAC4-951183874E30}"/>
                </a:ext>
              </a:extLst>
            </p:cNvPr>
            <p:cNvSpPr/>
            <p:nvPr/>
          </p:nvSpPr>
          <p:spPr bwMode="auto">
            <a:xfrm>
              <a:off x="2115863" y="4821680"/>
              <a:ext cx="1156828" cy="417453"/>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Shanghai</a:t>
              </a:r>
            </a:p>
          </p:txBody>
        </p:sp>
        <p:grpSp>
          <p:nvGrpSpPr>
            <p:cNvPr id="107" name="Group 106">
              <a:extLst>
                <a:ext uri="{FF2B5EF4-FFF2-40B4-BE49-F238E27FC236}">
                  <a16:creationId xmlns:a16="http://schemas.microsoft.com/office/drawing/2014/main" id="{FAE7CB91-FFE1-4F98-B496-2E4102CB181D}"/>
                </a:ext>
              </a:extLst>
            </p:cNvPr>
            <p:cNvGrpSpPr/>
            <p:nvPr/>
          </p:nvGrpSpPr>
          <p:grpSpPr>
            <a:xfrm>
              <a:off x="2389347" y="3419793"/>
              <a:ext cx="745007" cy="417453"/>
              <a:chOff x="1275510" y="6072184"/>
              <a:chExt cx="508602" cy="456278"/>
            </a:xfrm>
          </p:grpSpPr>
          <p:grpSp>
            <p:nvGrpSpPr>
              <p:cNvPr id="113" name="Group 112">
                <a:extLst>
                  <a:ext uri="{FF2B5EF4-FFF2-40B4-BE49-F238E27FC236}">
                    <a16:creationId xmlns:a16="http://schemas.microsoft.com/office/drawing/2014/main" id="{D1493A29-9BFA-4928-859F-6CA204292CF3}"/>
                  </a:ext>
                </a:extLst>
              </p:cNvPr>
              <p:cNvGrpSpPr/>
              <p:nvPr/>
            </p:nvGrpSpPr>
            <p:grpSpPr>
              <a:xfrm>
                <a:off x="1275510" y="6224570"/>
                <a:ext cx="508602" cy="151498"/>
                <a:chOff x="551886" y="4945335"/>
                <a:chExt cx="508602" cy="151498"/>
              </a:xfrm>
            </p:grpSpPr>
            <p:sp>
              <p:nvSpPr>
                <p:cNvPr id="122" name="Rectangle 121">
                  <a:extLst>
                    <a:ext uri="{FF2B5EF4-FFF2-40B4-BE49-F238E27FC236}">
                      <a16:creationId xmlns:a16="http://schemas.microsoft.com/office/drawing/2014/main" id="{B2E28BCC-8347-485E-8009-EACF16DE9366}"/>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3" name="Oval 122">
                  <a:extLst>
                    <a:ext uri="{FF2B5EF4-FFF2-40B4-BE49-F238E27FC236}">
                      <a16:creationId xmlns:a16="http://schemas.microsoft.com/office/drawing/2014/main" id="{3B5DD0AD-DE01-4DEA-8304-BA2B5DE2F815}"/>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24" name="Straight Connector 123">
                  <a:extLst>
                    <a:ext uri="{FF2B5EF4-FFF2-40B4-BE49-F238E27FC236}">
                      <a16:creationId xmlns:a16="http://schemas.microsoft.com/office/drawing/2014/main" id="{0280BC61-B152-446D-8A87-C068C83C3FCF}"/>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4EBDD7A4-A6BD-4004-93C7-5DEE02520C9D}"/>
                  </a:ext>
                </a:extLst>
              </p:cNvPr>
              <p:cNvGrpSpPr/>
              <p:nvPr/>
            </p:nvGrpSpPr>
            <p:grpSpPr>
              <a:xfrm>
                <a:off x="1275510" y="6376964"/>
                <a:ext cx="508602" cy="151498"/>
                <a:chOff x="551886" y="4945335"/>
                <a:chExt cx="508602" cy="151498"/>
              </a:xfrm>
            </p:grpSpPr>
            <p:sp>
              <p:nvSpPr>
                <p:cNvPr id="119" name="Rectangle 118">
                  <a:extLst>
                    <a:ext uri="{FF2B5EF4-FFF2-40B4-BE49-F238E27FC236}">
                      <a16:creationId xmlns:a16="http://schemas.microsoft.com/office/drawing/2014/main" id="{7BA36D3C-0010-4AA0-930B-ACEA46793AB7}"/>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0" name="Oval 119">
                  <a:extLst>
                    <a:ext uri="{FF2B5EF4-FFF2-40B4-BE49-F238E27FC236}">
                      <a16:creationId xmlns:a16="http://schemas.microsoft.com/office/drawing/2014/main" id="{0360F9EB-1617-48D7-ACE0-94D0F6575DA5}"/>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21" name="Straight Connector 120">
                  <a:extLst>
                    <a:ext uri="{FF2B5EF4-FFF2-40B4-BE49-F238E27FC236}">
                      <a16:creationId xmlns:a16="http://schemas.microsoft.com/office/drawing/2014/main" id="{2DED7475-A458-49F0-9D3D-C0C3449BA8E4}"/>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0FD75FB2-6399-4332-AEFB-184B139250A3}"/>
                  </a:ext>
                </a:extLst>
              </p:cNvPr>
              <p:cNvGrpSpPr/>
              <p:nvPr/>
            </p:nvGrpSpPr>
            <p:grpSpPr>
              <a:xfrm>
                <a:off x="1275510" y="6072184"/>
                <a:ext cx="508602" cy="151498"/>
                <a:chOff x="551886" y="4945335"/>
                <a:chExt cx="508602" cy="151498"/>
              </a:xfrm>
            </p:grpSpPr>
            <p:sp>
              <p:nvSpPr>
                <p:cNvPr id="116" name="Rectangle 115">
                  <a:extLst>
                    <a:ext uri="{FF2B5EF4-FFF2-40B4-BE49-F238E27FC236}">
                      <a16:creationId xmlns:a16="http://schemas.microsoft.com/office/drawing/2014/main" id="{CB18BF9C-07D7-445A-A02E-04057C3CF54B}"/>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17" name="Oval 116">
                  <a:extLst>
                    <a:ext uri="{FF2B5EF4-FFF2-40B4-BE49-F238E27FC236}">
                      <a16:creationId xmlns:a16="http://schemas.microsoft.com/office/drawing/2014/main" id="{14048F16-7800-4264-B6E8-9D18DF2A1E5F}"/>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18" name="Straight Connector 117">
                  <a:extLst>
                    <a:ext uri="{FF2B5EF4-FFF2-40B4-BE49-F238E27FC236}">
                      <a16:creationId xmlns:a16="http://schemas.microsoft.com/office/drawing/2014/main" id="{704E343B-A983-41BD-BAC2-619616D5DB0C}"/>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08" name="Rectangle 107">
              <a:extLst>
                <a:ext uri="{FF2B5EF4-FFF2-40B4-BE49-F238E27FC236}">
                  <a16:creationId xmlns:a16="http://schemas.microsoft.com/office/drawing/2014/main" id="{1CBB280C-E3A9-48F7-BF8F-8011D917B0D8}"/>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grpSp>
        <p:nvGrpSpPr>
          <p:cNvPr id="170" name="Group 169">
            <a:extLst>
              <a:ext uri="{FF2B5EF4-FFF2-40B4-BE49-F238E27FC236}">
                <a16:creationId xmlns:a16="http://schemas.microsoft.com/office/drawing/2014/main" id="{E12BA47E-DF7D-4193-95B2-644DAE5BC93D}"/>
              </a:ext>
            </a:extLst>
          </p:cNvPr>
          <p:cNvGrpSpPr/>
          <p:nvPr/>
        </p:nvGrpSpPr>
        <p:grpSpPr>
          <a:xfrm>
            <a:off x="7391050" y="2733037"/>
            <a:ext cx="1674951" cy="2985091"/>
            <a:chOff x="9328755" y="3250668"/>
            <a:chExt cx="1674951" cy="2985091"/>
          </a:xfrm>
        </p:grpSpPr>
        <p:grpSp>
          <p:nvGrpSpPr>
            <p:cNvPr id="128" name="Group 127">
              <a:extLst>
                <a:ext uri="{FF2B5EF4-FFF2-40B4-BE49-F238E27FC236}">
                  <a16:creationId xmlns:a16="http://schemas.microsoft.com/office/drawing/2014/main" id="{B3103BED-7286-4A24-9CDD-8CB670B6ADD1}"/>
                </a:ext>
              </a:extLst>
            </p:cNvPr>
            <p:cNvGrpSpPr/>
            <p:nvPr/>
          </p:nvGrpSpPr>
          <p:grpSpPr>
            <a:xfrm>
              <a:off x="9328755" y="3250668"/>
              <a:ext cx="1674951" cy="2985091"/>
              <a:chOff x="1966391" y="3233909"/>
              <a:chExt cx="1674951" cy="2985091"/>
            </a:xfrm>
          </p:grpSpPr>
          <p:grpSp>
            <p:nvGrpSpPr>
              <p:cNvPr id="129" name="Group 128">
                <a:extLst>
                  <a:ext uri="{FF2B5EF4-FFF2-40B4-BE49-F238E27FC236}">
                    <a16:creationId xmlns:a16="http://schemas.microsoft.com/office/drawing/2014/main" id="{14C8B557-A506-475D-BD72-9D8D72E4E5EC}"/>
                  </a:ext>
                </a:extLst>
              </p:cNvPr>
              <p:cNvGrpSpPr/>
              <p:nvPr/>
            </p:nvGrpSpPr>
            <p:grpSpPr>
              <a:xfrm>
                <a:off x="2143610" y="4101695"/>
                <a:ext cx="1159601" cy="580317"/>
                <a:chOff x="7919988" y="2744429"/>
                <a:chExt cx="1159601" cy="580317"/>
              </a:xfrm>
              <a:solidFill>
                <a:schemeClr val="bg1">
                  <a:lumMod val="95000"/>
                </a:schemeClr>
              </a:solidFill>
            </p:grpSpPr>
            <p:sp>
              <p:nvSpPr>
                <p:cNvPr id="150" name="Rectangle 149">
                  <a:extLst>
                    <a:ext uri="{FF2B5EF4-FFF2-40B4-BE49-F238E27FC236}">
                      <a16:creationId xmlns:a16="http://schemas.microsoft.com/office/drawing/2014/main" id="{8BC0B1D7-BF2E-4817-8924-089C234C267F}"/>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1" name="Rectangle 150">
                  <a:extLst>
                    <a:ext uri="{FF2B5EF4-FFF2-40B4-BE49-F238E27FC236}">
                      <a16:creationId xmlns:a16="http://schemas.microsoft.com/office/drawing/2014/main" id="{6DB08B90-890D-48C0-83AB-7E5F6B3C1371}"/>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2" name="Rectangle 151">
                  <a:extLst>
                    <a:ext uri="{FF2B5EF4-FFF2-40B4-BE49-F238E27FC236}">
                      <a16:creationId xmlns:a16="http://schemas.microsoft.com/office/drawing/2014/main" id="{71DF3D67-DA04-42F3-811A-BC5271A42DBD}"/>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Tianjin</a:t>
                  </a:r>
                </a:p>
              </p:txBody>
            </p:sp>
          </p:grpSp>
          <p:grpSp>
            <p:nvGrpSpPr>
              <p:cNvPr id="132" name="Group 131">
                <a:extLst>
                  <a:ext uri="{FF2B5EF4-FFF2-40B4-BE49-F238E27FC236}">
                    <a16:creationId xmlns:a16="http://schemas.microsoft.com/office/drawing/2014/main" id="{8125F798-2A46-49D1-8841-69EDCDAC5CDE}"/>
                  </a:ext>
                </a:extLst>
              </p:cNvPr>
              <p:cNvGrpSpPr/>
              <p:nvPr/>
            </p:nvGrpSpPr>
            <p:grpSpPr>
              <a:xfrm>
                <a:off x="2389347" y="3419793"/>
                <a:ext cx="745007" cy="417453"/>
                <a:chOff x="1275510" y="6072184"/>
                <a:chExt cx="508602" cy="456278"/>
              </a:xfrm>
            </p:grpSpPr>
            <p:grpSp>
              <p:nvGrpSpPr>
                <p:cNvPr id="138" name="Group 137">
                  <a:extLst>
                    <a:ext uri="{FF2B5EF4-FFF2-40B4-BE49-F238E27FC236}">
                      <a16:creationId xmlns:a16="http://schemas.microsoft.com/office/drawing/2014/main" id="{2025003E-088D-44F5-AA45-7C6F2837169E}"/>
                    </a:ext>
                  </a:extLst>
                </p:cNvPr>
                <p:cNvGrpSpPr/>
                <p:nvPr/>
              </p:nvGrpSpPr>
              <p:grpSpPr>
                <a:xfrm>
                  <a:off x="1275510" y="6224570"/>
                  <a:ext cx="508602" cy="151498"/>
                  <a:chOff x="551886" y="4945335"/>
                  <a:chExt cx="508602" cy="151498"/>
                </a:xfrm>
              </p:grpSpPr>
              <p:sp>
                <p:nvSpPr>
                  <p:cNvPr id="147" name="Rectangle 146">
                    <a:extLst>
                      <a:ext uri="{FF2B5EF4-FFF2-40B4-BE49-F238E27FC236}">
                        <a16:creationId xmlns:a16="http://schemas.microsoft.com/office/drawing/2014/main" id="{266CE4D8-5D38-4484-9700-F703006A8E6C}"/>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48" name="Oval 147">
                    <a:extLst>
                      <a:ext uri="{FF2B5EF4-FFF2-40B4-BE49-F238E27FC236}">
                        <a16:creationId xmlns:a16="http://schemas.microsoft.com/office/drawing/2014/main" id="{DFD6170E-D157-4999-8AC1-C0DD3BF2B1D8}"/>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49" name="Straight Connector 148">
                    <a:extLst>
                      <a:ext uri="{FF2B5EF4-FFF2-40B4-BE49-F238E27FC236}">
                        <a16:creationId xmlns:a16="http://schemas.microsoft.com/office/drawing/2014/main" id="{A9BB1AC7-A433-4CE7-9021-89BD75FFDA06}"/>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A673F6A1-6C2A-4B34-9EBB-948968F32A97}"/>
                    </a:ext>
                  </a:extLst>
                </p:cNvPr>
                <p:cNvGrpSpPr/>
                <p:nvPr/>
              </p:nvGrpSpPr>
              <p:grpSpPr>
                <a:xfrm>
                  <a:off x="1275510" y="6376964"/>
                  <a:ext cx="508602" cy="151498"/>
                  <a:chOff x="551886" y="4945335"/>
                  <a:chExt cx="508602" cy="151498"/>
                </a:xfrm>
              </p:grpSpPr>
              <p:sp>
                <p:nvSpPr>
                  <p:cNvPr id="144" name="Rectangle 143">
                    <a:extLst>
                      <a:ext uri="{FF2B5EF4-FFF2-40B4-BE49-F238E27FC236}">
                        <a16:creationId xmlns:a16="http://schemas.microsoft.com/office/drawing/2014/main" id="{79DB543F-D998-42FA-B2EE-6AA9D1980F83}"/>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45" name="Oval 144">
                    <a:extLst>
                      <a:ext uri="{FF2B5EF4-FFF2-40B4-BE49-F238E27FC236}">
                        <a16:creationId xmlns:a16="http://schemas.microsoft.com/office/drawing/2014/main" id="{9E410885-7A7D-4670-B491-12D9FD0E7F88}"/>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46" name="Straight Connector 145">
                    <a:extLst>
                      <a:ext uri="{FF2B5EF4-FFF2-40B4-BE49-F238E27FC236}">
                        <a16:creationId xmlns:a16="http://schemas.microsoft.com/office/drawing/2014/main" id="{551FFAD2-BBB7-40FC-B7C0-4A6EC32B57D4}"/>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81868E9B-FD8D-4316-87E0-548293C9AA5F}"/>
                    </a:ext>
                  </a:extLst>
                </p:cNvPr>
                <p:cNvGrpSpPr/>
                <p:nvPr/>
              </p:nvGrpSpPr>
              <p:grpSpPr>
                <a:xfrm>
                  <a:off x="1275510" y="6072184"/>
                  <a:ext cx="508602" cy="151498"/>
                  <a:chOff x="551886" y="4945335"/>
                  <a:chExt cx="508602" cy="151498"/>
                </a:xfrm>
              </p:grpSpPr>
              <p:sp>
                <p:nvSpPr>
                  <p:cNvPr id="141" name="Rectangle 140">
                    <a:extLst>
                      <a:ext uri="{FF2B5EF4-FFF2-40B4-BE49-F238E27FC236}">
                        <a16:creationId xmlns:a16="http://schemas.microsoft.com/office/drawing/2014/main" id="{89A8CAEF-3B29-4849-9C06-500F6D3612CC}"/>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42" name="Oval 141">
                    <a:extLst>
                      <a:ext uri="{FF2B5EF4-FFF2-40B4-BE49-F238E27FC236}">
                        <a16:creationId xmlns:a16="http://schemas.microsoft.com/office/drawing/2014/main" id="{8EBB6B06-DC8D-4F89-8CF8-4DD2613F8659}"/>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43" name="Straight Connector 142">
                    <a:extLst>
                      <a:ext uri="{FF2B5EF4-FFF2-40B4-BE49-F238E27FC236}">
                        <a16:creationId xmlns:a16="http://schemas.microsoft.com/office/drawing/2014/main" id="{7717E636-4DD6-4284-AD44-FC4779F42C1E}"/>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33" name="Rectangle 132">
                <a:extLst>
                  <a:ext uri="{FF2B5EF4-FFF2-40B4-BE49-F238E27FC236}">
                    <a16:creationId xmlns:a16="http://schemas.microsoft.com/office/drawing/2014/main" id="{D3B040F1-07D9-4C45-BF25-A7A4663C022F}"/>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nvGrpSpPr>
              <p:cNvPr id="134" name="Group 133">
                <a:extLst>
                  <a:ext uri="{FF2B5EF4-FFF2-40B4-BE49-F238E27FC236}">
                    <a16:creationId xmlns:a16="http://schemas.microsoft.com/office/drawing/2014/main" id="{EDEA2E31-1544-43A1-A95E-4F45390572B6}"/>
                  </a:ext>
                </a:extLst>
              </p:cNvPr>
              <p:cNvGrpSpPr/>
              <p:nvPr/>
            </p:nvGrpSpPr>
            <p:grpSpPr>
              <a:xfrm>
                <a:off x="2143610" y="5534203"/>
                <a:ext cx="1159601" cy="580317"/>
                <a:chOff x="7950508" y="2926007"/>
                <a:chExt cx="1159601" cy="580317"/>
              </a:xfrm>
              <a:solidFill>
                <a:schemeClr val="bg1">
                  <a:lumMod val="95000"/>
                </a:schemeClr>
              </a:solidFill>
            </p:grpSpPr>
            <p:sp>
              <p:nvSpPr>
                <p:cNvPr id="135" name="Rectangle 134">
                  <a:extLst>
                    <a:ext uri="{FF2B5EF4-FFF2-40B4-BE49-F238E27FC236}">
                      <a16:creationId xmlns:a16="http://schemas.microsoft.com/office/drawing/2014/main" id="{56BC40A5-BC30-49A0-B2F7-DC8CCEF27936}"/>
                    </a:ext>
                  </a:extLst>
                </p:cNvPr>
                <p:cNvSpPr/>
                <p:nvPr/>
              </p:nvSpPr>
              <p:spPr bwMode="auto">
                <a:xfrm>
                  <a:off x="8183851" y="2926007"/>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36" name="Rectangle 135">
                  <a:extLst>
                    <a:ext uri="{FF2B5EF4-FFF2-40B4-BE49-F238E27FC236}">
                      <a16:creationId xmlns:a16="http://schemas.microsoft.com/office/drawing/2014/main" id="{9CFAB436-42FF-4514-A66D-CEE612D45AA1}"/>
                    </a:ext>
                  </a:extLst>
                </p:cNvPr>
                <p:cNvSpPr/>
                <p:nvPr/>
              </p:nvSpPr>
              <p:spPr bwMode="auto">
                <a:xfrm>
                  <a:off x="8067179" y="300743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37" name="Rectangle 136">
                  <a:extLst>
                    <a:ext uri="{FF2B5EF4-FFF2-40B4-BE49-F238E27FC236}">
                      <a16:creationId xmlns:a16="http://schemas.microsoft.com/office/drawing/2014/main" id="{53EAEE64-402E-4803-B7BA-C9BADB865091}"/>
                    </a:ext>
                  </a:extLst>
                </p:cNvPr>
                <p:cNvSpPr/>
                <p:nvPr/>
              </p:nvSpPr>
              <p:spPr bwMode="auto">
                <a:xfrm>
                  <a:off x="7950508" y="308887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Berlin</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grpSp>
        <p:grpSp>
          <p:nvGrpSpPr>
            <p:cNvPr id="163" name="Group 162">
              <a:extLst>
                <a:ext uri="{FF2B5EF4-FFF2-40B4-BE49-F238E27FC236}">
                  <a16:creationId xmlns:a16="http://schemas.microsoft.com/office/drawing/2014/main" id="{B5D85D97-EBB0-4E61-81FC-1D721B537772}"/>
                </a:ext>
              </a:extLst>
            </p:cNvPr>
            <p:cNvGrpSpPr/>
            <p:nvPr/>
          </p:nvGrpSpPr>
          <p:grpSpPr>
            <a:xfrm>
              <a:off x="9502187" y="4834005"/>
              <a:ext cx="1159601" cy="580317"/>
              <a:chOff x="5896369" y="4821680"/>
              <a:chExt cx="1159601" cy="580317"/>
            </a:xfrm>
          </p:grpSpPr>
          <p:sp>
            <p:nvSpPr>
              <p:cNvPr id="157" name="Rectangle 156">
                <a:extLst>
                  <a:ext uri="{FF2B5EF4-FFF2-40B4-BE49-F238E27FC236}">
                    <a16:creationId xmlns:a16="http://schemas.microsoft.com/office/drawing/2014/main" id="{FCC05889-E7E2-487D-A9CF-E711F51B542D}"/>
                  </a:ext>
                </a:extLst>
              </p:cNvPr>
              <p:cNvSpPr/>
              <p:nvPr/>
            </p:nvSpPr>
            <p:spPr bwMode="auto">
              <a:xfrm>
                <a:off x="6129712" y="4821680"/>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8" name="Rectangle 157">
                <a:extLst>
                  <a:ext uri="{FF2B5EF4-FFF2-40B4-BE49-F238E27FC236}">
                    <a16:creationId xmlns:a16="http://schemas.microsoft.com/office/drawing/2014/main" id="{9AE132EE-4FAF-46C4-967F-1E144E6FEF7D}"/>
                  </a:ext>
                </a:extLst>
              </p:cNvPr>
              <p:cNvSpPr/>
              <p:nvPr/>
            </p:nvSpPr>
            <p:spPr bwMode="auto">
              <a:xfrm>
                <a:off x="6013040" y="4903112"/>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9" name="Rectangle 158">
                <a:extLst>
                  <a:ext uri="{FF2B5EF4-FFF2-40B4-BE49-F238E27FC236}">
                    <a16:creationId xmlns:a16="http://schemas.microsoft.com/office/drawing/2014/main" id="{872259DE-200B-4364-AF81-ECA09846F954}"/>
                  </a:ext>
                </a:extLst>
              </p:cNvPr>
              <p:cNvSpPr/>
              <p:nvPr/>
            </p:nvSpPr>
            <p:spPr bwMode="auto">
              <a:xfrm>
                <a:off x="5896369" y="4984544"/>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Austin</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grpSp>
      <p:cxnSp>
        <p:nvCxnSpPr>
          <p:cNvPr id="172" name="Straight Arrow Connector 171">
            <a:extLst>
              <a:ext uri="{FF2B5EF4-FFF2-40B4-BE49-F238E27FC236}">
                <a16:creationId xmlns:a16="http://schemas.microsoft.com/office/drawing/2014/main" id="{DF018CD1-A879-48D6-A299-028F57045ABF}"/>
              </a:ext>
            </a:extLst>
          </p:cNvPr>
          <p:cNvCxnSpPr>
            <a:cxnSpLocks/>
          </p:cNvCxnSpPr>
          <p:nvPr/>
        </p:nvCxnSpPr>
        <p:spPr>
          <a:xfrm>
            <a:off x="5971425" y="2268041"/>
            <a:ext cx="0" cy="392859"/>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1D48E1C3-0BAC-4DA9-BF09-6E68BDA0BC6A}"/>
              </a:ext>
            </a:extLst>
          </p:cNvPr>
          <p:cNvSpPr txBox="1"/>
          <p:nvPr/>
        </p:nvSpPr>
        <p:spPr>
          <a:xfrm>
            <a:off x="790478" y="5772068"/>
            <a:ext cx="2312679" cy="6278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1</a:t>
            </a:r>
          </a:p>
        </p:txBody>
      </p:sp>
      <p:sp>
        <p:nvSpPr>
          <p:cNvPr id="175" name="TextBox 174">
            <a:extLst>
              <a:ext uri="{FF2B5EF4-FFF2-40B4-BE49-F238E27FC236}">
                <a16:creationId xmlns:a16="http://schemas.microsoft.com/office/drawing/2014/main" id="{9367CC37-5CD7-48DB-AA59-3B39435ED45E}"/>
              </a:ext>
            </a:extLst>
          </p:cNvPr>
          <p:cNvSpPr txBox="1"/>
          <p:nvPr/>
        </p:nvSpPr>
        <p:spPr>
          <a:xfrm>
            <a:off x="3321947" y="5785203"/>
            <a:ext cx="2312679" cy="6278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2</a:t>
            </a:r>
          </a:p>
        </p:txBody>
      </p:sp>
      <p:sp>
        <p:nvSpPr>
          <p:cNvPr id="176" name="TextBox 175">
            <a:extLst>
              <a:ext uri="{FF2B5EF4-FFF2-40B4-BE49-F238E27FC236}">
                <a16:creationId xmlns:a16="http://schemas.microsoft.com/office/drawing/2014/main" id="{E02A00F2-1E13-4064-A44F-E2FACBC55E75}"/>
              </a:ext>
            </a:extLst>
          </p:cNvPr>
          <p:cNvSpPr txBox="1"/>
          <p:nvPr/>
        </p:nvSpPr>
        <p:spPr>
          <a:xfrm>
            <a:off x="7402674" y="5822813"/>
            <a:ext cx="2312679" cy="627864"/>
          </a:xfrm>
          <a:prstGeom prst="rect">
            <a:avLst/>
          </a:prstGeom>
          <a:noFill/>
        </p:spPr>
        <p:txBody>
          <a:bodyPr wrap="square" lIns="182880" tIns="146304" rIns="182880" bIns="146304" rtlCol="0">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N</a:t>
            </a:r>
          </a:p>
        </p:txBody>
      </p:sp>
      <p:cxnSp>
        <p:nvCxnSpPr>
          <p:cNvPr id="102" name="Straight Connector 101">
            <a:extLst>
              <a:ext uri="{FF2B5EF4-FFF2-40B4-BE49-F238E27FC236}">
                <a16:creationId xmlns:a16="http://schemas.microsoft.com/office/drawing/2014/main" id="{482AF761-138E-47B7-B355-6C0F90BCCE90}"/>
              </a:ext>
            </a:extLst>
          </p:cNvPr>
          <p:cNvCxnSpPr/>
          <p:nvPr/>
        </p:nvCxnSpPr>
        <p:spPr>
          <a:xfrm flipH="1">
            <a:off x="2806431" y="5724159"/>
            <a:ext cx="0" cy="24472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AEF9467-0260-4DE9-82D4-F527C389C82B}"/>
              </a:ext>
            </a:extLst>
          </p:cNvPr>
          <p:cNvCxnSpPr/>
          <p:nvPr/>
        </p:nvCxnSpPr>
        <p:spPr>
          <a:xfrm flipH="1">
            <a:off x="4924996" y="5738117"/>
            <a:ext cx="0" cy="24472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3519FA7-CF6F-49F7-9E44-0B880214991B}"/>
              </a:ext>
            </a:extLst>
          </p:cNvPr>
          <p:cNvCxnSpPr/>
          <p:nvPr/>
        </p:nvCxnSpPr>
        <p:spPr>
          <a:xfrm flipH="1">
            <a:off x="7273225" y="5749277"/>
            <a:ext cx="0" cy="24472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DF7B1A09-37FD-4E35-BFD2-FFD9E43CED60}"/>
              </a:ext>
            </a:extLst>
          </p:cNvPr>
          <p:cNvCxnSpPr/>
          <p:nvPr/>
        </p:nvCxnSpPr>
        <p:spPr>
          <a:xfrm>
            <a:off x="583623" y="5859079"/>
            <a:ext cx="9190383" cy="0"/>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2F7C3BE-9F07-4CB5-B98B-35768C409197}"/>
              </a:ext>
            </a:extLst>
          </p:cNvPr>
          <p:cNvSpPr txBox="1"/>
          <p:nvPr/>
        </p:nvSpPr>
        <p:spPr>
          <a:xfrm>
            <a:off x="1129820" y="6453116"/>
            <a:ext cx="1353696"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1</a:t>
            </a:r>
          </a:p>
        </p:txBody>
      </p:sp>
      <p:sp>
        <p:nvSpPr>
          <p:cNvPr id="112" name="TextBox 111">
            <a:extLst>
              <a:ext uri="{FF2B5EF4-FFF2-40B4-BE49-F238E27FC236}">
                <a16:creationId xmlns:a16="http://schemas.microsoft.com/office/drawing/2014/main" id="{4C11CD21-D387-430D-8A61-ABD4D2839CEC}"/>
              </a:ext>
            </a:extLst>
          </p:cNvPr>
          <p:cNvSpPr txBox="1"/>
          <p:nvPr/>
        </p:nvSpPr>
        <p:spPr>
          <a:xfrm>
            <a:off x="3375203" y="6486513"/>
            <a:ext cx="1353696"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2</a:t>
            </a:r>
          </a:p>
        </p:txBody>
      </p:sp>
      <p:sp>
        <p:nvSpPr>
          <p:cNvPr id="130" name="TextBox 129">
            <a:extLst>
              <a:ext uri="{FF2B5EF4-FFF2-40B4-BE49-F238E27FC236}">
                <a16:creationId xmlns:a16="http://schemas.microsoft.com/office/drawing/2014/main" id="{F33FB095-AD72-45FE-9882-538AF10EC646}"/>
              </a:ext>
            </a:extLst>
          </p:cNvPr>
          <p:cNvSpPr txBox="1"/>
          <p:nvPr/>
        </p:nvSpPr>
        <p:spPr>
          <a:xfrm>
            <a:off x="7881317" y="6426223"/>
            <a:ext cx="1113435"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X</a:t>
            </a:r>
          </a:p>
        </p:txBody>
      </p:sp>
      <p:cxnSp>
        <p:nvCxnSpPr>
          <p:cNvPr id="131" name="Straight Connector 130">
            <a:extLst>
              <a:ext uri="{FF2B5EF4-FFF2-40B4-BE49-F238E27FC236}">
                <a16:creationId xmlns:a16="http://schemas.microsoft.com/office/drawing/2014/main" id="{854BD3A7-EB10-441E-8DD6-74C0B3784771}"/>
              </a:ext>
            </a:extLst>
          </p:cNvPr>
          <p:cNvCxnSpPr>
            <a:cxnSpLocks/>
          </p:cNvCxnSpPr>
          <p:nvPr/>
        </p:nvCxnSpPr>
        <p:spPr>
          <a:xfrm>
            <a:off x="8404551" y="5749276"/>
            <a:ext cx="0" cy="56837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7A2D292-8B18-463E-B081-D94A6A99F054}"/>
              </a:ext>
            </a:extLst>
          </p:cNvPr>
          <p:cNvGrpSpPr/>
          <p:nvPr/>
        </p:nvGrpSpPr>
        <p:grpSpPr>
          <a:xfrm>
            <a:off x="7165435" y="6319062"/>
            <a:ext cx="2883951" cy="646331"/>
            <a:chOff x="8197312" y="1923701"/>
            <a:chExt cx="2883951" cy="646328"/>
          </a:xfrm>
        </p:grpSpPr>
        <p:sp>
          <p:nvSpPr>
            <p:cNvPr id="153" name="TextBox 152">
              <a:extLst>
                <a:ext uri="{FF2B5EF4-FFF2-40B4-BE49-F238E27FC236}">
                  <a16:creationId xmlns:a16="http://schemas.microsoft.com/office/drawing/2014/main" id="{E5DEA057-1303-4DA9-A133-BE386E95CB5A}"/>
                </a:ext>
              </a:extLst>
            </p:cNvPr>
            <p:cNvSpPr txBox="1"/>
            <p:nvPr/>
          </p:nvSpPr>
          <p:spPr>
            <a:xfrm>
              <a:off x="8197312" y="1923701"/>
              <a:ext cx="1113433" cy="646328"/>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X1</a:t>
              </a:r>
            </a:p>
          </p:txBody>
        </p:sp>
        <p:sp>
          <p:nvSpPr>
            <p:cNvPr id="154" name="TextBox 153">
              <a:extLst>
                <a:ext uri="{FF2B5EF4-FFF2-40B4-BE49-F238E27FC236}">
                  <a16:creationId xmlns:a16="http://schemas.microsoft.com/office/drawing/2014/main" id="{9CAEBAC9-E4D3-464A-A84A-C18660E5E4A6}"/>
                </a:ext>
              </a:extLst>
            </p:cNvPr>
            <p:cNvSpPr txBox="1"/>
            <p:nvPr/>
          </p:nvSpPr>
          <p:spPr>
            <a:xfrm>
              <a:off x="9358481" y="1923701"/>
              <a:ext cx="1722782" cy="369331"/>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X2</a:t>
              </a:r>
            </a:p>
          </p:txBody>
        </p:sp>
      </p:grpSp>
      <p:sp>
        <p:nvSpPr>
          <p:cNvPr id="155" name="TextBox 154">
            <a:extLst>
              <a:ext uri="{FF2B5EF4-FFF2-40B4-BE49-F238E27FC236}">
                <a16:creationId xmlns:a16="http://schemas.microsoft.com/office/drawing/2014/main" id="{4F5DFDE2-294A-459E-8267-8804F3F1ACAA}"/>
              </a:ext>
            </a:extLst>
          </p:cNvPr>
          <p:cNvSpPr txBox="1"/>
          <p:nvPr/>
        </p:nvSpPr>
        <p:spPr>
          <a:xfrm>
            <a:off x="10785149" y="3965506"/>
            <a:ext cx="413235" cy="338554"/>
          </a:xfrm>
          <a:prstGeom prst="rect">
            <a:avLst/>
          </a:prstGeom>
          <a:noFill/>
          <a:ln>
            <a:noFill/>
          </a:ln>
        </p:spPr>
        <p:txBody>
          <a:bodyPr wrap="square" rtlCol="0">
            <a:spAutoFit/>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Arial" panose="020B0604020202020204" pitchFamily="34" charset="0"/>
                <a:ea typeface="+mn-ea"/>
                <a:cs typeface="Arial" panose="020B0604020202020204" pitchFamily="34" charset="0"/>
              </a:rPr>
              <a:t>+</a:t>
            </a:r>
          </a:p>
        </p:txBody>
      </p:sp>
      <p:sp>
        <p:nvSpPr>
          <p:cNvPr id="156" name="TextBox 155">
            <a:extLst>
              <a:ext uri="{FF2B5EF4-FFF2-40B4-BE49-F238E27FC236}">
                <a16:creationId xmlns:a16="http://schemas.microsoft.com/office/drawing/2014/main" id="{B1EF2BF1-42BC-4B45-A7A8-C9107BC951D4}"/>
              </a:ext>
            </a:extLst>
          </p:cNvPr>
          <p:cNvSpPr txBox="1"/>
          <p:nvPr/>
        </p:nvSpPr>
        <p:spPr>
          <a:xfrm>
            <a:off x="9888638" y="5144492"/>
            <a:ext cx="915223" cy="461665"/>
          </a:xfrm>
          <a:prstGeom prst="rect">
            <a:avLst/>
          </a:prstGeom>
          <a:noFill/>
        </p:spPr>
        <p:txBody>
          <a:bodyPr wrap="square" rtlCol="0">
            <a:spAutoFit/>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Arial" panose="020B0604020202020204" pitchFamily="34" charset="0"/>
                <a:ea typeface="+mn-ea"/>
                <a:cs typeface="Arial" panose="020B0604020202020204" pitchFamily="34" charset="0"/>
              </a:rPr>
              <a:t>Partition </a:t>
            </a:r>
            <a:r>
              <a:rPr kumimoji="0" lang="en-US" sz="1200" b="0" i="1" u="none" strike="noStrike" kern="1200" cap="none" spc="0" normalizeH="0" baseline="0" noProof="0">
                <a:ln>
                  <a:noFill/>
                </a:ln>
                <a:solidFill>
                  <a:srgbClr val="0078D7"/>
                </a:solidFill>
                <a:effectLst/>
                <a:uLnTx/>
                <a:uFillTx/>
                <a:latin typeface="Arial" panose="020B0604020202020204" pitchFamily="34" charset="0"/>
                <a:ea typeface="+mn-ea"/>
                <a:cs typeface="Arial" panose="020B0604020202020204" pitchFamily="34" charset="0"/>
              </a:rPr>
              <a:t>x1</a:t>
            </a:r>
            <a:endParaRPr kumimoji="0" lang="en-US" sz="1200" b="0" i="0" u="none" strike="noStrike" kern="1200" cap="none" spc="0" normalizeH="0" baseline="0" noProof="0">
              <a:ln>
                <a:noFill/>
              </a:ln>
              <a:solidFill>
                <a:srgbClr val="0078D7"/>
              </a:solidFill>
              <a:effectLst/>
              <a:uLnTx/>
              <a:uFillTx/>
              <a:latin typeface="Arial" panose="020B0604020202020204" pitchFamily="34" charset="0"/>
              <a:ea typeface="+mn-ea"/>
              <a:cs typeface="Arial" panose="020B0604020202020204" pitchFamily="34" charset="0"/>
            </a:endParaRPr>
          </a:p>
        </p:txBody>
      </p:sp>
      <p:sp>
        <p:nvSpPr>
          <p:cNvPr id="160" name="TextBox 159">
            <a:extLst>
              <a:ext uri="{FF2B5EF4-FFF2-40B4-BE49-F238E27FC236}">
                <a16:creationId xmlns:a16="http://schemas.microsoft.com/office/drawing/2014/main" id="{B8A6BCE7-C3BA-42DF-B682-FF45F3DD48A0}"/>
              </a:ext>
            </a:extLst>
          </p:cNvPr>
          <p:cNvSpPr txBox="1"/>
          <p:nvPr/>
        </p:nvSpPr>
        <p:spPr>
          <a:xfrm>
            <a:off x="11182242" y="5131744"/>
            <a:ext cx="915223" cy="461665"/>
          </a:xfrm>
          <a:prstGeom prst="rect">
            <a:avLst/>
          </a:prstGeom>
          <a:noFill/>
        </p:spPr>
        <p:txBody>
          <a:bodyPr wrap="square" rtlCol="0">
            <a:spAutoFit/>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Arial" panose="020B0604020202020204" pitchFamily="34" charset="0"/>
                <a:ea typeface="+mn-ea"/>
                <a:cs typeface="Arial" panose="020B0604020202020204" pitchFamily="34" charset="0"/>
              </a:rPr>
              <a:t>Partition </a:t>
            </a:r>
            <a:r>
              <a:rPr kumimoji="0" lang="en-US" sz="1200" b="0" i="1" u="none" strike="noStrike" kern="1200" cap="none" spc="0" normalizeH="0" baseline="0" noProof="0">
                <a:ln>
                  <a:noFill/>
                </a:ln>
                <a:solidFill>
                  <a:srgbClr val="0078D7"/>
                </a:solidFill>
                <a:effectLst/>
                <a:uLnTx/>
                <a:uFillTx/>
                <a:latin typeface="Arial" panose="020B0604020202020204" pitchFamily="34" charset="0"/>
                <a:ea typeface="+mn-ea"/>
                <a:cs typeface="Arial" panose="020B0604020202020204" pitchFamily="34" charset="0"/>
              </a:rPr>
              <a:t>x2</a:t>
            </a:r>
          </a:p>
        </p:txBody>
      </p:sp>
      <p:graphicFrame>
        <p:nvGraphicFramePr>
          <p:cNvPr id="161" name="Table 160">
            <a:extLst>
              <a:ext uri="{FF2B5EF4-FFF2-40B4-BE49-F238E27FC236}">
                <a16:creationId xmlns:a16="http://schemas.microsoft.com/office/drawing/2014/main" id="{9F5ED8C6-948E-4AB9-98CC-626B32D8989B}"/>
              </a:ext>
            </a:extLst>
          </p:cNvPr>
          <p:cNvGraphicFramePr>
            <a:graphicFrameLocks noGrp="1"/>
          </p:cNvGraphicFramePr>
          <p:nvPr/>
        </p:nvGraphicFramePr>
        <p:xfrm>
          <a:off x="11275699" y="3178271"/>
          <a:ext cx="728307" cy="1913025"/>
        </p:xfrm>
        <a:graphic>
          <a:graphicData uri="http://schemas.openxmlformats.org/drawingml/2006/table">
            <a:tbl>
              <a:tblPr firstRow="1" bandRow="1">
                <a:tableStyleId>{5940675A-B579-460E-94D1-54222C63F5DA}</a:tableStyleId>
              </a:tblPr>
              <a:tblGrid>
                <a:gridCol w="728307">
                  <a:extLst>
                    <a:ext uri="{9D8B030D-6E8A-4147-A177-3AD203B41FA5}">
                      <a16:colId xmlns:a16="http://schemas.microsoft.com/office/drawing/2014/main" val="887149463"/>
                    </a:ext>
                  </a:extLst>
                </a:gridCol>
              </a:tblGrid>
              <a:tr h="637675">
                <a:tc>
                  <a:txBody>
                    <a:bodyPr/>
                    <a:lstStyle/>
                    <a:p>
                      <a:r>
                        <a:rPr lang="en-US" sz="1100">
                          <a:solidFill>
                            <a:schemeClr val="tx2"/>
                          </a:solidFill>
                        </a:rPr>
                        <a:t>Berlin</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91973422"/>
                  </a:ext>
                </a:extLst>
              </a:tr>
              <a:tr h="637675">
                <a:tc>
                  <a:txBody>
                    <a:bodyPr/>
                    <a:lstStyle/>
                    <a:p>
                      <a:endParaRPr lang="en-US" sz="1100">
                        <a:solidFill>
                          <a:schemeClr val="tx2"/>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5457509"/>
                  </a:ext>
                </a:extLst>
              </a:tr>
              <a:tr h="637675">
                <a:tc>
                  <a:txBody>
                    <a:bodyPr/>
                    <a:lstStyle/>
                    <a:p>
                      <a:r>
                        <a:rPr lang="en-US" sz="1100">
                          <a:solidFill>
                            <a:schemeClr val="tx2"/>
                          </a:solidFill>
                        </a:rPr>
                        <a:t>…</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0741359"/>
                  </a:ext>
                </a:extLst>
              </a:tr>
            </a:tbl>
          </a:graphicData>
        </a:graphic>
      </p:graphicFrame>
      <p:graphicFrame>
        <p:nvGraphicFramePr>
          <p:cNvPr id="162" name="Table 161">
            <a:extLst>
              <a:ext uri="{FF2B5EF4-FFF2-40B4-BE49-F238E27FC236}">
                <a16:creationId xmlns:a16="http://schemas.microsoft.com/office/drawing/2014/main" id="{6726AC5E-306A-45D0-9311-F3EDE671FCF2}"/>
              </a:ext>
            </a:extLst>
          </p:cNvPr>
          <p:cNvGraphicFramePr>
            <a:graphicFrameLocks noGrp="1"/>
          </p:cNvGraphicFramePr>
          <p:nvPr/>
        </p:nvGraphicFramePr>
        <p:xfrm>
          <a:off x="9979528" y="3178271"/>
          <a:ext cx="676593" cy="1913025"/>
        </p:xfrm>
        <a:graphic>
          <a:graphicData uri="http://schemas.openxmlformats.org/drawingml/2006/table">
            <a:tbl>
              <a:tblPr firstRow="1" bandRow="1">
                <a:tableStyleId>{5940675A-B579-460E-94D1-54222C63F5DA}</a:tableStyleId>
              </a:tblPr>
              <a:tblGrid>
                <a:gridCol w="676593">
                  <a:extLst>
                    <a:ext uri="{9D8B030D-6E8A-4147-A177-3AD203B41FA5}">
                      <a16:colId xmlns:a16="http://schemas.microsoft.com/office/drawing/2014/main" val="887149463"/>
                    </a:ext>
                  </a:extLst>
                </a:gridCol>
              </a:tblGrid>
              <a:tr h="637675">
                <a:tc>
                  <a:txBody>
                    <a:bodyPr/>
                    <a:lstStyle/>
                    <a:p>
                      <a:r>
                        <a:rPr lang="en-US" sz="1100">
                          <a:solidFill>
                            <a:schemeClr val="tx2"/>
                          </a:solidFill>
                        </a:rPr>
                        <a:t>Tianjin</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91973422"/>
                  </a:ext>
                </a:extLst>
              </a:tr>
              <a:tr h="637675">
                <a:tc>
                  <a:txBody>
                    <a:bodyPr/>
                    <a:lstStyle/>
                    <a:p>
                      <a:r>
                        <a:rPr lang="en-US" sz="1100">
                          <a:solidFill>
                            <a:schemeClr val="tx2"/>
                          </a:solidFill>
                        </a:rPr>
                        <a:t>Austin</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5457509"/>
                  </a:ext>
                </a:extLst>
              </a:tr>
              <a:tr h="637675">
                <a:tc>
                  <a:txBody>
                    <a:bodyPr/>
                    <a:lstStyle/>
                    <a:p>
                      <a:r>
                        <a:rPr lang="en-US" sz="1100">
                          <a:solidFill>
                            <a:schemeClr val="tx2"/>
                          </a:solidFill>
                        </a:rPr>
                        <a:t>…</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0741359"/>
                  </a:ext>
                </a:extLst>
              </a:tr>
            </a:tbl>
          </a:graphicData>
        </a:graphic>
      </p:graphicFrame>
      <p:cxnSp>
        <p:nvCxnSpPr>
          <p:cNvPr id="164" name="Straight Arrow Connector 163">
            <a:extLst>
              <a:ext uri="{FF2B5EF4-FFF2-40B4-BE49-F238E27FC236}">
                <a16:creationId xmlns:a16="http://schemas.microsoft.com/office/drawing/2014/main" id="{1722EEAA-B244-47F9-900E-D222ABDFCF2C}"/>
              </a:ext>
            </a:extLst>
          </p:cNvPr>
          <p:cNvCxnSpPr>
            <a:cxnSpLocks/>
          </p:cNvCxnSpPr>
          <p:nvPr/>
        </p:nvCxnSpPr>
        <p:spPr>
          <a:xfrm>
            <a:off x="9327864" y="4149000"/>
            <a:ext cx="323136" cy="0"/>
          </a:xfrm>
          <a:prstGeom prst="straightConnector1">
            <a:avLst/>
          </a:prstGeom>
          <a:ln w="19050">
            <a:solidFill>
              <a:schemeClr val="tx2"/>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64206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3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 grpId="0"/>
      <p:bldP spid="155" grpId="0"/>
      <p:bldP spid="156" grpId="0"/>
      <p:bldP spid="160" grpId="0"/>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64B6B0D-8084-411B-89AC-EC875A4B3A0C}"/>
              </a:ext>
            </a:extLst>
          </p:cNvPr>
          <p:cNvSpPr txBox="1"/>
          <p:nvPr/>
        </p:nvSpPr>
        <p:spPr>
          <a:xfrm>
            <a:off x="417444" y="165424"/>
            <a:ext cx="2225225" cy="646331"/>
          </a:xfrm>
          <a:prstGeom prst="rect">
            <a:avLst/>
          </a:prstGeom>
          <a:noFill/>
          <a:ln>
            <a:solidFill>
              <a:schemeClr val="tx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ehind the Scen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Physical Partition Sets</a:t>
            </a:r>
          </a:p>
        </p:txBody>
      </p:sp>
      <p:sp>
        <p:nvSpPr>
          <p:cNvPr id="13" name="TextBox 12">
            <a:extLst>
              <a:ext uri="{FF2B5EF4-FFF2-40B4-BE49-F238E27FC236}">
                <a16:creationId xmlns:a16="http://schemas.microsoft.com/office/drawing/2014/main" id="{EDD66ACD-7BDF-4B95-833D-DF80519BC079}"/>
              </a:ext>
            </a:extLst>
          </p:cNvPr>
          <p:cNvSpPr txBox="1"/>
          <p:nvPr/>
        </p:nvSpPr>
        <p:spPr>
          <a:xfrm>
            <a:off x="6096145" y="488590"/>
            <a:ext cx="1435008" cy="369332"/>
          </a:xfrm>
          <a:prstGeom prst="rect">
            <a:avLst/>
          </a:prstGeom>
          <a:noFill/>
          <a:ln>
            <a:solidFill>
              <a:schemeClr val="tx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hash(User Id)</a:t>
            </a:r>
          </a:p>
        </p:txBody>
      </p:sp>
      <p:cxnSp>
        <p:nvCxnSpPr>
          <p:cNvPr id="20" name="Straight Arrow Connector 19">
            <a:extLst>
              <a:ext uri="{FF2B5EF4-FFF2-40B4-BE49-F238E27FC236}">
                <a16:creationId xmlns:a16="http://schemas.microsoft.com/office/drawing/2014/main" id="{4BA60328-4AB1-4468-995E-9769D7814412}"/>
              </a:ext>
            </a:extLst>
          </p:cNvPr>
          <p:cNvCxnSpPr/>
          <p:nvPr/>
        </p:nvCxnSpPr>
        <p:spPr>
          <a:xfrm>
            <a:off x="1739337" y="1404885"/>
            <a:ext cx="9190383" cy="0"/>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4E5633F-CCE6-41E3-A0A8-042108B135CB}"/>
              </a:ext>
            </a:extLst>
          </p:cNvPr>
          <p:cNvCxnSpPr/>
          <p:nvPr/>
        </p:nvCxnSpPr>
        <p:spPr>
          <a:xfrm flipH="1">
            <a:off x="2981739" y="947531"/>
            <a:ext cx="3200400" cy="2849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FFC2752D-6A6C-47F8-B16E-1C45564D4CF4}"/>
              </a:ext>
            </a:extLst>
          </p:cNvPr>
          <p:cNvCxnSpPr>
            <a:cxnSpLocks/>
          </p:cNvCxnSpPr>
          <p:nvPr/>
        </p:nvCxnSpPr>
        <p:spPr>
          <a:xfrm flipH="1">
            <a:off x="4373218" y="947531"/>
            <a:ext cx="2120347" cy="3511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8E53ED5-12EC-4448-8F70-4E4BAB12F382}"/>
              </a:ext>
            </a:extLst>
          </p:cNvPr>
          <p:cNvCxnSpPr/>
          <p:nvPr/>
        </p:nvCxnSpPr>
        <p:spPr>
          <a:xfrm flipH="1">
            <a:off x="5678557" y="947531"/>
            <a:ext cx="1099930" cy="3776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E63402B-56B5-4CFE-B8A6-5822EE131E7C}"/>
              </a:ext>
            </a:extLst>
          </p:cNvPr>
          <p:cNvCxnSpPr/>
          <p:nvPr/>
        </p:nvCxnSpPr>
        <p:spPr>
          <a:xfrm>
            <a:off x="7414591" y="947531"/>
            <a:ext cx="1471202" cy="238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2C06264-6012-499D-BED7-4D319AFBC34A}"/>
              </a:ext>
            </a:extLst>
          </p:cNvPr>
          <p:cNvCxnSpPr/>
          <p:nvPr/>
        </p:nvCxnSpPr>
        <p:spPr>
          <a:xfrm>
            <a:off x="7149548" y="947531"/>
            <a:ext cx="689216" cy="2849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C3BB977-F7C8-4596-83D1-0F0FDA239CB9}"/>
              </a:ext>
            </a:extLst>
          </p:cNvPr>
          <p:cNvCxnSpPr/>
          <p:nvPr/>
        </p:nvCxnSpPr>
        <p:spPr>
          <a:xfrm>
            <a:off x="6957391" y="1013792"/>
            <a:ext cx="0" cy="2849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7F85F5D-8E55-40F3-A323-A9C944062F7B}"/>
              </a:ext>
            </a:extLst>
          </p:cNvPr>
          <p:cNvCxnSpPr/>
          <p:nvPr/>
        </p:nvCxnSpPr>
        <p:spPr>
          <a:xfrm flipH="1">
            <a:off x="3794689" y="947531"/>
            <a:ext cx="24446" cy="11618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881403A-F8BF-42C3-B9A5-0CFAB6E67A7E}"/>
              </a:ext>
            </a:extLst>
          </p:cNvPr>
          <p:cNvCxnSpPr/>
          <p:nvPr/>
        </p:nvCxnSpPr>
        <p:spPr>
          <a:xfrm flipH="1">
            <a:off x="6374520" y="1013792"/>
            <a:ext cx="24446" cy="11618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7A75BAA-C412-47A0-9C85-A8647B21058B}"/>
              </a:ext>
            </a:extLst>
          </p:cNvPr>
          <p:cNvCxnSpPr/>
          <p:nvPr/>
        </p:nvCxnSpPr>
        <p:spPr>
          <a:xfrm flipH="1">
            <a:off x="8613463" y="1066780"/>
            <a:ext cx="24446" cy="116186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9" name="Left Brace 8">
            <a:extLst>
              <a:ext uri="{FF2B5EF4-FFF2-40B4-BE49-F238E27FC236}">
                <a16:creationId xmlns:a16="http://schemas.microsoft.com/office/drawing/2014/main" id="{BB4AE24E-0377-466B-930D-439794C54364}"/>
              </a:ext>
            </a:extLst>
          </p:cNvPr>
          <p:cNvSpPr/>
          <p:nvPr/>
        </p:nvSpPr>
        <p:spPr>
          <a:xfrm rot="16200000">
            <a:off x="2672322" y="1620979"/>
            <a:ext cx="298555" cy="151388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eft Brace 65">
            <a:extLst>
              <a:ext uri="{FF2B5EF4-FFF2-40B4-BE49-F238E27FC236}">
                <a16:creationId xmlns:a16="http://schemas.microsoft.com/office/drawing/2014/main" id="{987DC8C4-5901-4778-9495-E0227B6E23DF}"/>
              </a:ext>
            </a:extLst>
          </p:cNvPr>
          <p:cNvSpPr/>
          <p:nvPr/>
        </p:nvSpPr>
        <p:spPr>
          <a:xfrm rot="16200000">
            <a:off x="4901547" y="1246603"/>
            <a:ext cx="298557" cy="226262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eft Brace 77">
            <a:extLst>
              <a:ext uri="{FF2B5EF4-FFF2-40B4-BE49-F238E27FC236}">
                <a16:creationId xmlns:a16="http://schemas.microsoft.com/office/drawing/2014/main" id="{73AA0C00-4030-4123-A3AC-B928C67F21A1}"/>
              </a:ext>
            </a:extLst>
          </p:cNvPr>
          <p:cNvSpPr/>
          <p:nvPr/>
        </p:nvSpPr>
        <p:spPr>
          <a:xfrm rot="16200000">
            <a:off x="7354001" y="1397746"/>
            <a:ext cx="298559" cy="196033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Left Brace 78">
            <a:extLst>
              <a:ext uri="{FF2B5EF4-FFF2-40B4-BE49-F238E27FC236}">
                <a16:creationId xmlns:a16="http://schemas.microsoft.com/office/drawing/2014/main" id="{5F2E67BB-904F-45C5-910D-0AAC429D91F8}"/>
              </a:ext>
            </a:extLst>
          </p:cNvPr>
          <p:cNvSpPr/>
          <p:nvPr/>
        </p:nvSpPr>
        <p:spPr>
          <a:xfrm rot="16200000">
            <a:off x="9598221" y="1397746"/>
            <a:ext cx="298559" cy="196033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E7635ECB-C9CE-478E-827D-26D393320621}"/>
              </a:ext>
            </a:extLst>
          </p:cNvPr>
          <p:cNvSpPr txBox="1"/>
          <p:nvPr/>
        </p:nvSpPr>
        <p:spPr>
          <a:xfrm>
            <a:off x="2504044" y="2631882"/>
            <a:ext cx="63511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F]</a:t>
            </a:r>
          </a:p>
        </p:txBody>
      </p:sp>
      <p:sp>
        <p:nvSpPr>
          <p:cNvPr id="81" name="TextBox 80">
            <a:extLst>
              <a:ext uri="{FF2B5EF4-FFF2-40B4-BE49-F238E27FC236}">
                <a16:creationId xmlns:a16="http://schemas.microsoft.com/office/drawing/2014/main" id="{A86303C2-701F-4D84-894D-8631EA634D42}"/>
              </a:ext>
            </a:extLst>
          </p:cNvPr>
          <p:cNvSpPr txBox="1"/>
          <p:nvPr/>
        </p:nvSpPr>
        <p:spPr>
          <a:xfrm>
            <a:off x="4681172" y="2631882"/>
            <a:ext cx="7393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G-M]</a:t>
            </a:r>
          </a:p>
        </p:txBody>
      </p:sp>
      <p:sp>
        <p:nvSpPr>
          <p:cNvPr id="82" name="TextBox 81">
            <a:extLst>
              <a:ext uri="{FF2B5EF4-FFF2-40B4-BE49-F238E27FC236}">
                <a16:creationId xmlns:a16="http://schemas.microsoft.com/office/drawing/2014/main" id="{9B02377A-F55B-4679-8DD6-0EF883569C0F}"/>
              </a:ext>
            </a:extLst>
          </p:cNvPr>
          <p:cNvSpPr txBox="1"/>
          <p:nvPr/>
        </p:nvSpPr>
        <p:spPr>
          <a:xfrm>
            <a:off x="7141335" y="2631882"/>
            <a:ext cx="7056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T]</a:t>
            </a:r>
          </a:p>
        </p:txBody>
      </p:sp>
      <p:sp>
        <p:nvSpPr>
          <p:cNvPr id="83" name="TextBox 82">
            <a:extLst>
              <a:ext uri="{FF2B5EF4-FFF2-40B4-BE49-F238E27FC236}">
                <a16:creationId xmlns:a16="http://schemas.microsoft.com/office/drawing/2014/main" id="{3F14FE3B-5B18-4C0C-9C3B-39789C45B677}"/>
              </a:ext>
            </a:extLst>
          </p:cNvPr>
          <p:cNvSpPr txBox="1"/>
          <p:nvPr/>
        </p:nvSpPr>
        <p:spPr>
          <a:xfrm>
            <a:off x="9421930" y="2631882"/>
            <a:ext cx="6511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U-Z]</a:t>
            </a:r>
          </a:p>
        </p:txBody>
      </p:sp>
      <p:sp>
        <p:nvSpPr>
          <p:cNvPr id="12" name="Oval 11">
            <a:extLst>
              <a:ext uri="{FF2B5EF4-FFF2-40B4-BE49-F238E27FC236}">
                <a16:creationId xmlns:a16="http://schemas.microsoft.com/office/drawing/2014/main" id="{68E8F03A-A37B-411D-9012-F7C7992E703A}"/>
              </a:ext>
            </a:extLst>
          </p:cNvPr>
          <p:cNvSpPr/>
          <p:nvPr/>
        </p:nvSpPr>
        <p:spPr>
          <a:xfrm>
            <a:off x="5151962" y="3647840"/>
            <a:ext cx="2262629" cy="2262629"/>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82CAC72D-68DD-4951-905F-725A02957392}"/>
              </a:ext>
            </a:extLst>
          </p:cNvPr>
          <p:cNvCxnSpPr>
            <a:cxnSpLocks/>
          </p:cNvCxnSpPr>
          <p:nvPr/>
        </p:nvCxnSpPr>
        <p:spPr>
          <a:xfrm>
            <a:off x="6283276" y="3148717"/>
            <a:ext cx="0" cy="3347499"/>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DF4EE9B-ED63-449C-B037-EA3650FE550B}"/>
              </a:ext>
            </a:extLst>
          </p:cNvPr>
          <p:cNvCxnSpPr>
            <a:cxnSpLocks/>
          </p:cNvCxnSpPr>
          <p:nvPr/>
        </p:nvCxnSpPr>
        <p:spPr>
          <a:xfrm>
            <a:off x="4508390" y="4779154"/>
            <a:ext cx="3395207" cy="1"/>
          </a:xfrm>
          <a:prstGeom prst="line">
            <a:avLst/>
          </a:prstGeom>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4EA1C791-B041-47D3-8BDC-84B80B1CFCD5}"/>
              </a:ext>
            </a:extLst>
          </p:cNvPr>
          <p:cNvSpPr txBox="1"/>
          <p:nvPr/>
        </p:nvSpPr>
        <p:spPr>
          <a:xfrm>
            <a:off x="4731008" y="3716295"/>
            <a:ext cx="63511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F]</a:t>
            </a:r>
          </a:p>
        </p:txBody>
      </p:sp>
      <p:sp>
        <p:nvSpPr>
          <p:cNvPr id="85" name="TextBox 84">
            <a:extLst>
              <a:ext uri="{FF2B5EF4-FFF2-40B4-BE49-F238E27FC236}">
                <a16:creationId xmlns:a16="http://schemas.microsoft.com/office/drawing/2014/main" id="{BAA70184-BC50-4597-9699-98BA23598570}"/>
              </a:ext>
            </a:extLst>
          </p:cNvPr>
          <p:cNvSpPr txBox="1"/>
          <p:nvPr/>
        </p:nvSpPr>
        <p:spPr>
          <a:xfrm>
            <a:off x="7230399" y="3716295"/>
            <a:ext cx="7393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G-M]</a:t>
            </a:r>
          </a:p>
        </p:txBody>
      </p:sp>
      <p:sp>
        <p:nvSpPr>
          <p:cNvPr id="86" name="TextBox 85">
            <a:extLst>
              <a:ext uri="{FF2B5EF4-FFF2-40B4-BE49-F238E27FC236}">
                <a16:creationId xmlns:a16="http://schemas.microsoft.com/office/drawing/2014/main" id="{FB3D470D-A1D2-4D41-8EF9-F45C743B3793}"/>
              </a:ext>
            </a:extLst>
          </p:cNvPr>
          <p:cNvSpPr txBox="1"/>
          <p:nvPr/>
        </p:nvSpPr>
        <p:spPr>
          <a:xfrm>
            <a:off x="4696600" y="5647097"/>
            <a:ext cx="7056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T]</a:t>
            </a:r>
          </a:p>
        </p:txBody>
      </p:sp>
      <p:sp>
        <p:nvSpPr>
          <p:cNvPr id="87" name="TextBox 86">
            <a:extLst>
              <a:ext uri="{FF2B5EF4-FFF2-40B4-BE49-F238E27FC236}">
                <a16:creationId xmlns:a16="http://schemas.microsoft.com/office/drawing/2014/main" id="{A4E80397-D4B8-464A-B912-4CD3FF88C630}"/>
              </a:ext>
            </a:extLst>
          </p:cNvPr>
          <p:cNvSpPr txBox="1"/>
          <p:nvPr/>
        </p:nvSpPr>
        <p:spPr>
          <a:xfrm>
            <a:off x="7274481" y="5647097"/>
            <a:ext cx="65114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U-Z]</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TextBox 92">
            <a:extLst>
              <a:ext uri="{FF2B5EF4-FFF2-40B4-BE49-F238E27FC236}">
                <a16:creationId xmlns:a16="http://schemas.microsoft.com/office/drawing/2014/main" id="{1E1A9894-C6D5-42ED-BE53-AFEA295CABBC}"/>
              </a:ext>
            </a:extLst>
          </p:cNvPr>
          <p:cNvSpPr txBox="1"/>
          <p:nvPr/>
        </p:nvSpPr>
        <p:spPr>
          <a:xfrm>
            <a:off x="429147" y="3730639"/>
            <a:ext cx="363953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n easier way to think of consistent hashing is to project this range of hashed values as a ring.</a:t>
            </a:r>
          </a:p>
        </p:txBody>
      </p:sp>
      <p:sp>
        <p:nvSpPr>
          <p:cNvPr id="3" name="Footer Placeholder 2">
            <a:extLst>
              <a:ext uri="{FF2B5EF4-FFF2-40B4-BE49-F238E27FC236}">
                <a16:creationId xmlns:a16="http://schemas.microsoft.com/office/drawing/2014/main" id="{E02796A7-82DE-4EB0-A727-CD70B7DD7C7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sk Questions : http://aka.ms/cosmos-qa</a:t>
            </a:r>
          </a:p>
        </p:txBody>
      </p:sp>
    </p:spTree>
    <p:extLst>
      <p:ext uri="{BB962C8B-B14F-4D97-AF65-F5344CB8AC3E}">
        <p14:creationId xmlns:p14="http://schemas.microsoft.com/office/powerpoint/2010/main" val="29213255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64B6B0D-8084-411B-89AC-EC875A4B3A0C}"/>
              </a:ext>
            </a:extLst>
          </p:cNvPr>
          <p:cNvSpPr txBox="1"/>
          <p:nvPr/>
        </p:nvSpPr>
        <p:spPr>
          <a:xfrm>
            <a:off x="417444" y="165424"/>
            <a:ext cx="2225225" cy="646331"/>
          </a:xfrm>
          <a:prstGeom prst="rect">
            <a:avLst/>
          </a:prstGeom>
          <a:noFill/>
          <a:ln>
            <a:solidFill>
              <a:schemeClr val="tx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ehind the Scen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Physical Partition Sets</a:t>
            </a:r>
          </a:p>
        </p:txBody>
      </p:sp>
      <p:sp>
        <p:nvSpPr>
          <p:cNvPr id="13" name="TextBox 12">
            <a:extLst>
              <a:ext uri="{FF2B5EF4-FFF2-40B4-BE49-F238E27FC236}">
                <a16:creationId xmlns:a16="http://schemas.microsoft.com/office/drawing/2014/main" id="{EDD66ACD-7BDF-4B95-833D-DF80519BC079}"/>
              </a:ext>
            </a:extLst>
          </p:cNvPr>
          <p:cNvSpPr txBox="1"/>
          <p:nvPr/>
        </p:nvSpPr>
        <p:spPr>
          <a:xfrm>
            <a:off x="6096145" y="488590"/>
            <a:ext cx="1435008" cy="369332"/>
          </a:xfrm>
          <a:prstGeom prst="rect">
            <a:avLst/>
          </a:prstGeom>
          <a:noFill/>
          <a:ln>
            <a:solidFill>
              <a:schemeClr val="tx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hash(User Id)</a:t>
            </a:r>
          </a:p>
        </p:txBody>
      </p:sp>
      <p:cxnSp>
        <p:nvCxnSpPr>
          <p:cNvPr id="20" name="Straight Arrow Connector 19">
            <a:extLst>
              <a:ext uri="{FF2B5EF4-FFF2-40B4-BE49-F238E27FC236}">
                <a16:creationId xmlns:a16="http://schemas.microsoft.com/office/drawing/2014/main" id="{4BA60328-4AB1-4468-995E-9769D7814412}"/>
              </a:ext>
            </a:extLst>
          </p:cNvPr>
          <p:cNvCxnSpPr/>
          <p:nvPr/>
        </p:nvCxnSpPr>
        <p:spPr>
          <a:xfrm>
            <a:off x="1739337" y="1404885"/>
            <a:ext cx="9190383" cy="0"/>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4E5633F-CCE6-41E3-A0A8-042108B135CB}"/>
              </a:ext>
            </a:extLst>
          </p:cNvPr>
          <p:cNvCxnSpPr/>
          <p:nvPr/>
        </p:nvCxnSpPr>
        <p:spPr>
          <a:xfrm flipH="1">
            <a:off x="2981739" y="947531"/>
            <a:ext cx="3200400" cy="2849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FFC2752D-6A6C-47F8-B16E-1C45564D4CF4}"/>
              </a:ext>
            </a:extLst>
          </p:cNvPr>
          <p:cNvCxnSpPr>
            <a:cxnSpLocks/>
          </p:cNvCxnSpPr>
          <p:nvPr/>
        </p:nvCxnSpPr>
        <p:spPr>
          <a:xfrm flipH="1">
            <a:off x="4373218" y="947531"/>
            <a:ext cx="2120347" cy="3511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8E53ED5-12EC-4448-8F70-4E4BAB12F382}"/>
              </a:ext>
            </a:extLst>
          </p:cNvPr>
          <p:cNvCxnSpPr/>
          <p:nvPr/>
        </p:nvCxnSpPr>
        <p:spPr>
          <a:xfrm flipH="1">
            <a:off x="5678557" y="947531"/>
            <a:ext cx="1099930" cy="3776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E63402B-56B5-4CFE-B8A6-5822EE131E7C}"/>
              </a:ext>
            </a:extLst>
          </p:cNvPr>
          <p:cNvCxnSpPr/>
          <p:nvPr/>
        </p:nvCxnSpPr>
        <p:spPr>
          <a:xfrm>
            <a:off x="7414591" y="947531"/>
            <a:ext cx="1471202" cy="238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2C06264-6012-499D-BED7-4D319AFBC34A}"/>
              </a:ext>
            </a:extLst>
          </p:cNvPr>
          <p:cNvCxnSpPr/>
          <p:nvPr/>
        </p:nvCxnSpPr>
        <p:spPr>
          <a:xfrm>
            <a:off x="7149548" y="947531"/>
            <a:ext cx="689216" cy="2849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C3BB977-F7C8-4596-83D1-0F0FDA239CB9}"/>
              </a:ext>
            </a:extLst>
          </p:cNvPr>
          <p:cNvCxnSpPr/>
          <p:nvPr/>
        </p:nvCxnSpPr>
        <p:spPr>
          <a:xfrm>
            <a:off x="6957391" y="1013792"/>
            <a:ext cx="0" cy="2849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7F85F5D-8E55-40F3-A323-A9C944062F7B}"/>
              </a:ext>
            </a:extLst>
          </p:cNvPr>
          <p:cNvCxnSpPr/>
          <p:nvPr/>
        </p:nvCxnSpPr>
        <p:spPr>
          <a:xfrm flipH="1">
            <a:off x="3794689" y="947531"/>
            <a:ext cx="24446" cy="11618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881403A-F8BF-42C3-B9A5-0CFAB6E67A7E}"/>
              </a:ext>
            </a:extLst>
          </p:cNvPr>
          <p:cNvCxnSpPr/>
          <p:nvPr/>
        </p:nvCxnSpPr>
        <p:spPr>
          <a:xfrm flipH="1">
            <a:off x="6374520" y="1013792"/>
            <a:ext cx="24446" cy="116186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7A75BAA-C412-47A0-9C85-A8647B21058B}"/>
              </a:ext>
            </a:extLst>
          </p:cNvPr>
          <p:cNvCxnSpPr/>
          <p:nvPr/>
        </p:nvCxnSpPr>
        <p:spPr>
          <a:xfrm flipH="1">
            <a:off x="8613463" y="1066780"/>
            <a:ext cx="24446" cy="116186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9" name="Left Brace 8">
            <a:extLst>
              <a:ext uri="{FF2B5EF4-FFF2-40B4-BE49-F238E27FC236}">
                <a16:creationId xmlns:a16="http://schemas.microsoft.com/office/drawing/2014/main" id="{BB4AE24E-0377-466B-930D-439794C54364}"/>
              </a:ext>
            </a:extLst>
          </p:cNvPr>
          <p:cNvSpPr/>
          <p:nvPr/>
        </p:nvSpPr>
        <p:spPr>
          <a:xfrm rot="16200000">
            <a:off x="2672322" y="1620979"/>
            <a:ext cx="298555" cy="151388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eft Brace 65">
            <a:extLst>
              <a:ext uri="{FF2B5EF4-FFF2-40B4-BE49-F238E27FC236}">
                <a16:creationId xmlns:a16="http://schemas.microsoft.com/office/drawing/2014/main" id="{987DC8C4-5901-4778-9495-E0227B6E23DF}"/>
              </a:ext>
            </a:extLst>
          </p:cNvPr>
          <p:cNvSpPr/>
          <p:nvPr/>
        </p:nvSpPr>
        <p:spPr>
          <a:xfrm rot="16200000">
            <a:off x="4901547" y="1246603"/>
            <a:ext cx="298557" cy="226262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eft Brace 77">
            <a:extLst>
              <a:ext uri="{FF2B5EF4-FFF2-40B4-BE49-F238E27FC236}">
                <a16:creationId xmlns:a16="http://schemas.microsoft.com/office/drawing/2014/main" id="{73AA0C00-4030-4123-A3AC-B928C67F21A1}"/>
              </a:ext>
            </a:extLst>
          </p:cNvPr>
          <p:cNvSpPr/>
          <p:nvPr/>
        </p:nvSpPr>
        <p:spPr>
          <a:xfrm rot="16200000">
            <a:off x="7354001" y="1397746"/>
            <a:ext cx="298559" cy="196033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68E8F03A-A37B-411D-9012-F7C7992E703A}"/>
              </a:ext>
            </a:extLst>
          </p:cNvPr>
          <p:cNvSpPr/>
          <p:nvPr/>
        </p:nvSpPr>
        <p:spPr>
          <a:xfrm>
            <a:off x="5151962" y="3647840"/>
            <a:ext cx="2262629" cy="2262629"/>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82CAC72D-68DD-4951-905F-725A02957392}"/>
              </a:ext>
            </a:extLst>
          </p:cNvPr>
          <p:cNvCxnSpPr>
            <a:cxnSpLocks/>
          </p:cNvCxnSpPr>
          <p:nvPr/>
        </p:nvCxnSpPr>
        <p:spPr>
          <a:xfrm>
            <a:off x="6283276" y="3148717"/>
            <a:ext cx="0" cy="3347499"/>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DF4EE9B-ED63-449C-B037-EA3650FE550B}"/>
              </a:ext>
            </a:extLst>
          </p:cNvPr>
          <p:cNvCxnSpPr>
            <a:cxnSpLocks/>
          </p:cNvCxnSpPr>
          <p:nvPr/>
        </p:nvCxnSpPr>
        <p:spPr>
          <a:xfrm>
            <a:off x="4508390" y="4779154"/>
            <a:ext cx="3395207" cy="1"/>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98E919E-FC76-46FA-B941-FE8FF2D97A46}"/>
              </a:ext>
            </a:extLst>
          </p:cNvPr>
          <p:cNvSpPr txBox="1"/>
          <p:nvPr/>
        </p:nvSpPr>
        <p:spPr>
          <a:xfrm>
            <a:off x="429147" y="3730639"/>
            <a:ext cx="391426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n easier way to think of consistent hashing is to project this range of hashed values as a 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The database can elastically scale infinitely while maintaining high availability by minimizing data movement  and subdividing partitions</a:t>
            </a:r>
          </a:p>
        </p:txBody>
      </p:sp>
      <p:sp>
        <p:nvSpPr>
          <p:cNvPr id="31" name="TextBox 30">
            <a:extLst>
              <a:ext uri="{FF2B5EF4-FFF2-40B4-BE49-F238E27FC236}">
                <a16:creationId xmlns:a16="http://schemas.microsoft.com/office/drawing/2014/main" id="{F033E710-1EF2-4ABC-BB26-14CBA3CAE9A2}"/>
              </a:ext>
            </a:extLst>
          </p:cNvPr>
          <p:cNvSpPr txBox="1"/>
          <p:nvPr/>
        </p:nvSpPr>
        <p:spPr>
          <a:xfrm>
            <a:off x="2504044" y="2631882"/>
            <a:ext cx="63511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F]</a:t>
            </a:r>
          </a:p>
        </p:txBody>
      </p:sp>
      <p:sp>
        <p:nvSpPr>
          <p:cNvPr id="33" name="TextBox 32">
            <a:extLst>
              <a:ext uri="{FF2B5EF4-FFF2-40B4-BE49-F238E27FC236}">
                <a16:creationId xmlns:a16="http://schemas.microsoft.com/office/drawing/2014/main" id="{576F3FA2-3111-4E70-9C30-ABC637C39A43}"/>
              </a:ext>
            </a:extLst>
          </p:cNvPr>
          <p:cNvSpPr txBox="1"/>
          <p:nvPr/>
        </p:nvSpPr>
        <p:spPr>
          <a:xfrm>
            <a:off x="4681172" y="2631882"/>
            <a:ext cx="7393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G-M]</a:t>
            </a:r>
          </a:p>
        </p:txBody>
      </p:sp>
      <p:sp>
        <p:nvSpPr>
          <p:cNvPr id="35" name="TextBox 34">
            <a:extLst>
              <a:ext uri="{FF2B5EF4-FFF2-40B4-BE49-F238E27FC236}">
                <a16:creationId xmlns:a16="http://schemas.microsoft.com/office/drawing/2014/main" id="{8860F6D4-225A-49CA-A9DB-96592161A60B}"/>
              </a:ext>
            </a:extLst>
          </p:cNvPr>
          <p:cNvSpPr txBox="1"/>
          <p:nvPr/>
        </p:nvSpPr>
        <p:spPr>
          <a:xfrm>
            <a:off x="7141335" y="2631882"/>
            <a:ext cx="7056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T]</a:t>
            </a:r>
          </a:p>
        </p:txBody>
      </p:sp>
      <p:sp>
        <p:nvSpPr>
          <p:cNvPr id="38" name="TextBox 37">
            <a:extLst>
              <a:ext uri="{FF2B5EF4-FFF2-40B4-BE49-F238E27FC236}">
                <a16:creationId xmlns:a16="http://schemas.microsoft.com/office/drawing/2014/main" id="{D4608513-E4F8-488A-B8BF-9E5410A885B4}"/>
              </a:ext>
            </a:extLst>
          </p:cNvPr>
          <p:cNvSpPr txBox="1"/>
          <p:nvPr/>
        </p:nvSpPr>
        <p:spPr>
          <a:xfrm>
            <a:off x="4731008" y="3716295"/>
            <a:ext cx="63511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F]</a:t>
            </a:r>
          </a:p>
        </p:txBody>
      </p:sp>
      <p:sp>
        <p:nvSpPr>
          <p:cNvPr id="39" name="TextBox 38">
            <a:extLst>
              <a:ext uri="{FF2B5EF4-FFF2-40B4-BE49-F238E27FC236}">
                <a16:creationId xmlns:a16="http://schemas.microsoft.com/office/drawing/2014/main" id="{2DC4EAA1-1D05-4622-9709-0A73E1E1075F}"/>
              </a:ext>
            </a:extLst>
          </p:cNvPr>
          <p:cNvSpPr txBox="1"/>
          <p:nvPr/>
        </p:nvSpPr>
        <p:spPr>
          <a:xfrm>
            <a:off x="7230399" y="3716295"/>
            <a:ext cx="7393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G-M]</a:t>
            </a:r>
          </a:p>
        </p:txBody>
      </p:sp>
      <p:sp>
        <p:nvSpPr>
          <p:cNvPr id="40" name="TextBox 39">
            <a:extLst>
              <a:ext uri="{FF2B5EF4-FFF2-40B4-BE49-F238E27FC236}">
                <a16:creationId xmlns:a16="http://schemas.microsoft.com/office/drawing/2014/main" id="{DDCE0EE4-70B1-4C1E-AACF-0C5406B1682B}"/>
              </a:ext>
            </a:extLst>
          </p:cNvPr>
          <p:cNvSpPr txBox="1"/>
          <p:nvPr/>
        </p:nvSpPr>
        <p:spPr>
          <a:xfrm>
            <a:off x="4696600" y="5647097"/>
            <a:ext cx="7056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T]</a:t>
            </a:r>
          </a:p>
        </p:txBody>
      </p:sp>
      <p:sp>
        <p:nvSpPr>
          <p:cNvPr id="42" name="Left Brace 41">
            <a:extLst>
              <a:ext uri="{FF2B5EF4-FFF2-40B4-BE49-F238E27FC236}">
                <a16:creationId xmlns:a16="http://schemas.microsoft.com/office/drawing/2014/main" id="{F5888D49-E716-4A5D-A305-2B151AC949BE}"/>
              </a:ext>
            </a:extLst>
          </p:cNvPr>
          <p:cNvSpPr/>
          <p:nvPr/>
        </p:nvSpPr>
        <p:spPr>
          <a:xfrm rot="16200000">
            <a:off x="9132389" y="1905429"/>
            <a:ext cx="219046" cy="94916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TextBox 42">
            <a:extLst>
              <a:ext uri="{FF2B5EF4-FFF2-40B4-BE49-F238E27FC236}">
                <a16:creationId xmlns:a16="http://schemas.microsoft.com/office/drawing/2014/main" id="{A7084E3E-8C01-412B-915F-3A0E51E2FB29}"/>
              </a:ext>
            </a:extLst>
          </p:cNvPr>
          <p:cNvSpPr txBox="1"/>
          <p:nvPr/>
        </p:nvSpPr>
        <p:spPr>
          <a:xfrm>
            <a:off x="8867450" y="2631882"/>
            <a:ext cx="74892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U-W]</a:t>
            </a:r>
          </a:p>
        </p:txBody>
      </p:sp>
      <p:sp>
        <p:nvSpPr>
          <p:cNvPr id="44" name="TextBox 43">
            <a:extLst>
              <a:ext uri="{FF2B5EF4-FFF2-40B4-BE49-F238E27FC236}">
                <a16:creationId xmlns:a16="http://schemas.microsoft.com/office/drawing/2014/main" id="{0C6C85A7-F388-4F05-892E-506C71DE254A}"/>
              </a:ext>
            </a:extLst>
          </p:cNvPr>
          <p:cNvSpPr txBox="1"/>
          <p:nvPr/>
        </p:nvSpPr>
        <p:spPr>
          <a:xfrm>
            <a:off x="9910135" y="2631882"/>
            <a:ext cx="62388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X-Z]</a:t>
            </a:r>
          </a:p>
        </p:txBody>
      </p:sp>
      <p:sp>
        <p:nvSpPr>
          <p:cNvPr id="45" name="Left Brace 44">
            <a:extLst>
              <a:ext uri="{FF2B5EF4-FFF2-40B4-BE49-F238E27FC236}">
                <a16:creationId xmlns:a16="http://schemas.microsoft.com/office/drawing/2014/main" id="{FFDA1630-484C-43B6-AC45-66C8B4FF3DB4}"/>
              </a:ext>
            </a:extLst>
          </p:cNvPr>
          <p:cNvSpPr/>
          <p:nvPr/>
        </p:nvSpPr>
        <p:spPr>
          <a:xfrm rot="16200000">
            <a:off x="10112557" y="1918622"/>
            <a:ext cx="219046" cy="94916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46" name="Straight Connector 45">
            <a:extLst>
              <a:ext uri="{FF2B5EF4-FFF2-40B4-BE49-F238E27FC236}">
                <a16:creationId xmlns:a16="http://schemas.microsoft.com/office/drawing/2014/main" id="{18E66BD2-046D-435C-8385-17F9BA5CBBE0}"/>
              </a:ext>
            </a:extLst>
          </p:cNvPr>
          <p:cNvCxnSpPr/>
          <p:nvPr/>
        </p:nvCxnSpPr>
        <p:spPr>
          <a:xfrm flipH="1">
            <a:off x="9723507" y="1066780"/>
            <a:ext cx="24446" cy="1161861"/>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C91BA7B-0212-42E0-AC3D-655313B573C7}"/>
              </a:ext>
            </a:extLst>
          </p:cNvPr>
          <p:cNvCxnSpPr>
            <a:cxnSpLocks/>
          </p:cNvCxnSpPr>
          <p:nvPr/>
        </p:nvCxnSpPr>
        <p:spPr>
          <a:xfrm>
            <a:off x="6283276" y="4770149"/>
            <a:ext cx="1484508" cy="1484111"/>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D03DEF3-6980-4D33-8BDD-E434B5A21DB8}"/>
              </a:ext>
            </a:extLst>
          </p:cNvPr>
          <p:cNvSpPr txBox="1"/>
          <p:nvPr/>
        </p:nvSpPr>
        <p:spPr>
          <a:xfrm>
            <a:off x="6415388" y="6000078"/>
            <a:ext cx="74892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U-W]</a:t>
            </a:r>
          </a:p>
        </p:txBody>
      </p:sp>
      <p:sp>
        <p:nvSpPr>
          <p:cNvPr id="49" name="TextBox 48">
            <a:extLst>
              <a:ext uri="{FF2B5EF4-FFF2-40B4-BE49-F238E27FC236}">
                <a16:creationId xmlns:a16="http://schemas.microsoft.com/office/drawing/2014/main" id="{E1A302F9-78ED-48B3-9684-8F8AB76F16A9}"/>
              </a:ext>
            </a:extLst>
          </p:cNvPr>
          <p:cNvSpPr txBox="1"/>
          <p:nvPr/>
        </p:nvSpPr>
        <p:spPr>
          <a:xfrm>
            <a:off x="7434274" y="5160146"/>
            <a:ext cx="62388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X-Z]</a:t>
            </a:r>
          </a:p>
        </p:txBody>
      </p:sp>
      <p:sp>
        <p:nvSpPr>
          <p:cNvPr id="3" name="Footer Placeholder 2">
            <a:extLst>
              <a:ext uri="{FF2B5EF4-FFF2-40B4-BE49-F238E27FC236}">
                <a16:creationId xmlns:a16="http://schemas.microsoft.com/office/drawing/2014/main" id="{303F3386-8379-4751-8EE6-CDE090341C1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sk Questions : http://aka.ms/cosmos-qa</a:t>
            </a:r>
          </a:p>
        </p:txBody>
      </p:sp>
    </p:spTree>
    <p:extLst>
      <p:ext uri="{BB962C8B-B14F-4D97-AF65-F5344CB8AC3E}">
        <p14:creationId xmlns:p14="http://schemas.microsoft.com/office/powerpoint/2010/main" val="3469580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179C0E0-A413-4BF5-8616-BBCC4635328D}"/>
              </a:ext>
            </a:extLst>
          </p:cNvPr>
          <p:cNvSpPr txBox="1"/>
          <p:nvPr/>
        </p:nvSpPr>
        <p:spPr>
          <a:xfrm>
            <a:off x="5676346" y="2928102"/>
            <a:ext cx="1439796" cy="803952"/>
          </a:xfrm>
          <a:prstGeom prst="rect">
            <a:avLst/>
          </a:prstGeom>
          <a:noFill/>
        </p:spPr>
        <p:txBody>
          <a:bodyPr wrap="square" lIns="182854" tIns="146284" rIns="182854" bIns="146284" rtlCol="0">
            <a:spAutoFit/>
          </a:bodyPr>
          <a:lstStyle/>
          <a:p>
            <a:pPr marL="0" marR="0" lvl="0" indent="0" algn="l" defTabSz="914201" rtl="0" eaLnBrk="1" fontAlgn="auto" latinLnBrk="0" hangingPunct="1">
              <a:lnSpc>
                <a:spcPct val="90000"/>
              </a:lnSpc>
              <a:spcBef>
                <a:spcPts val="0"/>
              </a:spcBef>
              <a:spcAft>
                <a:spcPts val="600"/>
              </a:spcAft>
              <a:buClrTx/>
              <a:buSzTx/>
              <a:buFontTx/>
              <a:buNone/>
              <a:tabLst/>
              <a:defRPr/>
            </a:pPr>
            <a:r>
              <a:rPr kumimoji="0" lang="en-US" sz="3600" b="1"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a:t>
            </a:r>
          </a:p>
        </p:txBody>
      </p:sp>
      <p:sp>
        <p:nvSpPr>
          <p:cNvPr id="43" name="TextBox 42">
            <a:extLst>
              <a:ext uri="{FF2B5EF4-FFF2-40B4-BE49-F238E27FC236}">
                <a16:creationId xmlns:a16="http://schemas.microsoft.com/office/drawing/2014/main" id="{50D33BB8-F271-445C-B8F5-2C849233A5BD}"/>
              </a:ext>
            </a:extLst>
          </p:cNvPr>
          <p:cNvSpPr txBox="1"/>
          <p:nvPr/>
        </p:nvSpPr>
        <p:spPr>
          <a:xfrm>
            <a:off x="4231102" y="1558293"/>
            <a:ext cx="2470627" cy="627776"/>
          </a:xfrm>
          <a:prstGeom prst="rect">
            <a:avLst/>
          </a:prstGeom>
          <a:solidFill>
            <a:schemeClr val="bg1">
              <a:lumMod val="95000"/>
            </a:schemeClr>
          </a:solidFill>
          <a:ln w="1905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201"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Arial" panose="020B0604020202020204" pitchFamily="34" charset="0"/>
                <a:ea typeface="+mn-ea"/>
                <a:cs typeface="Arial" panose="020B0604020202020204" pitchFamily="34" charset="0"/>
              </a:rPr>
              <a:t>hash(City ID)</a:t>
            </a:r>
          </a:p>
        </p:txBody>
      </p:sp>
      <p:cxnSp>
        <p:nvCxnSpPr>
          <p:cNvPr id="45" name="Straight Arrow Connector 44">
            <a:extLst>
              <a:ext uri="{FF2B5EF4-FFF2-40B4-BE49-F238E27FC236}">
                <a16:creationId xmlns:a16="http://schemas.microsoft.com/office/drawing/2014/main" id="{3358DD02-9AAA-4863-B736-86D0CF38F58C}"/>
              </a:ext>
            </a:extLst>
          </p:cNvPr>
          <p:cNvCxnSpPr>
            <a:cxnSpLocks/>
          </p:cNvCxnSpPr>
          <p:nvPr/>
        </p:nvCxnSpPr>
        <p:spPr>
          <a:xfrm>
            <a:off x="4737777" y="2236539"/>
            <a:ext cx="0" cy="392803"/>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9E56AEDA-43E1-40FE-9377-2A3C9093BC70}"/>
              </a:ext>
            </a:extLst>
          </p:cNvPr>
          <p:cNvCxnSpPr>
            <a:cxnSpLocks/>
          </p:cNvCxnSpPr>
          <p:nvPr/>
        </p:nvCxnSpPr>
        <p:spPr>
          <a:xfrm>
            <a:off x="6680516" y="2192533"/>
            <a:ext cx="1808508" cy="454154"/>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88F15C9C-0BDC-4158-A37E-6B3197425134}"/>
              </a:ext>
            </a:extLst>
          </p:cNvPr>
          <p:cNvGrpSpPr/>
          <p:nvPr/>
        </p:nvGrpSpPr>
        <p:grpSpPr>
          <a:xfrm>
            <a:off x="835566" y="2195523"/>
            <a:ext cx="3499992" cy="3505526"/>
            <a:chOff x="1966391" y="2712977"/>
            <a:chExt cx="3500488" cy="3506023"/>
          </a:xfrm>
        </p:grpSpPr>
        <p:grpSp>
          <p:nvGrpSpPr>
            <p:cNvPr id="24" name="Group 23">
              <a:extLst>
                <a:ext uri="{FF2B5EF4-FFF2-40B4-BE49-F238E27FC236}">
                  <a16:creationId xmlns:a16="http://schemas.microsoft.com/office/drawing/2014/main" id="{3F95D264-AF11-48B3-B841-4A1099841FFC}"/>
                </a:ext>
              </a:extLst>
            </p:cNvPr>
            <p:cNvGrpSpPr/>
            <p:nvPr/>
          </p:nvGrpSpPr>
          <p:grpSpPr>
            <a:xfrm>
              <a:off x="2143610" y="4101695"/>
              <a:ext cx="1159601" cy="580317"/>
              <a:chOff x="7919988" y="2744429"/>
              <a:chExt cx="1159601" cy="580317"/>
            </a:xfrm>
            <a:solidFill>
              <a:schemeClr val="bg1">
                <a:lumMod val="95000"/>
              </a:schemeClr>
            </a:solidFill>
          </p:grpSpPr>
          <p:sp>
            <p:nvSpPr>
              <p:cNvPr id="25" name="Rectangle 24">
                <a:extLst>
                  <a:ext uri="{FF2B5EF4-FFF2-40B4-BE49-F238E27FC236}">
                    <a16:creationId xmlns:a16="http://schemas.microsoft.com/office/drawing/2014/main" id="{7AFC51A2-2812-44CD-9401-69CF6C611B3C}"/>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6" name="Rectangle 25">
                <a:extLst>
                  <a:ext uri="{FF2B5EF4-FFF2-40B4-BE49-F238E27FC236}">
                    <a16:creationId xmlns:a16="http://schemas.microsoft.com/office/drawing/2014/main" id="{93066876-CFEF-4D73-AB92-9238778513F4}"/>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27" name="Rectangle 26">
                <a:extLst>
                  <a:ext uri="{FF2B5EF4-FFF2-40B4-BE49-F238E27FC236}">
                    <a16:creationId xmlns:a16="http://schemas.microsoft.com/office/drawing/2014/main" id="{40961E76-DF81-43ED-B8AE-DBB804C6B41D}"/>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Beijing</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cxnSp>
          <p:nvCxnSpPr>
            <p:cNvPr id="44" name="Straight Arrow Connector 43">
              <a:extLst>
                <a:ext uri="{FF2B5EF4-FFF2-40B4-BE49-F238E27FC236}">
                  <a16:creationId xmlns:a16="http://schemas.microsoft.com/office/drawing/2014/main" id="{08F86D59-D7D2-47EF-BD0B-FA5E7814D872}"/>
                </a:ext>
              </a:extLst>
            </p:cNvPr>
            <p:cNvCxnSpPr>
              <a:cxnSpLocks/>
            </p:cNvCxnSpPr>
            <p:nvPr/>
          </p:nvCxnSpPr>
          <p:spPr>
            <a:xfrm flipH="1">
              <a:off x="3182457" y="2712977"/>
              <a:ext cx="2284422" cy="390754"/>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F7321A78-7933-478D-AC81-F0E7E76EB88D}"/>
                </a:ext>
              </a:extLst>
            </p:cNvPr>
            <p:cNvSpPr/>
            <p:nvPr/>
          </p:nvSpPr>
          <p:spPr bwMode="auto">
            <a:xfrm>
              <a:off x="2115863" y="4821680"/>
              <a:ext cx="1156828" cy="417453"/>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Seattle</a:t>
              </a:r>
              <a:endParaRPr kumimoji="0" lang="en-US" sz="18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nvGrpSpPr>
            <p:cNvPr id="81" name="Group 80">
              <a:extLst>
                <a:ext uri="{FF2B5EF4-FFF2-40B4-BE49-F238E27FC236}">
                  <a16:creationId xmlns:a16="http://schemas.microsoft.com/office/drawing/2014/main" id="{55DE3930-B5AB-4744-B1B4-CB731B4B8EB8}"/>
                </a:ext>
              </a:extLst>
            </p:cNvPr>
            <p:cNvGrpSpPr/>
            <p:nvPr/>
          </p:nvGrpSpPr>
          <p:grpSpPr>
            <a:xfrm>
              <a:off x="2389347" y="3419793"/>
              <a:ext cx="745007" cy="417453"/>
              <a:chOff x="1275510" y="6072184"/>
              <a:chExt cx="508602" cy="456278"/>
            </a:xfrm>
          </p:grpSpPr>
          <p:grpSp>
            <p:nvGrpSpPr>
              <p:cNvPr id="82" name="Group 81">
                <a:extLst>
                  <a:ext uri="{FF2B5EF4-FFF2-40B4-BE49-F238E27FC236}">
                    <a16:creationId xmlns:a16="http://schemas.microsoft.com/office/drawing/2014/main" id="{3971ECBA-337B-46C8-88E4-E80CD07268BD}"/>
                  </a:ext>
                </a:extLst>
              </p:cNvPr>
              <p:cNvGrpSpPr/>
              <p:nvPr/>
            </p:nvGrpSpPr>
            <p:grpSpPr>
              <a:xfrm>
                <a:off x="1275510" y="6224570"/>
                <a:ext cx="508602" cy="151498"/>
                <a:chOff x="551886" y="4945335"/>
                <a:chExt cx="508602" cy="151498"/>
              </a:xfrm>
            </p:grpSpPr>
            <p:sp>
              <p:nvSpPr>
                <p:cNvPr id="91" name="Rectangle 90">
                  <a:extLst>
                    <a:ext uri="{FF2B5EF4-FFF2-40B4-BE49-F238E27FC236}">
                      <a16:creationId xmlns:a16="http://schemas.microsoft.com/office/drawing/2014/main" id="{A87F235D-D0D2-4E48-9F2C-0ABA5E7D961C}"/>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92" name="Oval 91">
                  <a:extLst>
                    <a:ext uri="{FF2B5EF4-FFF2-40B4-BE49-F238E27FC236}">
                      <a16:creationId xmlns:a16="http://schemas.microsoft.com/office/drawing/2014/main" id="{5C6802B3-E9E2-4401-B5B0-54383D768D99}"/>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93" name="Straight Connector 92">
                  <a:extLst>
                    <a:ext uri="{FF2B5EF4-FFF2-40B4-BE49-F238E27FC236}">
                      <a16:creationId xmlns:a16="http://schemas.microsoft.com/office/drawing/2014/main" id="{290397D7-3AF6-4AF6-9A42-BB85CBD3CCAB}"/>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9DDC9521-6DC8-4EBD-AA61-F52FF02458FC}"/>
                  </a:ext>
                </a:extLst>
              </p:cNvPr>
              <p:cNvGrpSpPr/>
              <p:nvPr/>
            </p:nvGrpSpPr>
            <p:grpSpPr>
              <a:xfrm>
                <a:off x="1275510" y="6376964"/>
                <a:ext cx="508602" cy="151498"/>
                <a:chOff x="551886" y="4945335"/>
                <a:chExt cx="508602" cy="151498"/>
              </a:xfrm>
            </p:grpSpPr>
            <p:sp>
              <p:nvSpPr>
                <p:cNvPr id="88" name="Rectangle 87">
                  <a:extLst>
                    <a:ext uri="{FF2B5EF4-FFF2-40B4-BE49-F238E27FC236}">
                      <a16:creationId xmlns:a16="http://schemas.microsoft.com/office/drawing/2014/main" id="{22743E03-21AC-4A8D-BF0B-09AF53D8B828}"/>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89" name="Oval 88">
                  <a:extLst>
                    <a:ext uri="{FF2B5EF4-FFF2-40B4-BE49-F238E27FC236}">
                      <a16:creationId xmlns:a16="http://schemas.microsoft.com/office/drawing/2014/main" id="{1A7DA3D3-DAC9-4F41-9DF7-8F14976DA288}"/>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90" name="Straight Connector 89">
                  <a:extLst>
                    <a:ext uri="{FF2B5EF4-FFF2-40B4-BE49-F238E27FC236}">
                      <a16:creationId xmlns:a16="http://schemas.microsoft.com/office/drawing/2014/main" id="{BC59248C-8D53-4FC1-AD4E-9C40A2B5CD21}"/>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50BDC987-C3FD-4054-A448-0805B7ED99A8}"/>
                  </a:ext>
                </a:extLst>
              </p:cNvPr>
              <p:cNvGrpSpPr/>
              <p:nvPr/>
            </p:nvGrpSpPr>
            <p:grpSpPr>
              <a:xfrm>
                <a:off x="1275510" y="6072184"/>
                <a:ext cx="508602" cy="151498"/>
                <a:chOff x="551886" y="4945335"/>
                <a:chExt cx="508602" cy="151498"/>
              </a:xfrm>
            </p:grpSpPr>
            <p:sp>
              <p:nvSpPr>
                <p:cNvPr id="85" name="Rectangle 84">
                  <a:extLst>
                    <a:ext uri="{FF2B5EF4-FFF2-40B4-BE49-F238E27FC236}">
                      <a16:creationId xmlns:a16="http://schemas.microsoft.com/office/drawing/2014/main" id="{44B40457-217E-4841-BEB7-2D675701E201}"/>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86" name="Oval 85">
                  <a:extLst>
                    <a:ext uri="{FF2B5EF4-FFF2-40B4-BE49-F238E27FC236}">
                      <a16:creationId xmlns:a16="http://schemas.microsoft.com/office/drawing/2014/main" id="{796ECC00-E4BF-45E0-A5CD-1FF6CA0B2D21}"/>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87" name="Straight Connector 86">
                  <a:extLst>
                    <a:ext uri="{FF2B5EF4-FFF2-40B4-BE49-F238E27FC236}">
                      <a16:creationId xmlns:a16="http://schemas.microsoft.com/office/drawing/2014/main" id="{F16BFE50-1139-4A63-B137-F91B37E4B127}"/>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94" name="Rectangle 93">
              <a:extLst>
                <a:ext uri="{FF2B5EF4-FFF2-40B4-BE49-F238E27FC236}">
                  <a16:creationId xmlns:a16="http://schemas.microsoft.com/office/drawing/2014/main" id="{81D89388-3850-4B1D-872D-8C306C84EF50}"/>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nvGrpSpPr>
            <p:cNvPr id="97" name="Group 96">
              <a:extLst>
                <a:ext uri="{FF2B5EF4-FFF2-40B4-BE49-F238E27FC236}">
                  <a16:creationId xmlns:a16="http://schemas.microsoft.com/office/drawing/2014/main" id="{0B9B94B2-E7D9-4E1C-B804-DAC5E43FDADC}"/>
                </a:ext>
              </a:extLst>
            </p:cNvPr>
            <p:cNvGrpSpPr/>
            <p:nvPr/>
          </p:nvGrpSpPr>
          <p:grpSpPr>
            <a:xfrm>
              <a:off x="2113090" y="5352625"/>
              <a:ext cx="1159601" cy="580317"/>
              <a:chOff x="7919988" y="2744429"/>
              <a:chExt cx="1159601" cy="580317"/>
            </a:xfrm>
            <a:solidFill>
              <a:schemeClr val="bg1">
                <a:lumMod val="95000"/>
              </a:schemeClr>
            </a:solidFill>
          </p:grpSpPr>
          <p:sp>
            <p:nvSpPr>
              <p:cNvPr id="98" name="Rectangle 97">
                <a:extLst>
                  <a:ext uri="{FF2B5EF4-FFF2-40B4-BE49-F238E27FC236}">
                    <a16:creationId xmlns:a16="http://schemas.microsoft.com/office/drawing/2014/main" id="{DC072B55-1F89-43E0-AC45-818D088AE2AD}"/>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99" name="Rectangle 98">
                <a:extLst>
                  <a:ext uri="{FF2B5EF4-FFF2-40B4-BE49-F238E27FC236}">
                    <a16:creationId xmlns:a16="http://schemas.microsoft.com/office/drawing/2014/main" id="{A5E41779-318B-4C1E-9A7A-597F2497C55B}"/>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00" name="Rectangle 99">
                <a:extLst>
                  <a:ext uri="{FF2B5EF4-FFF2-40B4-BE49-F238E27FC236}">
                    <a16:creationId xmlns:a16="http://schemas.microsoft.com/office/drawing/2014/main" id="{12F8BD4E-7D41-4FFD-BAAA-820F3181EC12}"/>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Paris</a:t>
                </a:r>
              </a:p>
            </p:txBody>
          </p:sp>
        </p:grpSp>
      </p:grpSp>
      <p:sp>
        <p:nvSpPr>
          <p:cNvPr id="101" name="TextBox 100">
            <a:extLst>
              <a:ext uri="{FF2B5EF4-FFF2-40B4-BE49-F238E27FC236}">
                <a16:creationId xmlns:a16="http://schemas.microsoft.com/office/drawing/2014/main" id="{1A95B62E-D260-4996-9930-25FB850FDFCD}"/>
              </a:ext>
            </a:extLst>
          </p:cNvPr>
          <p:cNvSpPr txBox="1"/>
          <p:nvPr/>
        </p:nvSpPr>
        <p:spPr>
          <a:xfrm>
            <a:off x="9669583" y="1388985"/>
            <a:ext cx="2312351" cy="2289817"/>
          </a:xfrm>
          <a:prstGeom prst="rect">
            <a:avLst/>
          </a:prstGeom>
          <a:noFill/>
        </p:spPr>
        <p:txBody>
          <a:bodyPr wrap="square" lIns="182854" tIns="146284" rIns="182854" bIns="146284" rtlCol="0">
            <a:spAutoFit/>
          </a:bodyPr>
          <a:lstStyle/>
          <a:p>
            <a:pPr marL="0" marR="0" lvl="0" indent="0" algn="l" defTabSz="914201"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Cosmos DB distributes RU/s evenly across physical partitions</a:t>
            </a:r>
          </a:p>
        </p:txBody>
      </p:sp>
      <p:grpSp>
        <p:nvGrpSpPr>
          <p:cNvPr id="103" name="Group 102">
            <a:extLst>
              <a:ext uri="{FF2B5EF4-FFF2-40B4-BE49-F238E27FC236}">
                <a16:creationId xmlns:a16="http://schemas.microsoft.com/office/drawing/2014/main" id="{EBCF7A23-4BE7-41EB-9430-9BC41E4ECFB9}"/>
              </a:ext>
            </a:extLst>
          </p:cNvPr>
          <p:cNvGrpSpPr/>
          <p:nvPr/>
        </p:nvGrpSpPr>
        <p:grpSpPr>
          <a:xfrm>
            <a:off x="3401149" y="2733137"/>
            <a:ext cx="1674714" cy="2984667"/>
            <a:chOff x="1966391" y="3233909"/>
            <a:chExt cx="1674951" cy="2985091"/>
          </a:xfrm>
        </p:grpSpPr>
        <p:grpSp>
          <p:nvGrpSpPr>
            <p:cNvPr id="104" name="Group 103">
              <a:extLst>
                <a:ext uri="{FF2B5EF4-FFF2-40B4-BE49-F238E27FC236}">
                  <a16:creationId xmlns:a16="http://schemas.microsoft.com/office/drawing/2014/main" id="{6BD54536-01ED-4B06-A317-F57E8F2CEAFB}"/>
                </a:ext>
              </a:extLst>
            </p:cNvPr>
            <p:cNvGrpSpPr/>
            <p:nvPr/>
          </p:nvGrpSpPr>
          <p:grpSpPr>
            <a:xfrm>
              <a:off x="2143610" y="4101695"/>
              <a:ext cx="1159601" cy="580317"/>
              <a:chOff x="7919988" y="2744429"/>
              <a:chExt cx="1159601" cy="580317"/>
            </a:xfrm>
            <a:solidFill>
              <a:schemeClr val="bg1">
                <a:lumMod val="95000"/>
              </a:schemeClr>
            </a:solidFill>
          </p:grpSpPr>
          <p:sp>
            <p:nvSpPr>
              <p:cNvPr id="125" name="Rectangle 124">
                <a:extLst>
                  <a:ext uri="{FF2B5EF4-FFF2-40B4-BE49-F238E27FC236}">
                    <a16:creationId xmlns:a16="http://schemas.microsoft.com/office/drawing/2014/main" id="{348B627B-0BCE-4F26-9F06-25ADC3FC5091}"/>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6" name="Rectangle 125">
                <a:extLst>
                  <a:ext uri="{FF2B5EF4-FFF2-40B4-BE49-F238E27FC236}">
                    <a16:creationId xmlns:a16="http://schemas.microsoft.com/office/drawing/2014/main" id="{AC635BCF-1155-4E32-9390-25A3C3551DEF}"/>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7" name="Rectangle 126">
                <a:extLst>
                  <a:ext uri="{FF2B5EF4-FFF2-40B4-BE49-F238E27FC236}">
                    <a16:creationId xmlns:a16="http://schemas.microsoft.com/office/drawing/2014/main" id="{182101B0-0B4B-4019-BC07-FD0BDC9C02F9}"/>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r>
                  <a:rPr kumimoji="0" lang="en-US" sz="1051"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Redmond</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sp>
          <p:nvSpPr>
            <p:cNvPr id="106" name="Rectangle 105">
              <a:extLst>
                <a:ext uri="{FF2B5EF4-FFF2-40B4-BE49-F238E27FC236}">
                  <a16:creationId xmlns:a16="http://schemas.microsoft.com/office/drawing/2014/main" id="{B0497721-2F4A-4147-BAC4-951183874E30}"/>
                </a:ext>
              </a:extLst>
            </p:cNvPr>
            <p:cNvSpPr/>
            <p:nvPr/>
          </p:nvSpPr>
          <p:spPr bwMode="auto">
            <a:xfrm>
              <a:off x="2115863" y="4821680"/>
              <a:ext cx="1156828" cy="417453"/>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Shanghai</a:t>
              </a:r>
            </a:p>
          </p:txBody>
        </p:sp>
        <p:grpSp>
          <p:nvGrpSpPr>
            <p:cNvPr id="107" name="Group 106">
              <a:extLst>
                <a:ext uri="{FF2B5EF4-FFF2-40B4-BE49-F238E27FC236}">
                  <a16:creationId xmlns:a16="http://schemas.microsoft.com/office/drawing/2014/main" id="{FAE7CB91-FFE1-4F98-B496-2E4102CB181D}"/>
                </a:ext>
              </a:extLst>
            </p:cNvPr>
            <p:cNvGrpSpPr/>
            <p:nvPr/>
          </p:nvGrpSpPr>
          <p:grpSpPr>
            <a:xfrm>
              <a:off x="2389347" y="3419793"/>
              <a:ext cx="745007" cy="417453"/>
              <a:chOff x="1275510" y="6072184"/>
              <a:chExt cx="508602" cy="456278"/>
            </a:xfrm>
          </p:grpSpPr>
          <p:grpSp>
            <p:nvGrpSpPr>
              <p:cNvPr id="113" name="Group 112">
                <a:extLst>
                  <a:ext uri="{FF2B5EF4-FFF2-40B4-BE49-F238E27FC236}">
                    <a16:creationId xmlns:a16="http://schemas.microsoft.com/office/drawing/2014/main" id="{D1493A29-9BFA-4928-859F-6CA204292CF3}"/>
                  </a:ext>
                </a:extLst>
              </p:cNvPr>
              <p:cNvGrpSpPr/>
              <p:nvPr/>
            </p:nvGrpSpPr>
            <p:grpSpPr>
              <a:xfrm>
                <a:off x="1275510" y="6224570"/>
                <a:ext cx="508602" cy="151498"/>
                <a:chOff x="551886" y="4945335"/>
                <a:chExt cx="508602" cy="151498"/>
              </a:xfrm>
            </p:grpSpPr>
            <p:sp>
              <p:nvSpPr>
                <p:cNvPr id="122" name="Rectangle 121">
                  <a:extLst>
                    <a:ext uri="{FF2B5EF4-FFF2-40B4-BE49-F238E27FC236}">
                      <a16:creationId xmlns:a16="http://schemas.microsoft.com/office/drawing/2014/main" id="{B2E28BCC-8347-485E-8009-EACF16DE9366}"/>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3" name="Oval 122">
                  <a:extLst>
                    <a:ext uri="{FF2B5EF4-FFF2-40B4-BE49-F238E27FC236}">
                      <a16:creationId xmlns:a16="http://schemas.microsoft.com/office/drawing/2014/main" id="{3B5DD0AD-DE01-4DEA-8304-BA2B5DE2F815}"/>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24" name="Straight Connector 123">
                  <a:extLst>
                    <a:ext uri="{FF2B5EF4-FFF2-40B4-BE49-F238E27FC236}">
                      <a16:creationId xmlns:a16="http://schemas.microsoft.com/office/drawing/2014/main" id="{0280BC61-B152-446D-8A87-C068C83C3FCF}"/>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4EBDD7A4-A6BD-4004-93C7-5DEE02520C9D}"/>
                  </a:ext>
                </a:extLst>
              </p:cNvPr>
              <p:cNvGrpSpPr/>
              <p:nvPr/>
            </p:nvGrpSpPr>
            <p:grpSpPr>
              <a:xfrm>
                <a:off x="1275510" y="6376964"/>
                <a:ext cx="508602" cy="151498"/>
                <a:chOff x="551886" y="4945335"/>
                <a:chExt cx="508602" cy="151498"/>
              </a:xfrm>
            </p:grpSpPr>
            <p:sp>
              <p:nvSpPr>
                <p:cNvPr id="119" name="Rectangle 118">
                  <a:extLst>
                    <a:ext uri="{FF2B5EF4-FFF2-40B4-BE49-F238E27FC236}">
                      <a16:creationId xmlns:a16="http://schemas.microsoft.com/office/drawing/2014/main" id="{7BA36D3C-0010-4AA0-930B-ACEA46793AB7}"/>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20" name="Oval 119">
                  <a:extLst>
                    <a:ext uri="{FF2B5EF4-FFF2-40B4-BE49-F238E27FC236}">
                      <a16:creationId xmlns:a16="http://schemas.microsoft.com/office/drawing/2014/main" id="{0360F9EB-1617-48D7-ACE0-94D0F6575DA5}"/>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21" name="Straight Connector 120">
                  <a:extLst>
                    <a:ext uri="{FF2B5EF4-FFF2-40B4-BE49-F238E27FC236}">
                      <a16:creationId xmlns:a16="http://schemas.microsoft.com/office/drawing/2014/main" id="{2DED7475-A458-49F0-9D3D-C0C3449BA8E4}"/>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0FD75FB2-6399-4332-AEFB-184B139250A3}"/>
                  </a:ext>
                </a:extLst>
              </p:cNvPr>
              <p:cNvGrpSpPr/>
              <p:nvPr/>
            </p:nvGrpSpPr>
            <p:grpSpPr>
              <a:xfrm>
                <a:off x="1275510" y="6072184"/>
                <a:ext cx="508602" cy="151498"/>
                <a:chOff x="551886" y="4945335"/>
                <a:chExt cx="508602" cy="151498"/>
              </a:xfrm>
            </p:grpSpPr>
            <p:sp>
              <p:nvSpPr>
                <p:cNvPr id="116" name="Rectangle 115">
                  <a:extLst>
                    <a:ext uri="{FF2B5EF4-FFF2-40B4-BE49-F238E27FC236}">
                      <a16:creationId xmlns:a16="http://schemas.microsoft.com/office/drawing/2014/main" id="{CB18BF9C-07D7-445A-A02E-04057C3CF54B}"/>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17" name="Oval 116">
                  <a:extLst>
                    <a:ext uri="{FF2B5EF4-FFF2-40B4-BE49-F238E27FC236}">
                      <a16:creationId xmlns:a16="http://schemas.microsoft.com/office/drawing/2014/main" id="{14048F16-7800-4264-B6E8-9D18DF2A1E5F}"/>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18" name="Straight Connector 117">
                  <a:extLst>
                    <a:ext uri="{FF2B5EF4-FFF2-40B4-BE49-F238E27FC236}">
                      <a16:creationId xmlns:a16="http://schemas.microsoft.com/office/drawing/2014/main" id="{704E343B-A983-41BD-BAC2-619616D5DB0C}"/>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08" name="Rectangle 107">
              <a:extLst>
                <a:ext uri="{FF2B5EF4-FFF2-40B4-BE49-F238E27FC236}">
                  <a16:creationId xmlns:a16="http://schemas.microsoft.com/office/drawing/2014/main" id="{1CBB280C-E3A9-48F7-BF8F-8011D917B0D8}"/>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grpSp>
        <p:nvGrpSpPr>
          <p:cNvPr id="170" name="Group 169">
            <a:extLst>
              <a:ext uri="{FF2B5EF4-FFF2-40B4-BE49-F238E27FC236}">
                <a16:creationId xmlns:a16="http://schemas.microsoft.com/office/drawing/2014/main" id="{E12BA47E-DF7D-4193-95B2-644DAE5BC93D}"/>
              </a:ext>
            </a:extLst>
          </p:cNvPr>
          <p:cNvGrpSpPr/>
          <p:nvPr/>
        </p:nvGrpSpPr>
        <p:grpSpPr>
          <a:xfrm>
            <a:off x="7390867" y="2733137"/>
            <a:ext cx="1674714" cy="2984667"/>
            <a:chOff x="9328755" y="3250668"/>
            <a:chExt cx="1674951" cy="2985091"/>
          </a:xfrm>
        </p:grpSpPr>
        <p:grpSp>
          <p:nvGrpSpPr>
            <p:cNvPr id="128" name="Group 127">
              <a:extLst>
                <a:ext uri="{FF2B5EF4-FFF2-40B4-BE49-F238E27FC236}">
                  <a16:creationId xmlns:a16="http://schemas.microsoft.com/office/drawing/2014/main" id="{B3103BED-7286-4A24-9CDD-8CB670B6ADD1}"/>
                </a:ext>
              </a:extLst>
            </p:cNvPr>
            <p:cNvGrpSpPr/>
            <p:nvPr/>
          </p:nvGrpSpPr>
          <p:grpSpPr>
            <a:xfrm>
              <a:off x="9328755" y="3250668"/>
              <a:ext cx="1674951" cy="2985091"/>
              <a:chOff x="1966391" y="3233909"/>
              <a:chExt cx="1674951" cy="2985091"/>
            </a:xfrm>
          </p:grpSpPr>
          <p:grpSp>
            <p:nvGrpSpPr>
              <p:cNvPr id="129" name="Group 128">
                <a:extLst>
                  <a:ext uri="{FF2B5EF4-FFF2-40B4-BE49-F238E27FC236}">
                    <a16:creationId xmlns:a16="http://schemas.microsoft.com/office/drawing/2014/main" id="{14C8B557-A506-475D-BD72-9D8D72E4E5EC}"/>
                  </a:ext>
                </a:extLst>
              </p:cNvPr>
              <p:cNvGrpSpPr/>
              <p:nvPr/>
            </p:nvGrpSpPr>
            <p:grpSpPr>
              <a:xfrm>
                <a:off x="2143610" y="4101695"/>
                <a:ext cx="1159601" cy="580317"/>
                <a:chOff x="7919988" y="2744429"/>
                <a:chExt cx="1159601" cy="580317"/>
              </a:xfrm>
              <a:solidFill>
                <a:schemeClr val="bg1">
                  <a:lumMod val="95000"/>
                </a:schemeClr>
              </a:solidFill>
            </p:grpSpPr>
            <p:sp>
              <p:nvSpPr>
                <p:cNvPr id="150" name="Rectangle 149">
                  <a:extLst>
                    <a:ext uri="{FF2B5EF4-FFF2-40B4-BE49-F238E27FC236}">
                      <a16:creationId xmlns:a16="http://schemas.microsoft.com/office/drawing/2014/main" id="{8BC0B1D7-BF2E-4817-8924-089C234C267F}"/>
                    </a:ext>
                  </a:extLst>
                </p:cNvPr>
                <p:cNvSpPr/>
                <p:nvPr/>
              </p:nvSpPr>
              <p:spPr bwMode="auto">
                <a:xfrm>
                  <a:off x="8153331" y="274442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1" name="Rectangle 150">
                  <a:extLst>
                    <a:ext uri="{FF2B5EF4-FFF2-40B4-BE49-F238E27FC236}">
                      <a16:creationId xmlns:a16="http://schemas.microsoft.com/office/drawing/2014/main" id="{6DB08B90-890D-48C0-83AB-7E5F6B3C1371}"/>
                    </a:ext>
                  </a:extLst>
                </p:cNvPr>
                <p:cNvSpPr/>
                <p:nvPr/>
              </p:nvSpPr>
              <p:spPr bwMode="auto">
                <a:xfrm>
                  <a:off x="8036659" y="282586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2" name="Rectangle 151">
                  <a:extLst>
                    <a:ext uri="{FF2B5EF4-FFF2-40B4-BE49-F238E27FC236}">
                      <a16:creationId xmlns:a16="http://schemas.microsoft.com/office/drawing/2014/main" id="{71DF3D67-DA04-42F3-811A-BC5271A42DBD}"/>
                    </a:ext>
                  </a:extLst>
                </p:cNvPr>
                <p:cNvSpPr/>
                <p:nvPr/>
              </p:nvSpPr>
              <p:spPr bwMode="auto">
                <a:xfrm>
                  <a:off x="7919988" y="2907293"/>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Tianjin</a:t>
                  </a:r>
                </a:p>
              </p:txBody>
            </p:sp>
          </p:grpSp>
          <p:grpSp>
            <p:nvGrpSpPr>
              <p:cNvPr id="132" name="Group 131">
                <a:extLst>
                  <a:ext uri="{FF2B5EF4-FFF2-40B4-BE49-F238E27FC236}">
                    <a16:creationId xmlns:a16="http://schemas.microsoft.com/office/drawing/2014/main" id="{8125F798-2A46-49D1-8841-69EDCDAC5CDE}"/>
                  </a:ext>
                </a:extLst>
              </p:cNvPr>
              <p:cNvGrpSpPr/>
              <p:nvPr/>
            </p:nvGrpSpPr>
            <p:grpSpPr>
              <a:xfrm>
                <a:off x="2389347" y="3419793"/>
                <a:ext cx="745007" cy="417453"/>
                <a:chOff x="1275510" y="6072184"/>
                <a:chExt cx="508602" cy="456278"/>
              </a:xfrm>
            </p:grpSpPr>
            <p:grpSp>
              <p:nvGrpSpPr>
                <p:cNvPr id="138" name="Group 137">
                  <a:extLst>
                    <a:ext uri="{FF2B5EF4-FFF2-40B4-BE49-F238E27FC236}">
                      <a16:creationId xmlns:a16="http://schemas.microsoft.com/office/drawing/2014/main" id="{2025003E-088D-44F5-AA45-7C6F2837169E}"/>
                    </a:ext>
                  </a:extLst>
                </p:cNvPr>
                <p:cNvGrpSpPr/>
                <p:nvPr/>
              </p:nvGrpSpPr>
              <p:grpSpPr>
                <a:xfrm>
                  <a:off x="1275510" y="6224570"/>
                  <a:ext cx="508602" cy="151498"/>
                  <a:chOff x="551886" y="4945335"/>
                  <a:chExt cx="508602" cy="151498"/>
                </a:xfrm>
              </p:grpSpPr>
              <p:sp>
                <p:nvSpPr>
                  <p:cNvPr id="147" name="Rectangle 146">
                    <a:extLst>
                      <a:ext uri="{FF2B5EF4-FFF2-40B4-BE49-F238E27FC236}">
                        <a16:creationId xmlns:a16="http://schemas.microsoft.com/office/drawing/2014/main" id="{266CE4D8-5D38-4484-9700-F703006A8E6C}"/>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48" name="Oval 147">
                    <a:extLst>
                      <a:ext uri="{FF2B5EF4-FFF2-40B4-BE49-F238E27FC236}">
                        <a16:creationId xmlns:a16="http://schemas.microsoft.com/office/drawing/2014/main" id="{DFD6170E-D157-4999-8AC1-C0DD3BF2B1D8}"/>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49" name="Straight Connector 148">
                    <a:extLst>
                      <a:ext uri="{FF2B5EF4-FFF2-40B4-BE49-F238E27FC236}">
                        <a16:creationId xmlns:a16="http://schemas.microsoft.com/office/drawing/2014/main" id="{A9BB1AC7-A433-4CE7-9021-89BD75FFDA06}"/>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A673F6A1-6C2A-4B34-9EBB-948968F32A97}"/>
                    </a:ext>
                  </a:extLst>
                </p:cNvPr>
                <p:cNvGrpSpPr/>
                <p:nvPr/>
              </p:nvGrpSpPr>
              <p:grpSpPr>
                <a:xfrm>
                  <a:off x="1275510" y="6376964"/>
                  <a:ext cx="508602" cy="151498"/>
                  <a:chOff x="551886" y="4945335"/>
                  <a:chExt cx="508602" cy="151498"/>
                </a:xfrm>
              </p:grpSpPr>
              <p:sp>
                <p:nvSpPr>
                  <p:cNvPr id="144" name="Rectangle 143">
                    <a:extLst>
                      <a:ext uri="{FF2B5EF4-FFF2-40B4-BE49-F238E27FC236}">
                        <a16:creationId xmlns:a16="http://schemas.microsoft.com/office/drawing/2014/main" id="{79DB543F-D998-42FA-B2EE-6AA9D1980F83}"/>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45" name="Oval 144">
                    <a:extLst>
                      <a:ext uri="{FF2B5EF4-FFF2-40B4-BE49-F238E27FC236}">
                        <a16:creationId xmlns:a16="http://schemas.microsoft.com/office/drawing/2014/main" id="{9E410885-7A7D-4670-B491-12D9FD0E7F88}"/>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46" name="Straight Connector 145">
                    <a:extLst>
                      <a:ext uri="{FF2B5EF4-FFF2-40B4-BE49-F238E27FC236}">
                        <a16:creationId xmlns:a16="http://schemas.microsoft.com/office/drawing/2014/main" id="{551FFAD2-BBB7-40FC-B7C0-4A6EC32B57D4}"/>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81868E9B-FD8D-4316-87E0-548293C9AA5F}"/>
                    </a:ext>
                  </a:extLst>
                </p:cNvPr>
                <p:cNvGrpSpPr/>
                <p:nvPr/>
              </p:nvGrpSpPr>
              <p:grpSpPr>
                <a:xfrm>
                  <a:off x="1275510" y="6072184"/>
                  <a:ext cx="508602" cy="151498"/>
                  <a:chOff x="551886" y="4945335"/>
                  <a:chExt cx="508602" cy="151498"/>
                </a:xfrm>
              </p:grpSpPr>
              <p:sp>
                <p:nvSpPr>
                  <p:cNvPr id="141" name="Rectangle 140">
                    <a:extLst>
                      <a:ext uri="{FF2B5EF4-FFF2-40B4-BE49-F238E27FC236}">
                        <a16:creationId xmlns:a16="http://schemas.microsoft.com/office/drawing/2014/main" id="{89A8CAEF-3B29-4849-9C06-500F6D3612CC}"/>
                      </a:ext>
                    </a:extLst>
                  </p:cNvPr>
                  <p:cNvSpPr/>
                  <p:nvPr/>
                </p:nvSpPr>
                <p:spPr bwMode="auto">
                  <a:xfrm>
                    <a:off x="551886" y="4945335"/>
                    <a:ext cx="508602" cy="151498"/>
                  </a:xfrm>
                  <a:prstGeom prst="rect">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42" name="Oval 141">
                    <a:extLst>
                      <a:ext uri="{FF2B5EF4-FFF2-40B4-BE49-F238E27FC236}">
                        <a16:creationId xmlns:a16="http://schemas.microsoft.com/office/drawing/2014/main" id="{8EBB6B06-DC8D-4F89-8CF8-4DD2613F8659}"/>
                      </a:ext>
                    </a:extLst>
                  </p:cNvPr>
                  <p:cNvSpPr/>
                  <p:nvPr/>
                </p:nvSpPr>
                <p:spPr bwMode="auto">
                  <a:xfrm flipH="1">
                    <a:off x="955040" y="4993640"/>
                    <a:ext cx="45720" cy="45720"/>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cxnSp>
                <p:nvCxnSpPr>
                  <p:cNvPr id="143" name="Straight Connector 142">
                    <a:extLst>
                      <a:ext uri="{FF2B5EF4-FFF2-40B4-BE49-F238E27FC236}">
                        <a16:creationId xmlns:a16="http://schemas.microsoft.com/office/drawing/2014/main" id="{7717E636-4DD6-4284-AD44-FC4779F42C1E}"/>
                      </a:ext>
                    </a:extLst>
                  </p:cNvPr>
                  <p:cNvCxnSpPr/>
                  <p:nvPr/>
                </p:nvCxnSpPr>
                <p:spPr>
                  <a:xfrm>
                    <a:off x="625475" y="5019675"/>
                    <a:ext cx="23812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33" name="Rectangle 132">
                <a:extLst>
                  <a:ext uri="{FF2B5EF4-FFF2-40B4-BE49-F238E27FC236}">
                    <a16:creationId xmlns:a16="http://schemas.microsoft.com/office/drawing/2014/main" id="{D3B040F1-07D9-4C45-BF25-A7A4663C022F}"/>
                  </a:ext>
                </a:extLst>
              </p:cNvPr>
              <p:cNvSpPr/>
              <p:nvPr/>
            </p:nvSpPr>
            <p:spPr bwMode="auto">
              <a:xfrm>
                <a:off x="1966391" y="3233909"/>
                <a:ext cx="1674951" cy="2985091"/>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grpSp>
            <p:nvGrpSpPr>
              <p:cNvPr id="134" name="Group 133">
                <a:extLst>
                  <a:ext uri="{FF2B5EF4-FFF2-40B4-BE49-F238E27FC236}">
                    <a16:creationId xmlns:a16="http://schemas.microsoft.com/office/drawing/2014/main" id="{EDEA2E31-1544-43A1-A95E-4F45390572B6}"/>
                  </a:ext>
                </a:extLst>
              </p:cNvPr>
              <p:cNvGrpSpPr/>
              <p:nvPr/>
            </p:nvGrpSpPr>
            <p:grpSpPr>
              <a:xfrm>
                <a:off x="2143610" y="5534203"/>
                <a:ext cx="1159601" cy="580317"/>
                <a:chOff x="7950508" y="2926007"/>
                <a:chExt cx="1159601" cy="580317"/>
              </a:xfrm>
              <a:solidFill>
                <a:schemeClr val="bg1">
                  <a:lumMod val="95000"/>
                </a:schemeClr>
              </a:solidFill>
            </p:grpSpPr>
            <p:sp>
              <p:nvSpPr>
                <p:cNvPr id="135" name="Rectangle 134">
                  <a:extLst>
                    <a:ext uri="{FF2B5EF4-FFF2-40B4-BE49-F238E27FC236}">
                      <a16:creationId xmlns:a16="http://schemas.microsoft.com/office/drawing/2014/main" id="{56BC40A5-BC30-49A0-B2F7-DC8CCEF27936}"/>
                    </a:ext>
                  </a:extLst>
                </p:cNvPr>
                <p:cNvSpPr/>
                <p:nvPr/>
              </p:nvSpPr>
              <p:spPr bwMode="auto">
                <a:xfrm>
                  <a:off x="8183851" y="2926007"/>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36" name="Rectangle 135">
                  <a:extLst>
                    <a:ext uri="{FF2B5EF4-FFF2-40B4-BE49-F238E27FC236}">
                      <a16:creationId xmlns:a16="http://schemas.microsoft.com/office/drawing/2014/main" id="{9CFAB436-42FF-4514-A66D-CEE612D45AA1}"/>
                    </a:ext>
                  </a:extLst>
                </p:cNvPr>
                <p:cNvSpPr/>
                <p:nvPr/>
              </p:nvSpPr>
              <p:spPr bwMode="auto">
                <a:xfrm>
                  <a:off x="8067179" y="3007439"/>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37" name="Rectangle 136">
                  <a:extLst>
                    <a:ext uri="{FF2B5EF4-FFF2-40B4-BE49-F238E27FC236}">
                      <a16:creationId xmlns:a16="http://schemas.microsoft.com/office/drawing/2014/main" id="{53EAEE64-402E-4803-B7BA-C9BADB865091}"/>
                    </a:ext>
                  </a:extLst>
                </p:cNvPr>
                <p:cNvSpPr/>
                <p:nvPr/>
              </p:nvSpPr>
              <p:spPr bwMode="auto">
                <a:xfrm>
                  <a:off x="7950508" y="3088871"/>
                  <a:ext cx="926258" cy="417453"/>
                </a:xfrm>
                <a:prstGeom prst="rect">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Berlin</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grpSp>
        <p:grpSp>
          <p:nvGrpSpPr>
            <p:cNvPr id="163" name="Group 162">
              <a:extLst>
                <a:ext uri="{FF2B5EF4-FFF2-40B4-BE49-F238E27FC236}">
                  <a16:creationId xmlns:a16="http://schemas.microsoft.com/office/drawing/2014/main" id="{B5D85D97-EBB0-4E61-81FC-1D721B537772}"/>
                </a:ext>
              </a:extLst>
            </p:cNvPr>
            <p:cNvGrpSpPr/>
            <p:nvPr/>
          </p:nvGrpSpPr>
          <p:grpSpPr>
            <a:xfrm>
              <a:off x="9502187" y="4834005"/>
              <a:ext cx="1159601" cy="580317"/>
              <a:chOff x="5896369" y="4821680"/>
              <a:chExt cx="1159601" cy="580317"/>
            </a:xfrm>
          </p:grpSpPr>
          <p:sp>
            <p:nvSpPr>
              <p:cNvPr id="157" name="Rectangle 156">
                <a:extLst>
                  <a:ext uri="{FF2B5EF4-FFF2-40B4-BE49-F238E27FC236}">
                    <a16:creationId xmlns:a16="http://schemas.microsoft.com/office/drawing/2014/main" id="{FCC05889-E7E2-487D-A9CF-E711F51B542D}"/>
                  </a:ext>
                </a:extLst>
              </p:cNvPr>
              <p:cNvSpPr/>
              <p:nvPr/>
            </p:nvSpPr>
            <p:spPr bwMode="auto">
              <a:xfrm>
                <a:off x="6129712" y="4821680"/>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8" name="Rectangle 157">
                <a:extLst>
                  <a:ext uri="{FF2B5EF4-FFF2-40B4-BE49-F238E27FC236}">
                    <a16:creationId xmlns:a16="http://schemas.microsoft.com/office/drawing/2014/main" id="{9AE132EE-4FAF-46C4-967F-1E144E6FEF7D}"/>
                  </a:ext>
                </a:extLst>
              </p:cNvPr>
              <p:cNvSpPr/>
              <p:nvPr/>
            </p:nvSpPr>
            <p:spPr bwMode="auto">
              <a:xfrm>
                <a:off x="6013040" y="4903112"/>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pitchFamily="34" charset="0"/>
                  <a:ea typeface="Segoe UI" pitchFamily="34" charset="0"/>
                  <a:cs typeface="Arial" panose="020B0604020202020204" pitchFamily="34" charset="0"/>
                </a:endParaRPr>
              </a:p>
            </p:txBody>
          </p:sp>
          <p:sp>
            <p:nvSpPr>
              <p:cNvPr id="159" name="Rectangle 158">
                <a:extLst>
                  <a:ext uri="{FF2B5EF4-FFF2-40B4-BE49-F238E27FC236}">
                    <a16:creationId xmlns:a16="http://schemas.microsoft.com/office/drawing/2014/main" id="{872259DE-200B-4364-AF81-ECA09846F954}"/>
                  </a:ext>
                </a:extLst>
              </p:cNvPr>
              <p:cNvSpPr/>
              <p:nvPr/>
            </p:nvSpPr>
            <p:spPr bwMode="auto">
              <a:xfrm>
                <a:off x="5896369" y="4984544"/>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rPr>
                  <a:t>Austin</a:t>
                </a:r>
                <a:endParaRPr kumimoji="0" lang="en-US" sz="2400" b="0" i="0" u="none" strike="noStrike" kern="1200" cap="none" spc="0" normalizeH="0" baseline="0" noProof="0">
                  <a:ln>
                    <a:noFill/>
                  </a:ln>
                  <a:solidFill>
                    <a:srgbClr val="505050"/>
                  </a:solidFill>
                  <a:effectLst/>
                  <a:uLnTx/>
                  <a:uFillTx/>
                  <a:latin typeface="Arial" panose="020B0604020202020204" pitchFamily="34" charset="0"/>
                  <a:ea typeface="Segoe UI" pitchFamily="34" charset="0"/>
                  <a:cs typeface="Arial" panose="020B0604020202020204" pitchFamily="34" charset="0"/>
                </a:endParaRPr>
              </a:p>
            </p:txBody>
          </p:sp>
        </p:grpSp>
      </p:grpSp>
      <p:cxnSp>
        <p:nvCxnSpPr>
          <p:cNvPr id="172" name="Straight Arrow Connector 171">
            <a:extLst>
              <a:ext uri="{FF2B5EF4-FFF2-40B4-BE49-F238E27FC236}">
                <a16:creationId xmlns:a16="http://schemas.microsoft.com/office/drawing/2014/main" id="{DF018CD1-A879-48D6-A299-028F57045ABF}"/>
              </a:ext>
            </a:extLst>
          </p:cNvPr>
          <p:cNvCxnSpPr>
            <a:cxnSpLocks/>
          </p:cNvCxnSpPr>
          <p:nvPr/>
        </p:nvCxnSpPr>
        <p:spPr>
          <a:xfrm>
            <a:off x="5971443" y="2268207"/>
            <a:ext cx="0" cy="392803"/>
          </a:xfrm>
          <a:prstGeom prst="straightConnector1">
            <a:avLst/>
          </a:prstGeom>
          <a:ln w="19050">
            <a:solidFill>
              <a:schemeClr val="bg1">
                <a:lumMod val="50000"/>
              </a:schemeClr>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1D48E1C3-0BAC-4DA9-BF09-6E68BDA0BC6A}"/>
              </a:ext>
            </a:extLst>
          </p:cNvPr>
          <p:cNvSpPr txBox="1"/>
          <p:nvPr/>
        </p:nvSpPr>
        <p:spPr>
          <a:xfrm>
            <a:off x="791231" y="5771737"/>
            <a:ext cx="2312351" cy="634443"/>
          </a:xfrm>
          <a:prstGeom prst="rect">
            <a:avLst/>
          </a:prstGeom>
          <a:noFill/>
        </p:spPr>
        <p:txBody>
          <a:bodyPr wrap="square" lIns="182854" tIns="146284" rIns="182854" bIns="146284" rtlCol="0">
            <a:spAutoFit/>
          </a:bodyPr>
          <a:lstStyle/>
          <a:p>
            <a:pPr marL="0" marR="0" lvl="0" indent="0" algn="l" defTabSz="914201"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1</a:t>
            </a:r>
          </a:p>
        </p:txBody>
      </p:sp>
      <p:sp>
        <p:nvSpPr>
          <p:cNvPr id="175" name="TextBox 174">
            <a:extLst>
              <a:ext uri="{FF2B5EF4-FFF2-40B4-BE49-F238E27FC236}">
                <a16:creationId xmlns:a16="http://schemas.microsoft.com/office/drawing/2014/main" id="{9367CC37-5CD7-48DB-AA59-3B39435ED45E}"/>
              </a:ext>
            </a:extLst>
          </p:cNvPr>
          <p:cNvSpPr txBox="1"/>
          <p:nvPr/>
        </p:nvSpPr>
        <p:spPr>
          <a:xfrm>
            <a:off x="3322341" y="5784869"/>
            <a:ext cx="2312351" cy="634443"/>
          </a:xfrm>
          <a:prstGeom prst="rect">
            <a:avLst/>
          </a:prstGeom>
          <a:noFill/>
        </p:spPr>
        <p:txBody>
          <a:bodyPr wrap="square" lIns="182854" tIns="146284" rIns="182854" bIns="146284" rtlCol="0">
            <a:spAutoFit/>
          </a:bodyPr>
          <a:lstStyle/>
          <a:p>
            <a:pPr marL="0" marR="0" lvl="0" indent="0" algn="l" defTabSz="914201"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2</a:t>
            </a:r>
          </a:p>
        </p:txBody>
      </p:sp>
      <p:sp>
        <p:nvSpPr>
          <p:cNvPr id="176" name="TextBox 175">
            <a:extLst>
              <a:ext uri="{FF2B5EF4-FFF2-40B4-BE49-F238E27FC236}">
                <a16:creationId xmlns:a16="http://schemas.microsoft.com/office/drawing/2014/main" id="{E02A00F2-1E13-4064-A44F-E2FACBC55E75}"/>
              </a:ext>
            </a:extLst>
          </p:cNvPr>
          <p:cNvSpPr txBox="1"/>
          <p:nvPr/>
        </p:nvSpPr>
        <p:spPr>
          <a:xfrm>
            <a:off x="7402489" y="5822474"/>
            <a:ext cx="2312351" cy="634443"/>
          </a:xfrm>
          <a:prstGeom prst="rect">
            <a:avLst/>
          </a:prstGeom>
          <a:noFill/>
        </p:spPr>
        <p:txBody>
          <a:bodyPr wrap="square" lIns="182854" tIns="146284" rIns="182854" bIns="146284" rtlCol="0">
            <a:spAutoFit/>
          </a:bodyPr>
          <a:lstStyle/>
          <a:p>
            <a:pPr marL="0" marR="0" lvl="0" indent="0" algn="l" defTabSz="914201"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Arial" panose="020B0604020202020204" pitchFamily="34" charset="0"/>
                <a:ea typeface="+mn-ea"/>
                <a:cs typeface="+mn-cs"/>
              </a:rPr>
              <a:t>Partition 5</a:t>
            </a:r>
          </a:p>
        </p:txBody>
      </p:sp>
      <p:cxnSp>
        <p:nvCxnSpPr>
          <p:cNvPr id="102" name="Straight Connector 101">
            <a:extLst>
              <a:ext uri="{FF2B5EF4-FFF2-40B4-BE49-F238E27FC236}">
                <a16:creationId xmlns:a16="http://schemas.microsoft.com/office/drawing/2014/main" id="{482AF761-138E-47B7-B355-6C0F90BCCE90}"/>
              </a:ext>
            </a:extLst>
          </p:cNvPr>
          <p:cNvCxnSpPr/>
          <p:nvPr/>
        </p:nvCxnSpPr>
        <p:spPr>
          <a:xfrm flipH="1">
            <a:off x="2806897" y="5723834"/>
            <a:ext cx="0" cy="24468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AEF9467-0260-4DE9-82D4-F527C389C82B}"/>
              </a:ext>
            </a:extLst>
          </p:cNvPr>
          <p:cNvCxnSpPr/>
          <p:nvPr/>
        </p:nvCxnSpPr>
        <p:spPr>
          <a:xfrm flipH="1">
            <a:off x="4925162" y="5737789"/>
            <a:ext cx="0" cy="24468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3519FA7-CF6F-49F7-9E44-0B880214991B}"/>
              </a:ext>
            </a:extLst>
          </p:cNvPr>
          <p:cNvCxnSpPr/>
          <p:nvPr/>
        </p:nvCxnSpPr>
        <p:spPr>
          <a:xfrm flipH="1">
            <a:off x="7273058" y="5748948"/>
            <a:ext cx="0" cy="24468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DF7B1A09-37FD-4E35-BFD2-FFD9E43CED60}"/>
              </a:ext>
            </a:extLst>
          </p:cNvPr>
          <p:cNvCxnSpPr/>
          <p:nvPr/>
        </p:nvCxnSpPr>
        <p:spPr>
          <a:xfrm>
            <a:off x="584405" y="5858735"/>
            <a:ext cx="9189080" cy="0"/>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2F7C3BE-9F07-4CB5-B98B-35768C409197}"/>
              </a:ext>
            </a:extLst>
          </p:cNvPr>
          <p:cNvSpPr txBox="1"/>
          <p:nvPr/>
        </p:nvSpPr>
        <p:spPr>
          <a:xfrm>
            <a:off x="1130525" y="6452687"/>
            <a:ext cx="1353504" cy="374793"/>
          </a:xfrm>
          <a:prstGeom prst="rect">
            <a:avLst/>
          </a:prstGeom>
          <a:noFill/>
        </p:spPr>
        <p:txBody>
          <a:bodyPr wrap="square" rtlCol="0">
            <a:spAutoFit/>
          </a:bodyPr>
          <a:lstStyle/>
          <a:p>
            <a:pPr marL="0" marR="0" lvl="0" indent="0" algn="l" defTabSz="914201"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1</a:t>
            </a:r>
          </a:p>
        </p:txBody>
      </p:sp>
      <p:sp>
        <p:nvSpPr>
          <p:cNvPr id="112" name="TextBox 111">
            <a:extLst>
              <a:ext uri="{FF2B5EF4-FFF2-40B4-BE49-F238E27FC236}">
                <a16:creationId xmlns:a16="http://schemas.microsoft.com/office/drawing/2014/main" id="{4C11CD21-D387-430D-8A61-ABD4D2839CEC}"/>
              </a:ext>
            </a:extLst>
          </p:cNvPr>
          <p:cNvSpPr txBox="1"/>
          <p:nvPr/>
        </p:nvSpPr>
        <p:spPr>
          <a:xfrm>
            <a:off x="3375590" y="6486079"/>
            <a:ext cx="1353504" cy="374793"/>
          </a:xfrm>
          <a:prstGeom prst="rect">
            <a:avLst/>
          </a:prstGeom>
          <a:noFill/>
        </p:spPr>
        <p:txBody>
          <a:bodyPr wrap="square" rtlCol="0">
            <a:spAutoFit/>
          </a:bodyPr>
          <a:lstStyle/>
          <a:p>
            <a:pPr marL="0" marR="0" lvl="0" indent="0" algn="l" defTabSz="914201"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2</a:t>
            </a:r>
          </a:p>
        </p:txBody>
      </p:sp>
      <p:sp>
        <p:nvSpPr>
          <p:cNvPr id="130" name="TextBox 129">
            <a:extLst>
              <a:ext uri="{FF2B5EF4-FFF2-40B4-BE49-F238E27FC236}">
                <a16:creationId xmlns:a16="http://schemas.microsoft.com/office/drawing/2014/main" id="{F33FB095-AD72-45FE-9882-538AF10EC646}"/>
              </a:ext>
            </a:extLst>
          </p:cNvPr>
          <p:cNvSpPr txBox="1"/>
          <p:nvPr/>
        </p:nvSpPr>
        <p:spPr>
          <a:xfrm>
            <a:off x="7881064" y="6425798"/>
            <a:ext cx="1113277" cy="374793"/>
          </a:xfrm>
          <a:prstGeom prst="rect">
            <a:avLst/>
          </a:prstGeom>
          <a:noFill/>
        </p:spPr>
        <p:txBody>
          <a:bodyPr wrap="square" rtlCol="0">
            <a:spAutoFit/>
          </a:bodyPr>
          <a:lstStyle/>
          <a:p>
            <a:pPr marL="0" marR="0" lvl="0" indent="0" algn="l" defTabSz="914201"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t>Range 5</a:t>
            </a:r>
          </a:p>
        </p:txBody>
      </p:sp>
      <p:sp>
        <p:nvSpPr>
          <p:cNvPr id="4" name="TextBox 3">
            <a:extLst>
              <a:ext uri="{FF2B5EF4-FFF2-40B4-BE49-F238E27FC236}">
                <a16:creationId xmlns:a16="http://schemas.microsoft.com/office/drawing/2014/main" id="{79893BD4-3BC1-44CB-B0CF-75876109635E}"/>
              </a:ext>
            </a:extLst>
          </p:cNvPr>
          <p:cNvSpPr txBox="1"/>
          <p:nvPr/>
        </p:nvSpPr>
        <p:spPr>
          <a:xfrm>
            <a:off x="3060806" y="1026633"/>
            <a:ext cx="526721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10,000 RU/s provisioned for collection</a:t>
            </a:r>
          </a:p>
        </p:txBody>
      </p:sp>
      <p:sp>
        <p:nvSpPr>
          <p:cNvPr id="165" name="TextBox 164">
            <a:extLst>
              <a:ext uri="{FF2B5EF4-FFF2-40B4-BE49-F238E27FC236}">
                <a16:creationId xmlns:a16="http://schemas.microsoft.com/office/drawing/2014/main" id="{8EC1FBCA-19A8-466D-BA39-35B10D584E9A}"/>
              </a:ext>
            </a:extLst>
          </p:cNvPr>
          <p:cNvSpPr txBox="1"/>
          <p:nvPr/>
        </p:nvSpPr>
        <p:spPr>
          <a:xfrm>
            <a:off x="890932" y="2218010"/>
            <a:ext cx="2312351"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2000 RU/s</a:t>
            </a:r>
          </a:p>
        </p:txBody>
      </p:sp>
      <p:sp>
        <p:nvSpPr>
          <p:cNvPr id="166" name="TextBox 165">
            <a:extLst>
              <a:ext uri="{FF2B5EF4-FFF2-40B4-BE49-F238E27FC236}">
                <a16:creationId xmlns:a16="http://schemas.microsoft.com/office/drawing/2014/main" id="{36672D8E-A08F-45C5-B2FC-6E34B9E6BE38}"/>
              </a:ext>
            </a:extLst>
          </p:cNvPr>
          <p:cNvSpPr txBox="1"/>
          <p:nvPr/>
        </p:nvSpPr>
        <p:spPr>
          <a:xfrm>
            <a:off x="3521729" y="2216174"/>
            <a:ext cx="2312351"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2000 RU/s</a:t>
            </a:r>
          </a:p>
        </p:txBody>
      </p:sp>
      <p:sp>
        <p:nvSpPr>
          <p:cNvPr id="167" name="TextBox 166">
            <a:extLst>
              <a:ext uri="{FF2B5EF4-FFF2-40B4-BE49-F238E27FC236}">
                <a16:creationId xmlns:a16="http://schemas.microsoft.com/office/drawing/2014/main" id="{51B91A82-3410-4FE9-A0AE-C57C6AB3DDE1}"/>
              </a:ext>
            </a:extLst>
          </p:cNvPr>
          <p:cNvSpPr txBox="1"/>
          <p:nvPr/>
        </p:nvSpPr>
        <p:spPr>
          <a:xfrm>
            <a:off x="8255464" y="2226958"/>
            <a:ext cx="2312351"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2000 RU/s</a:t>
            </a:r>
          </a:p>
        </p:txBody>
      </p:sp>
      <p:sp>
        <p:nvSpPr>
          <p:cNvPr id="153" name="Title 1">
            <a:extLst>
              <a:ext uri="{FF2B5EF4-FFF2-40B4-BE49-F238E27FC236}">
                <a16:creationId xmlns:a16="http://schemas.microsoft.com/office/drawing/2014/main" id="{E8091334-4674-4C41-A5C2-E3FF181961F2}"/>
              </a:ext>
            </a:extLst>
          </p:cNvPr>
          <p:cNvSpPr>
            <a:spLocks noGrp="1"/>
          </p:cNvSpPr>
          <p:nvPr>
            <p:ph type="title"/>
          </p:nvPr>
        </p:nvSpPr>
        <p:spPr>
          <a:xfrm>
            <a:off x="268080" y="180177"/>
            <a:ext cx="11655840" cy="899665"/>
          </a:xfrm>
        </p:spPr>
        <p:txBody>
          <a:bodyPr>
            <a:normAutofit/>
          </a:bodyPr>
          <a:lstStyle/>
          <a:p>
            <a:r>
              <a:rPr lang="en-US" sz="4000">
                <a:latin typeface="Arial" panose="020B0604020202020204" pitchFamily="34" charset="0"/>
                <a:cs typeface="Arial" panose="020B0604020202020204" pitchFamily="34" charset="0"/>
              </a:rPr>
              <a:t>RU’s divided among Partitions</a:t>
            </a:r>
          </a:p>
        </p:txBody>
      </p:sp>
    </p:spTree>
    <p:extLst>
      <p:ext uri="{BB962C8B-B14F-4D97-AF65-F5344CB8AC3E}">
        <p14:creationId xmlns:p14="http://schemas.microsoft.com/office/powerpoint/2010/main" val="2324839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0F671-8610-49FC-9551-3F03FAA1B36E}"/>
              </a:ext>
            </a:extLst>
          </p:cNvPr>
          <p:cNvSpPr>
            <a:spLocks noGrp="1"/>
          </p:cNvSpPr>
          <p:nvPr>
            <p:ph type="title"/>
          </p:nvPr>
        </p:nvSpPr>
        <p:spPr/>
        <p:txBody>
          <a:bodyPr>
            <a:normAutofit/>
          </a:bodyPr>
          <a:lstStyle/>
          <a:p>
            <a:r>
              <a:rPr lang="en-US" sz="4000">
                <a:latin typeface="Arial" panose="020B0604020202020204" pitchFamily="34" charset="0"/>
                <a:cs typeface="Arial" panose="020B0604020202020204" pitchFamily="34" charset="0"/>
              </a:rPr>
              <a:t>Partitions</a:t>
            </a:r>
          </a:p>
        </p:txBody>
      </p:sp>
      <p:sp>
        <p:nvSpPr>
          <p:cNvPr id="5" name="Text Placeholder 4">
            <a:extLst>
              <a:ext uri="{FF2B5EF4-FFF2-40B4-BE49-F238E27FC236}">
                <a16:creationId xmlns:a16="http://schemas.microsoft.com/office/drawing/2014/main" id="{DEEB0F90-9187-4A41-B8C0-0656824CFE05}"/>
              </a:ext>
            </a:extLst>
          </p:cNvPr>
          <p:cNvSpPr>
            <a:spLocks noGrp="1"/>
          </p:cNvSpPr>
          <p:nvPr>
            <p:ph type="body" sz="quarter" idx="11"/>
          </p:nvPr>
        </p:nvSpPr>
        <p:spPr>
          <a:xfrm>
            <a:off x="258114" y="1428626"/>
            <a:ext cx="6080126" cy="866904"/>
          </a:xfrm>
        </p:spPr>
        <p:txBody>
          <a:bodyPr vert="horz" wrap="square" lIns="146304" tIns="91440" rIns="146304" bIns="91440" rtlCol="0" anchor="t">
            <a:spAutoFit/>
          </a:bodyPr>
          <a:lstStyle/>
          <a:p>
            <a:pPr lvl="0"/>
            <a:r>
              <a:rPr lang="en-US" sz="1400"/>
              <a:t>Best Practices: Design Goals for Choosing a Good Partition Key</a:t>
            </a:r>
          </a:p>
          <a:p>
            <a:pPr marL="236220" lvl="1" indent="-236220">
              <a:spcBef>
                <a:spcPts val="600"/>
              </a:spcBef>
            </a:pPr>
            <a:r>
              <a:rPr lang="en-US" sz="1400"/>
              <a:t>Distribute the overall request + storage volume</a:t>
            </a:r>
          </a:p>
          <a:p>
            <a:pPr marL="784225" lvl="2" indent="-223520">
              <a:spcBef>
                <a:spcPts val="0"/>
              </a:spcBef>
              <a:buClr>
                <a:schemeClr val="tx2"/>
              </a:buClr>
            </a:pPr>
            <a:r>
              <a:rPr lang="en-US" sz="1200"/>
              <a:t>Avoid “hot” partition keys</a:t>
            </a:r>
            <a:endParaRPr lang="en-US" sz="1200">
              <a:cs typeface="Arial" panose="020B0604020202020204" pitchFamily="34" charset="0"/>
            </a:endParaRPr>
          </a:p>
        </p:txBody>
      </p:sp>
      <p:sp>
        <p:nvSpPr>
          <p:cNvPr id="6" name="Rectangle 5">
            <a:extLst>
              <a:ext uri="{FF2B5EF4-FFF2-40B4-BE49-F238E27FC236}">
                <a16:creationId xmlns:a16="http://schemas.microsoft.com/office/drawing/2014/main" id="{0C88AF3F-9CE7-408A-AA1C-5ACA827688E8}"/>
              </a:ext>
            </a:extLst>
          </p:cNvPr>
          <p:cNvSpPr/>
          <p:nvPr/>
        </p:nvSpPr>
        <p:spPr bwMode="auto">
          <a:xfrm>
            <a:off x="8648539" y="1428626"/>
            <a:ext cx="2205690" cy="4000748"/>
          </a:xfrm>
          <a:prstGeom prst="rect">
            <a:avLst/>
          </a:prstGeom>
          <a:noFill/>
          <a:ln>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grpSp>
        <p:nvGrpSpPr>
          <p:cNvPr id="7" name="Group 6">
            <a:extLst>
              <a:ext uri="{FF2B5EF4-FFF2-40B4-BE49-F238E27FC236}">
                <a16:creationId xmlns:a16="http://schemas.microsoft.com/office/drawing/2014/main" id="{7FE3762A-9981-4426-8FC4-F6910E9E8F89}"/>
              </a:ext>
            </a:extLst>
          </p:cNvPr>
          <p:cNvGrpSpPr>
            <a:grpSpLocks noChangeAspect="1"/>
          </p:cNvGrpSpPr>
          <p:nvPr/>
        </p:nvGrpSpPr>
        <p:grpSpPr>
          <a:xfrm>
            <a:off x="8891723" y="4992232"/>
            <a:ext cx="350654" cy="302239"/>
            <a:chOff x="9192685" y="1928657"/>
            <a:chExt cx="644698" cy="555680"/>
          </a:xfrm>
        </p:grpSpPr>
        <p:sp>
          <p:nvSpPr>
            <p:cNvPr id="8" name="Star: 4 Points 8">
              <a:extLst>
                <a:ext uri="{FF2B5EF4-FFF2-40B4-BE49-F238E27FC236}">
                  <a16:creationId xmlns:a16="http://schemas.microsoft.com/office/drawing/2014/main" id="{4F7B8095-31AE-47D4-834F-822C5F71D017}"/>
                </a:ext>
              </a:extLst>
            </p:cNvPr>
            <p:cNvSpPr/>
            <p:nvPr/>
          </p:nvSpPr>
          <p:spPr bwMode="auto">
            <a:xfrm>
              <a:off x="9194898" y="1928657"/>
              <a:ext cx="180361" cy="180360"/>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9" name="Star: 4 Points 8">
              <a:extLst>
                <a:ext uri="{FF2B5EF4-FFF2-40B4-BE49-F238E27FC236}">
                  <a16:creationId xmlns:a16="http://schemas.microsoft.com/office/drawing/2014/main" id="{CBC56D26-25BF-4C6E-AC9A-2B1D46EA6BCB}"/>
                </a:ext>
              </a:extLst>
            </p:cNvPr>
            <p:cNvSpPr/>
            <p:nvPr/>
          </p:nvSpPr>
          <p:spPr bwMode="auto">
            <a:xfrm>
              <a:off x="9678078" y="2401294"/>
              <a:ext cx="83044" cy="83043"/>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0" name="Oval 9">
              <a:extLst>
                <a:ext uri="{FF2B5EF4-FFF2-40B4-BE49-F238E27FC236}">
                  <a16:creationId xmlns:a16="http://schemas.microsoft.com/office/drawing/2014/main" id="{6A36B821-2F4F-4B50-AD77-53E8BDA9E5A3}"/>
                </a:ext>
              </a:extLst>
            </p:cNvPr>
            <p:cNvSpPr/>
            <p:nvPr/>
          </p:nvSpPr>
          <p:spPr bwMode="auto">
            <a:xfrm>
              <a:off x="9310549" y="2033583"/>
              <a:ext cx="399213" cy="39921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1" name="Oval 9">
              <a:extLst>
                <a:ext uri="{FF2B5EF4-FFF2-40B4-BE49-F238E27FC236}">
                  <a16:creationId xmlns:a16="http://schemas.microsoft.com/office/drawing/2014/main" id="{BBE6532D-1446-4FEF-B9E7-4CB8726B1905}"/>
                </a:ext>
              </a:extLst>
            </p:cNvPr>
            <p:cNvSpPr/>
            <p:nvPr/>
          </p:nvSpPr>
          <p:spPr bwMode="auto">
            <a:xfrm rot="19667957">
              <a:off x="9192685" y="2144545"/>
              <a:ext cx="644698" cy="194050"/>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grpSp>
      <p:sp>
        <p:nvSpPr>
          <p:cNvPr id="13" name="Cylinder 513">
            <a:extLst>
              <a:ext uri="{FF2B5EF4-FFF2-40B4-BE49-F238E27FC236}">
                <a16:creationId xmlns:a16="http://schemas.microsoft.com/office/drawing/2014/main" id="{72FA908D-3796-4EC4-81CD-2DF63FCCBA7F}"/>
              </a:ext>
            </a:extLst>
          </p:cNvPr>
          <p:cNvSpPr/>
          <p:nvPr/>
        </p:nvSpPr>
        <p:spPr bwMode="auto">
          <a:xfrm>
            <a:off x="8734903" y="3150674"/>
            <a:ext cx="441854" cy="58048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44546A"/>
              </a:solidFill>
              <a:effectLst/>
              <a:uLnTx/>
              <a:uFillTx/>
              <a:latin typeface="Calibri Light" panose="020F0302020204030204"/>
              <a:ea typeface="Segoe UI" pitchFamily="34" charset="0"/>
              <a:cs typeface="Arial" panose="020B0604020202020204" pitchFamily="34" charset="0"/>
            </a:endParaRPr>
          </a:p>
        </p:txBody>
      </p:sp>
      <p:cxnSp>
        <p:nvCxnSpPr>
          <p:cNvPr id="14" name="Straight Arrow Connector 13">
            <a:extLst>
              <a:ext uri="{FF2B5EF4-FFF2-40B4-BE49-F238E27FC236}">
                <a16:creationId xmlns:a16="http://schemas.microsoft.com/office/drawing/2014/main" id="{732EFBDA-E5CC-4B56-ACEB-06AB0FB149DF}"/>
              </a:ext>
            </a:extLst>
          </p:cNvPr>
          <p:cNvCxnSpPr>
            <a:cxnSpLocks/>
          </p:cNvCxnSpPr>
          <p:nvPr/>
        </p:nvCxnSpPr>
        <p:spPr>
          <a:xfrm>
            <a:off x="7856342" y="3428998"/>
            <a:ext cx="637459"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5" name="Group 14">
            <a:extLst>
              <a:ext uri="{FF2B5EF4-FFF2-40B4-BE49-F238E27FC236}">
                <a16:creationId xmlns:a16="http://schemas.microsoft.com/office/drawing/2014/main" id="{080E8B30-6FBA-4146-8774-1DEB9575AFC2}"/>
              </a:ext>
            </a:extLst>
          </p:cNvPr>
          <p:cNvGrpSpPr/>
          <p:nvPr/>
        </p:nvGrpSpPr>
        <p:grpSpPr>
          <a:xfrm>
            <a:off x="10062703" y="3245507"/>
            <a:ext cx="402639" cy="361217"/>
            <a:chOff x="1275510" y="6072184"/>
            <a:chExt cx="508602" cy="456278"/>
          </a:xfrm>
        </p:grpSpPr>
        <p:grpSp>
          <p:nvGrpSpPr>
            <p:cNvPr id="16" name="Group 15">
              <a:extLst>
                <a:ext uri="{FF2B5EF4-FFF2-40B4-BE49-F238E27FC236}">
                  <a16:creationId xmlns:a16="http://schemas.microsoft.com/office/drawing/2014/main" id="{0B13D362-5F5F-4D58-92FC-FFFAE1A66F18}"/>
                </a:ext>
              </a:extLst>
            </p:cNvPr>
            <p:cNvGrpSpPr/>
            <p:nvPr/>
          </p:nvGrpSpPr>
          <p:grpSpPr>
            <a:xfrm>
              <a:off x="1275510" y="6224570"/>
              <a:ext cx="508602" cy="151498"/>
              <a:chOff x="551886" y="4945335"/>
              <a:chExt cx="508602" cy="151498"/>
            </a:xfrm>
          </p:grpSpPr>
          <p:sp>
            <p:nvSpPr>
              <p:cNvPr id="25" name="Rectangle 24">
                <a:extLst>
                  <a:ext uri="{FF2B5EF4-FFF2-40B4-BE49-F238E27FC236}">
                    <a16:creationId xmlns:a16="http://schemas.microsoft.com/office/drawing/2014/main" id="{00AB0E4C-12E1-413D-BA04-1BF182CBBB13}"/>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26" name="Oval 25">
                <a:extLst>
                  <a:ext uri="{FF2B5EF4-FFF2-40B4-BE49-F238E27FC236}">
                    <a16:creationId xmlns:a16="http://schemas.microsoft.com/office/drawing/2014/main" id="{D5C72125-D998-4884-A9FA-E9EC297E662C}"/>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27" name="Straight Connector 26">
                <a:extLst>
                  <a:ext uri="{FF2B5EF4-FFF2-40B4-BE49-F238E27FC236}">
                    <a16:creationId xmlns:a16="http://schemas.microsoft.com/office/drawing/2014/main" id="{EC9201F2-CA94-423F-ADB3-9E7EE0C69B8A}"/>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FB8FC2EB-D6C0-4029-B9F5-DFBD6DE64C7B}"/>
                </a:ext>
              </a:extLst>
            </p:cNvPr>
            <p:cNvGrpSpPr/>
            <p:nvPr/>
          </p:nvGrpSpPr>
          <p:grpSpPr>
            <a:xfrm>
              <a:off x="1275510" y="6376964"/>
              <a:ext cx="508602" cy="151498"/>
              <a:chOff x="551886" y="4945335"/>
              <a:chExt cx="508602" cy="151498"/>
            </a:xfrm>
          </p:grpSpPr>
          <p:sp>
            <p:nvSpPr>
              <p:cNvPr id="22" name="Rectangle 21">
                <a:extLst>
                  <a:ext uri="{FF2B5EF4-FFF2-40B4-BE49-F238E27FC236}">
                    <a16:creationId xmlns:a16="http://schemas.microsoft.com/office/drawing/2014/main" id="{B8EEAA5C-466D-4C41-BE35-5DDAE71737FF}"/>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23" name="Oval 22">
                <a:extLst>
                  <a:ext uri="{FF2B5EF4-FFF2-40B4-BE49-F238E27FC236}">
                    <a16:creationId xmlns:a16="http://schemas.microsoft.com/office/drawing/2014/main" id="{4483D144-2C63-4A4B-B8CB-A0FB8BC129CD}"/>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24" name="Straight Connector 23">
                <a:extLst>
                  <a:ext uri="{FF2B5EF4-FFF2-40B4-BE49-F238E27FC236}">
                    <a16:creationId xmlns:a16="http://schemas.microsoft.com/office/drawing/2014/main" id="{568619BA-4CF0-463D-A6BA-8FDCC1A006A0}"/>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1798217D-C2A1-4A25-8556-E4209C817321}"/>
                </a:ext>
              </a:extLst>
            </p:cNvPr>
            <p:cNvGrpSpPr/>
            <p:nvPr/>
          </p:nvGrpSpPr>
          <p:grpSpPr>
            <a:xfrm>
              <a:off x="1275510" y="6072184"/>
              <a:ext cx="508602" cy="151498"/>
              <a:chOff x="551886" y="4945335"/>
              <a:chExt cx="508602" cy="151498"/>
            </a:xfrm>
          </p:grpSpPr>
          <p:sp>
            <p:nvSpPr>
              <p:cNvPr id="19" name="Rectangle 18">
                <a:extLst>
                  <a:ext uri="{FF2B5EF4-FFF2-40B4-BE49-F238E27FC236}">
                    <a16:creationId xmlns:a16="http://schemas.microsoft.com/office/drawing/2014/main" id="{5CF98334-2F92-4A99-95AB-F3F23A73836C}"/>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20" name="Oval 19">
                <a:extLst>
                  <a:ext uri="{FF2B5EF4-FFF2-40B4-BE49-F238E27FC236}">
                    <a16:creationId xmlns:a16="http://schemas.microsoft.com/office/drawing/2014/main" id="{4918BEBE-A197-4E71-9554-BD699CF651EC}"/>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086F1437-A4EA-4FBF-97C1-2E9FCB7609B6}"/>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8" name="Group 27">
            <a:extLst>
              <a:ext uri="{FF2B5EF4-FFF2-40B4-BE49-F238E27FC236}">
                <a16:creationId xmlns:a16="http://schemas.microsoft.com/office/drawing/2014/main" id="{98FE9AC2-3C33-4CC1-ACD0-B3ABA711AAAD}"/>
              </a:ext>
            </a:extLst>
          </p:cNvPr>
          <p:cNvGrpSpPr/>
          <p:nvPr/>
        </p:nvGrpSpPr>
        <p:grpSpPr>
          <a:xfrm>
            <a:off x="10059235" y="4171297"/>
            <a:ext cx="402639" cy="361217"/>
            <a:chOff x="1275510" y="6072184"/>
            <a:chExt cx="508602" cy="456278"/>
          </a:xfrm>
        </p:grpSpPr>
        <p:grpSp>
          <p:nvGrpSpPr>
            <p:cNvPr id="29" name="Group 28">
              <a:extLst>
                <a:ext uri="{FF2B5EF4-FFF2-40B4-BE49-F238E27FC236}">
                  <a16:creationId xmlns:a16="http://schemas.microsoft.com/office/drawing/2014/main" id="{FAC9AD2B-896C-4C30-8177-EA37B6ED5990}"/>
                </a:ext>
              </a:extLst>
            </p:cNvPr>
            <p:cNvGrpSpPr/>
            <p:nvPr/>
          </p:nvGrpSpPr>
          <p:grpSpPr>
            <a:xfrm>
              <a:off x="1275510" y="6224570"/>
              <a:ext cx="508602" cy="151498"/>
              <a:chOff x="551886" y="4945335"/>
              <a:chExt cx="508602" cy="151498"/>
            </a:xfrm>
          </p:grpSpPr>
          <p:sp>
            <p:nvSpPr>
              <p:cNvPr id="38" name="Rectangle 37">
                <a:extLst>
                  <a:ext uri="{FF2B5EF4-FFF2-40B4-BE49-F238E27FC236}">
                    <a16:creationId xmlns:a16="http://schemas.microsoft.com/office/drawing/2014/main" id="{59F53C4E-534B-4051-87FD-7F7ACC80DCAF}"/>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39" name="Oval 38">
                <a:extLst>
                  <a:ext uri="{FF2B5EF4-FFF2-40B4-BE49-F238E27FC236}">
                    <a16:creationId xmlns:a16="http://schemas.microsoft.com/office/drawing/2014/main" id="{9D6D7DB1-D393-4135-B84D-94B46DADC050}"/>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40" name="Straight Connector 39">
                <a:extLst>
                  <a:ext uri="{FF2B5EF4-FFF2-40B4-BE49-F238E27FC236}">
                    <a16:creationId xmlns:a16="http://schemas.microsoft.com/office/drawing/2014/main" id="{E5543242-2B46-49CF-9BA2-B3A2B4CAE474}"/>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7422E44F-031C-4037-BEDB-D541A6AC2B28}"/>
                </a:ext>
              </a:extLst>
            </p:cNvPr>
            <p:cNvGrpSpPr/>
            <p:nvPr/>
          </p:nvGrpSpPr>
          <p:grpSpPr>
            <a:xfrm>
              <a:off x="1275510" y="6376964"/>
              <a:ext cx="508602" cy="151498"/>
              <a:chOff x="551886" y="4945335"/>
              <a:chExt cx="508602" cy="151498"/>
            </a:xfrm>
          </p:grpSpPr>
          <p:sp>
            <p:nvSpPr>
              <p:cNvPr id="35" name="Rectangle 34">
                <a:extLst>
                  <a:ext uri="{FF2B5EF4-FFF2-40B4-BE49-F238E27FC236}">
                    <a16:creationId xmlns:a16="http://schemas.microsoft.com/office/drawing/2014/main" id="{997D7597-92B8-486F-A571-B2E6F3E1C512}"/>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36" name="Oval 35">
                <a:extLst>
                  <a:ext uri="{FF2B5EF4-FFF2-40B4-BE49-F238E27FC236}">
                    <a16:creationId xmlns:a16="http://schemas.microsoft.com/office/drawing/2014/main" id="{5194B573-47B9-4C28-9C2F-3310B99C98B3}"/>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37" name="Straight Connector 36">
                <a:extLst>
                  <a:ext uri="{FF2B5EF4-FFF2-40B4-BE49-F238E27FC236}">
                    <a16:creationId xmlns:a16="http://schemas.microsoft.com/office/drawing/2014/main" id="{19FF3AE3-2C56-4764-B50A-C5C011C99A5C}"/>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214E9B60-AFAC-43F5-A503-4597467945E4}"/>
                </a:ext>
              </a:extLst>
            </p:cNvPr>
            <p:cNvGrpSpPr/>
            <p:nvPr/>
          </p:nvGrpSpPr>
          <p:grpSpPr>
            <a:xfrm>
              <a:off x="1275510" y="6072184"/>
              <a:ext cx="508602" cy="151498"/>
              <a:chOff x="551886" y="4945335"/>
              <a:chExt cx="508602" cy="151498"/>
            </a:xfrm>
          </p:grpSpPr>
          <p:sp>
            <p:nvSpPr>
              <p:cNvPr id="32" name="Rectangle 31">
                <a:extLst>
                  <a:ext uri="{FF2B5EF4-FFF2-40B4-BE49-F238E27FC236}">
                    <a16:creationId xmlns:a16="http://schemas.microsoft.com/office/drawing/2014/main" id="{3C1D875F-B0D6-454D-B78B-ACE70B5C4AFC}"/>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33" name="Oval 32">
                <a:extLst>
                  <a:ext uri="{FF2B5EF4-FFF2-40B4-BE49-F238E27FC236}">
                    <a16:creationId xmlns:a16="http://schemas.microsoft.com/office/drawing/2014/main" id="{2BC02858-9C7B-4196-BFD3-48AB4266DA68}"/>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34" name="Straight Connector 33">
                <a:extLst>
                  <a:ext uri="{FF2B5EF4-FFF2-40B4-BE49-F238E27FC236}">
                    <a16:creationId xmlns:a16="http://schemas.microsoft.com/office/drawing/2014/main" id="{64C3D81D-BAA4-442F-96F1-01E916AD2E36}"/>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1" name="Group 40">
            <a:extLst>
              <a:ext uri="{FF2B5EF4-FFF2-40B4-BE49-F238E27FC236}">
                <a16:creationId xmlns:a16="http://schemas.microsoft.com/office/drawing/2014/main" id="{78FBE63A-82CC-4F46-90B8-65F110DAE6FD}"/>
              </a:ext>
            </a:extLst>
          </p:cNvPr>
          <p:cNvGrpSpPr/>
          <p:nvPr/>
        </p:nvGrpSpPr>
        <p:grpSpPr>
          <a:xfrm>
            <a:off x="10068572" y="2208455"/>
            <a:ext cx="402639" cy="361217"/>
            <a:chOff x="1275510" y="6072184"/>
            <a:chExt cx="508602" cy="456278"/>
          </a:xfrm>
        </p:grpSpPr>
        <p:grpSp>
          <p:nvGrpSpPr>
            <p:cNvPr id="42" name="Group 41">
              <a:extLst>
                <a:ext uri="{FF2B5EF4-FFF2-40B4-BE49-F238E27FC236}">
                  <a16:creationId xmlns:a16="http://schemas.microsoft.com/office/drawing/2014/main" id="{DA41AB03-57C7-4946-94BD-AED714DE9DBD}"/>
                </a:ext>
              </a:extLst>
            </p:cNvPr>
            <p:cNvGrpSpPr/>
            <p:nvPr/>
          </p:nvGrpSpPr>
          <p:grpSpPr>
            <a:xfrm>
              <a:off x="1275510" y="6224570"/>
              <a:ext cx="508602" cy="151498"/>
              <a:chOff x="551886" y="4945335"/>
              <a:chExt cx="508602" cy="151498"/>
            </a:xfrm>
          </p:grpSpPr>
          <p:sp>
            <p:nvSpPr>
              <p:cNvPr id="51" name="Rectangle 50">
                <a:extLst>
                  <a:ext uri="{FF2B5EF4-FFF2-40B4-BE49-F238E27FC236}">
                    <a16:creationId xmlns:a16="http://schemas.microsoft.com/office/drawing/2014/main" id="{0249EB58-57D1-43D2-8591-D677307E6B5E}"/>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52" name="Oval 51">
                <a:extLst>
                  <a:ext uri="{FF2B5EF4-FFF2-40B4-BE49-F238E27FC236}">
                    <a16:creationId xmlns:a16="http://schemas.microsoft.com/office/drawing/2014/main" id="{D073F877-4E75-4788-B382-18E0D2760D2F}"/>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53" name="Straight Connector 52">
                <a:extLst>
                  <a:ext uri="{FF2B5EF4-FFF2-40B4-BE49-F238E27FC236}">
                    <a16:creationId xmlns:a16="http://schemas.microsoft.com/office/drawing/2014/main" id="{E4C6FD08-24E1-44C5-B5CB-CC2A2E7237C2}"/>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72500E9B-D824-49C3-BB50-8782D258A0FA}"/>
                </a:ext>
              </a:extLst>
            </p:cNvPr>
            <p:cNvGrpSpPr/>
            <p:nvPr/>
          </p:nvGrpSpPr>
          <p:grpSpPr>
            <a:xfrm>
              <a:off x="1275510" y="6376964"/>
              <a:ext cx="508602" cy="151498"/>
              <a:chOff x="551886" y="4945335"/>
              <a:chExt cx="508602" cy="151498"/>
            </a:xfrm>
          </p:grpSpPr>
          <p:sp>
            <p:nvSpPr>
              <p:cNvPr id="48" name="Rectangle 47">
                <a:extLst>
                  <a:ext uri="{FF2B5EF4-FFF2-40B4-BE49-F238E27FC236}">
                    <a16:creationId xmlns:a16="http://schemas.microsoft.com/office/drawing/2014/main" id="{15654C31-1986-454F-91E6-7FC3FEF30E59}"/>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49" name="Oval 48">
                <a:extLst>
                  <a:ext uri="{FF2B5EF4-FFF2-40B4-BE49-F238E27FC236}">
                    <a16:creationId xmlns:a16="http://schemas.microsoft.com/office/drawing/2014/main" id="{166F1607-F19F-48BA-A340-BB9226507BC6}"/>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50" name="Straight Connector 49">
                <a:extLst>
                  <a:ext uri="{FF2B5EF4-FFF2-40B4-BE49-F238E27FC236}">
                    <a16:creationId xmlns:a16="http://schemas.microsoft.com/office/drawing/2014/main" id="{FE539D30-BE20-400B-A9BD-B0551E2D840E}"/>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6075BF3B-99BA-425B-B7CE-A62197D68188}"/>
                </a:ext>
              </a:extLst>
            </p:cNvPr>
            <p:cNvGrpSpPr/>
            <p:nvPr/>
          </p:nvGrpSpPr>
          <p:grpSpPr>
            <a:xfrm>
              <a:off x="1275510" y="6072184"/>
              <a:ext cx="508602" cy="151498"/>
              <a:chOff x="551886" y="4945335"/>
              <a:chExt cx="508602" cy="151498"/>
            </a:xfrm>
          </p:grpSpPr>
          <p:sp>
            <p:nvSpPr>
              <p:cNvPr id="45" name="Rectangle 44">
                <a:extLst>
                  <a:ext uri="{FF2B5EF4-FFF2-40B4-BE49-F238E27FC236}">
                    <a16:creationId xmlns:a16="http://schemas.microsoft.com/office/drawing/2014/main" id="{E8AF486E-8188-4A14-9B79-65AC592843D6}"/>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46" name="Oval 45">
                <a:extLst>
                  <a:ext uri="{FF2B5EF4-FFF2-40B4-BE49-F238E27FC236}">
                    <a16:creationId xmlns:a16="http://schemas.microsoft.com/office/drawing/2014/main" id="{65247DB0-F33E-43E9-A571-7EED65A0344A}"/>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47" name="Straight Connector 46">
                <a:extLst>
                  <a:ext uri="{FF2B5EF4-FFF2-40B4-BE49-F238E27FC236}">
                    <a16:creationId xmlns:a16="http://schemas.microsoft.com/office/drawing/2014/main" id="{40B6E93E-BF5C-43CF-91BC-81D73FA8D3EB}"/>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a:extLst>
              <a:ext uri="{FF2B5EF4-FFF2-40B4-BE49-F238E27FC236}">
                <a16:creationId xmlns:a16="http://schemas.microsoft.com/office/drawing/2014/main" id="{A35A2F4E-EF5D-4607-8EF3-84D0E59AC407}"/>
              </a:ext>
            </a:extLst>
          </p:cNvPr>
          <p:cNvGrpSpPr/>
          <p:nvPr/>
        </p:nvGrpSpPr>
        <p:grpSpPr>
          <a:xfrm>
            <a:off x="7110192" y="3221771"/>
            <a:ext cx="549222" cy="424360"/>
            <a:chOff x="7203621" y="2226683"/>
            <a:chExt cx="482317" cy="372664"/>
          </a:xfrm>
        </p:grpSpPr>
        <p:grpSp>
          <p:nvGrpSpPr>
            <p:cNvPr id="55" name="Group 54">
              <a:extLst>
                <a:ext uri="{FF2B5EF4-FFF2-40B4-BE49-F238E27FC236}">
                  <a16:creationId xmlns:a16="http://schemas.microsoft.com/office/drawing/2014/main" id="{212A74A3-9FC8-44A7-A55F-571EAB4C389C}"/>
                </a:ext>
              </a:extLst>
            </p:cNvPr>
            <p:cNvGrpSpPr/>
            <p:nvPr/>
          </p:nvGrpSpPr>
          <p:grpSpPr>
            <a:xfrm>
              <a:off x="7203621" y="2226683"/>
              <a:ext cx="482317" cy="372664"/>
              <a:chOff x="2107244" y="1575258"/>
              <a:chExt cx="310993" cy="343365"/>
            </a:xfrm>
            <a:noFill/>
          </p:grpSpPr>
          <p:sp>
            <p:nvSpPr>
              <p:cNvPr id="60" name="Rectangle 9">
                <a:extLst>
                  <a:ext uri="{FF2B5EF4-FFF2-40B4-BE49-F238E27FC236}">
                    <a16:creationId xmlns:a16="http://schemas.microsoft.com/office/drawing/2014/main" id="{19F0EA93-8E57-42B9-A502-7E597975F2B6}"/>
                  </a:ext>
                </a:extLst>
              </p:cNvPr>
              <p:cNvSpPr>
                <a:spLocks noChangeArrowheads="1"/>
              </p:cNvSpPr>
              <p:nvPr/>
            </p:nvSpPr>
            <p:spPr bwMode="auto">
              <a:xfrm>
                <a:off x="2107244" y="1575258"/>
                <a:ext cx="310993" cy="343365"/>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panose="020B0604020202020204" pitchFamily="34" charset="0"/>
                  <a:ea typeface="+mn-ea"/>
                  <a:cs typeface="+mn-cs"/>
                </a:endParaRPr>
              </a:p>
            </p:txBody>
          </p:sp>
          <p:sp>
            <p:nvSpPr>
              <p:cNvPr id="61" name="Line 10">
                <a:extLst>
                  <a:ext uri="{FF2B5EF4-FFF2-40B4-BE49-F238E27FC236}">
                    <a16:creationId xmlns:a16="http://schemas.microsoft.com/office/drawing/2014/main" id="{D0E29EDB-6627-4B72-9A9F-93679247FC79}"/>
                  </a:ext>
                </a:extLst>
              </p:cNvPr>
              <p:cNvSpPr>
                <a:spLocks noChangeShapeType="1"/>
              </p:cNvSpPr>
              <p:nvPr/>
            </p:nvSpPr>
            <p:spPr bwMode="auto">
              <a:xfrm flipH="1">
                <a:off x="2107244" y="1647026"/>
                <a:ext cx="310993" cy="0"/>
              </a:xfrm>
              <a:prstGeom prst="line">
                <a:avLst/>
              </a:pr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panose="020B0604020202020204" pitchFamily="34" charset="0"/>
                  <a:ea typeface="+mn-ea"/>
                  <a:cs typeface="+mn-cs"/>
                </a:endParaRPr>
              </a:p>
            </p:txBody>
          </p:sp>
        </p:grpSp>
        <p:grpSp>
          <p:nvGrpSpPr>
            <p:cNvPr id="56" name="Group 55">
              <a:extLst>
                <a:ext uri="{FF2B5EF4-FFF2-40B4-BE49-F238E27FC236}">
                  <a16:creationId xmlns:a16="http://schemas.microsoft.com/office/drawing/2014/main" id="{701EBD46-C970-4215-9048-3535F81FD92D}"/>
                </a:ext>
              </a:extLst>
            </p:cNvPr>
            <p:cNvGrpSpPr/>
            <p:nvPr/>
          </p:nvGrpSpPr>
          <p:grpSpPr>
            <a:xfrm>
              <a:off x="7543900" y="2252646"/>
              <a:ext cx="103855" cy="25964"/>
              <a:chOff x="2287367" y="1599181"/>
              <a:chExt cx="95690" cy="23923"/>
            </a:xfrm>
            <a:noFill/>
          </p:grpSpPr>
          <p:sp>
            <p:nvSpPr>
              <p:cNvPr id="57" name="Oval 11">
                <a:extLst>
                  <a:ext uri="{FF2B5EF4-FFF2-40B4-BE49-F238E27FC236}">
                    <a16:creationId xmlns:a16="http://schemas.microsoft.com/office/drawing/2014/main" id="{5F11CEE9-6C67-473D-B576-A255E1F41241}"/>
                  </a:ext>
                </a:extLst>
              </p:cNvPr>
              <p:cNvSpPr>
                <a:spLocks noChangeArrowheads="1"/>
              </p:cNvSpPr>
              <p:nvPr/>
            </p:nvSpPr>
            <p:spPr bwMode="auto">
              <a:xfrm>
                <a:off x="2287367" y="1599181"/>
                <a:ext cx="23923" cy="23923"/>
              </a:xfrm>
              <a:prstGeom prst="ellipse">
                <a:avLst/>
              </a:prstGeom>
              <a:grpFill/>
              <a:ln w="1270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panose="020B0604020202020204" pitchFamily="34" charset="0"/>
                  <a:ea typeface="+mn-ea"/>
                  <a:cs typeface="+mn-cs"/>
                </a:endParaRPr>
              </a:p>
            </p:txBody>
          </p:sp>
          <p:sp>
            <p:nvSpPr>
              <p:cNvPr id="58" name="Oval 12">
                <a:extLst>
                  <a:ext uri="{FF2B5EF4-FFF2-40B4-BE49-F238E27FC236}">
                    <a16:creationId xmlns:a16="http://schemas.microsoft.com/office/drawing/2014/main" id="{78042873-897C-4369-8D5E-DAE42C6C4172}"/>
                  </a:ext>
                </a:extLst>
              </p:cNvPr>
              <p:cNvSpPr>
                <a:spLocks noChangeArrowheads="1"/>
              </p:cNvSpPr>
              <p:nvPr/>
            </p:nvSpPr>
            <p:spPr bwMode="auto">
              <a:xfrm>
                <a:off x="2323908" y="1599181"/>
                <a:ext cx="23923" cy="23923"/>
              </a:xfrm>
              <a:prstGeom prst="ellipse">
                <a:avLst/>
              </a:prstGeom>
              <a:grpFill/>
              <a:ln w="1270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panose="020B0604020202020204" pitchFamily="34" charset="0"/>
                  <a:ea typeface="+mn-ea"/>
                  <a:cs typeface="+mn-cs"/>
                </a:endParaRPr>
              </a:p>
            </p:txBody>
          </p:sp>
          <p:sp>
            <p:nvSpPr>
              <p:cNvPr id="59" name="Oval 13">
                <a:extLst>
                  <a:ext uri="{FF2B5EF4-FFF2-40B4-BE49-F238E27FC236}">
                    <a16:creationId xmlns:a16="http://schemas.microsoft.com/office/drawing/2014/main" id="{85EDAB6A-F239-4C4F-AD3D-73004858D028}"/>
                  </a:ext>
                </a:extLst>
              </p:cNvPr>
              <p:cNvSpPr>
                <a:spLocks noChangeArrowheads="1"/>
              </p:cNvSpPr>
              <p:nvPr/>
            </p:nvSpPr>
            <p:spPr bwMode="auto">
              <a:xfrm>
                <a:off x="2359134" y="1599181"/>
                <a:ext cx="23923" cy="23923"/>
              </a:xfrm>
              <a:prstGeom prst="ellipse">
                <a:avLst/>
              </a:prstGeom>
              <a:grpFill/>
              <a:ln w="1270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panose="020B0604020202020204" pitchFamily="34" charset="0"/>
                  <a:ea typeface="+mn-ea"/>
                  <a:cs typeface="+mn-cs"/>
                </a:endParaRPr>
              </a:p>
            </p:txBody>
          </p:sp>
        </p:grpSp>
      </p:grpSp>
      <p:sp>
        <p:nvSpPr>
          <p:cNvPr id="62" name="Left Brace 61">
            <a:extLst>
              <a:ext uri="{FF2B5EF4-FFF2-40B4-BE49-F238E27FC236}">
                <a16:creationId xmlns:a16="http://schemas.microsoft.com/office/drawing/2014/main" id="{761DFB90-CC24-46F4-980E-FB03F1065536}"/>
              </a:ext>
            </a:extLst>
          </p:cNvPr>
          <p:cNvSpPr/>
          <p:nvPr/>
        </p:nvSpPr>
        <p:spPr>
          <a:xfrm>
            <a:off x="9459100" y="2026275"/>
            <a:ext cx="226454" cy="2797444"/>
          </a:xfrm>
          <a:prstGeom prst="leftBrac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278652A3-074E-4401-ABB2-A356F8A2AC03}"/>
              </a:ext>
            </a:extLst>
          </p:cNvPr>
          <p:cNvGrpSpPr/>
          <p:nvPr/>
        </p:nvGrpSpPr>
        <p:grpSpPr>
          <a:xfrm>
            <a:off x="9452558" y="2284096"/>
            <a:ext cx="395935" cy="212257"/>
            <a:chOff x="9445924" y="2274656"/>
            <a:chExt cx="395935" cy="212257"/>
          </a:xfrm>
        </p:grpSpPr>
        <p:cxnSp>
          <p:nvCxnSpPr>
            <p:cNvPr id="63" name="Straight Arrow Connector 62">
              <a:extLst>
                <a:ext uri="{FF2B5EF4-FFF2-40B4-BE49-F238E27FC236}">
                  <a16:creationId xmlns:a16="http://schemas.microsoft.com/office/drawing/2014/main" id="{1C37F13F-D5DE-4B23-8A29-B307B0D48056}"/>
                </a:ext>
              </a:extLst>
            </p:cNvPr>
            <p:cNvCxnSpPr>
              <a:cxnSpLocks/>
            </p:cNvCxnSpPr>
            <p:nvPr/>
          </p:nvCxnSpPr>
          <p:spPr>
            <a:xfrm>
              <a:off x="9447453" y="2274656"/>
              <a:ext cx="393730" cy="0"/>
            </a:xfrm>
            <a:prstGeom prst="straightConnector1">
              <a:avLst/>
            </a:prstGeom>
            <a:noFill/>
            <a:ln w="19050" cap="sq">
              <a:solidFill>
                <a:schemeClr val="accent6"/>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6" name="Straight Arrow Connector 65">
              <a:extLst>
                <a:ext uri="{FF2B5EF4-FFF2-40B4-BE49-F238E27FC236}">
                  <a16:creationId xmlns:a16="http://schemas.microsoft.com/office/drawing/2014/main" id="{07975CD4-BD70-4D63-9113-614B5E3B9384}"/>
                </a:ext>
              </a:extLst>
            </p:cNvPr>
            <p:cNvCxnSpPr>
              <a:cxnSpLocks/>
            </p:cNvCxnSpPr>
            <p:nvPr/>
          </p:nvCxnSpPr>
          <p:spPr>
            <a:xfrm>
              <a:off x="9445924" y="2378420"/>
              <a:ext cx="393730" cy="0"/>
            </a:xfrm>
            <a:prstGeom prst="straightConnector1">
              <a:avLst/>
            </a:prstGeom>
            <a:noFill/>
            <a:ln w="19050" cap="sq">
              <a:solidFill>
                <a:schemeClr val="accent6"/>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7" name="Straight Arrow Connector 66">
              <a:extLst>
                <a:ext uri="{FF2B5EF4-FFF2-40B4-BE49-F238E27FC236}">
                  <a16:creationId xmlns:a16="http://schemas.microsoft.com/office/drawing/2014/main" id="{F82D247F-9950-48D0-9624-0B53E2E3236E}"/>
                </a:ext>
              </a:extLst>
            </p:cNvPr>
            <p:cNvCxnSpPr>
              <a:cxnSpLocks/>
            </p:cNvCxnSpPr>
            <p:nvPr/>
          </p:nvCxnSpPr>
          <p:spPr>
            <a:xfrm>
              <a:off x="9448129" y="2486913"/>
              <a:ext cx="393730" cy="0"/>
            </a:xfrm>
            <a:prstGeom prst="straightConnector1">
              <a:avLst/>
            </a:prstGeom>
            <a:noFill/>
            <a:ln w="19050" cap="sq">
              <a:solidFill>
                <a:schemeClr val="accent6"/>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65" name="Group 64">
            <a:extLst>
              <a:ext uri="{FF2B5EF4-FFF2-40B4-BE49-F238E27FC236}">
                <a16:creationId xmlns:a16="http://schemas.microsoft.com/office/drawing/2014/main" id="{0D54547F-2D99-4A8C-82F7-4E23C59EEB92}"/>
              </a:ext>
            </a:extLst>
          </p:cNvPr>
          <p:cNvGrpSpPr/>
          <p:nvPr/>
        </p:nvGrpSpPr>
        <p:grpSpPr>
          <a:xfrm>
            <a:off x="9445924" y="2385582"/>
            <a:ext cx="393730" cy="1956739"/>
            <a:chOff x="9445924" y="2385582"/>
            <a:chExt cx="393730" cy="1956739"/>
          </a:xfrm>
        </p:grpSpPr>
        <p:cxnSp>
          <p:nvCxnSpPr>
            <p:cNvPr id="71" name="Straight Arrow Connector 70">
              <a:extLst>
                <a:ext uri="{FF2B5EF4-FFF2-40B4-BE49-F238E27FC236}">
                  <a16:creationId xmlns:a16="http://schemas.microsoft.com/office/drawing/2014/main" id="{7FF8A856-988F-4A57-9679-113A7A5E2E1D}"/>
                </a:ext>
              </a:extLst>
            </p:cNvPr>
            <p:cNvCxnSpPr>
              <a:cxnSpLocks/>
            </p:cNvCxnSpPr>
            <p:nvPr/>
          </p:nvCxnSpPr>
          <p:spPr>
            <a:xfrm>
              <a:off x="9445924" y="2385582"/>
              <a:ext cx="393730" cy="0"/>
            </a:xfrm>
            <a:prstGeom prst="straightConnector1">
              <a:avLst/>
            </a:prstGeom>
            <a:noFill/>
            <a:ln w="19050" cap="sq">
              <a:solidFill>
                <a:schemeClr val="accent3"/>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2" name="Straight Arrow Connector 71">
              <a:extLst>
                <a:ext uri="{FF2B5EF4-FFF2-40B4-BE49-F238E27FC236}">
                  <a16:creationId xmlns:a16="http://schemas.microsoft.com/office/drawing/2014/main" id="{69C9CFAE-F245-492B-ADF6-1CFDC1CCB5C9}"/>
                </a:ext>
              </a:extLst>
            </p:cNvPr>
            <p:cNvCxnSpPr>
              <a:cxnSpLocks/>
            </p:cNvCxnSpPr>
            <p:nvPr/>
          </p:nvCxnSpPr>
          <p:spPr>
            <a:xfrm>
              <a:off x="9445924" y="3424997"/>
              <a:ext cx="393730" cy="0"/>
            </a:xfrm>
            <a:prstGeom prst="straightConnector1">
              <a:avLst/>
            </a:prstGeom>
            <a:noFill/>
            <a:ln w="19050" cap="sq">
              <a:solidFill>
                <a:schemeClr val="accent3"/>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3" name="Straight Arrow Connector 72">
              <a:extLst>
                <a:ext uri="{FF2B5EF4-FFF2-40B4-BE49-F238E27FC236}">
                  <a16:creationId xmlns:a16="http://schemas.microsoft.com/office/drawing/2014/main" id="{C5931B43-9762-4291-9B4C-3FFDD43DB1E1}"/>
                </a:ext>
              </a:extLst>
            </p:cNvPr>
            <p:cNvCxnSpPr>
              <a:cxnSpLocks/>
            </p:cNvCxnSpPr>
            <p:nvPr/>
          </p:nvCxnSpPr>
          <p:spPr>
            <a:xfrm>
              <a:off x="9445924" y="4342321"/>
              <a:ext cx="393730" cy="0"/>
            </a:xfrm>
            <a:prstGeom prst="straightConnector1">
              <a:avLst/>
            </a:prstGeom>
            <a:noFill/>
            <a:ln w="19050" cap="sq">
              <a:solidFill>
                <a:schemeClr val="accent3"/>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68" name="Text Placeholder 4">
            <a:extLst>
              <a:ext uri="{FF2B5EF4-FFF2-40B4-BE49-F238E27FC236}">
                <a16:creationId xmlns:a16="http://schemas.microsoft.com/office/drawing/2014/main" id="{DBAA85EA-3ED9-499C-A39D-AA05ECAECA5A}"/>
              </a:ext>
            </a:extLst>
          </p:cNvPr>
          <p:cNvSpPr txBox="1">
            <a:spLocks/>
          </p:cNvSpPr>
          <p:nvPr/>
        </p:nvSpPr>
        <p:spPr>
          <a:xfrm>
            <a:off x="269085" y="3041826"/>
            <a:ext cx="6080126" cy="1905137"/>
          </a:xfrm>
          <a:prstGeom prst="rect">
            <a:avLst/>
          </a:prstGeom>
        </p:spPr>
        <p:txBody>
          <a:bodyPr vert="horz" wrap="square" lIns="146304" tIns="91440" rIns="146304" bIns="91440" rtlCol="0" anchor="t">
            <a:spAutoFit/>
          </a:bodyPr>
          <a:lstStyle>
            <a:lvl1pPr marL="0" marR="0" indent="0" algn="l" defTabSz="914367" rtl="0" eaLnBrk="1" fontAlgn="auto" latinLnBrk="0" hangingPunct="1">
              <a:lnSpc>
                <a:spcPct val="100000"/>
              </a:lnSpc>
              <a:spcBef>
                <a:spcPts val="1200"/>
              </a:spcBef>
              <a:spcAft>
                <a:spcPts val="0"/>
              </a:spcAft>
              <a:buClrTx/>
              <a:buSzPct val="90000"/>
              <a:buFont typeface="Arial" pitchFamily="34" charset="0"/>
              <a:buNone/>
              <a:tabLst/>
              <a:defRPr lang="en-US" sz="1600" b="1" kern="1200" spc="0" baseline="0" dirty="0" smtClean="0">
                <a:solidFill>
                  <a:schemeClr val="tx2"/>
                </a:solidFill>
                <a:latin typeface="Segoe UI Semibold" charset="0"/>
                <a:ea typeface="Segoe UI Semibold" charset="0"/>
                <a:cs typeface="Segoe UI Semibold" charset="0"/>
              </a:defRPr>
            </a:lvl1pPr>
            <a:lvl2pPr marL="236538" marR="0" indent="-236538" algn="l" defTabSz="914367" rtl="0" eaLnBrk="1" fontAlgn="auto" latinLnBrk="0" hangingPunct="1">
              <a:lnSpc>
                <a:spcPct val="100000"/>
              </a:lnSpc>
              <a:spcBef>
                <a:spcPts val="800"/>
              </a:spcBef>
              <a:spcAft>
                <a:spcPts val="400"/>
              </a:spcAft>
              <a:buClr>
                <a:schemeClr val="tx2"/>
              </a:buClr>
              <a:buSzPct val="90000"/>
              <a:buFont typeface="Arial" pitchFamily="34" charset="0"/>
              <a:buChar char="•"/>
              <a:tabLst/>
              <a:defRPr lang="en-US" sz="1600" kern="1200" spc="0" baseline="0" dirty="0" smtClean="0">
                <a:solidFill>
                  <a:schemeClr val="tx1"/>
                </a:solidFill>
                <a:latin typeface="Segoe UI Semilight" charset="0"/>
                <a:ea typeface="Segoe UI Semilight" charset="0"/>
                <a:cs typeface="Segoe UI Semilight" charset="0"/>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200"/>
              </a:spcBef>
              <a:spcAft>
                <a:spcPts val="0"/>
              </a:spcAft>
              <a:buClrTx/>
              <a:buSzPct val="90000"/>
              <a:buFont typeface="Arial" pitchFamily="34" charset="0"/>
              <a:buNone/>
              <a:tabLst/>
              <a:defRPr/>
            </a:pPr>
            <a:r>
              <a:rPr kumimoji="0" lang="en-US" sz="1400" b="1" i="0" u="none" strike="noStrike" kern="1200" cap="none" spc="0" normalizeH="0" baseline="0" noProof="0">
                <a:ln>
                  <a:noFill/>
                </a:ln>
                <a:solidFill>
                  <a:srgbClr val="44546A"/>
                </a:solidFill>
                <a:effectLst/>
                <a:uLnTx/>
                <a:uFillTx/>
                <a:latin typeface="Arial" panose="020B0604020202020204" pitchFamily="34" charset="0"/>
                <a:cs typeface="Arial" panose="020B0604020202020204" pitchFamily="34" charset="0"/>
              </a:rPr>
              <a:t>Steps for Success</a:t>
            </a:r>
          </a:p>
          <a:p>
            <a:pPr marL="236220" marR="0" lvl="1" indent="-236220" algn="l" defTabSz="914367" rtl="0" eaLnBrk="1" fontAlgn="auto" latinLnBrk="0" hangingPunct="1">
              <a:lnSpc>
                <a:spcPct val="100000"/>
              </a:lnSpc>
              <a:spcBef>
                <a:spcPts val="600"/>
              </a:spcBef>
              <a:spcAft>
                <a:spcPts val="400"/>
              </a:spcAft>
              <a:buClr>
                <a:srgbClr val="44546A"/>
              </a:buClr>
              <a:buSzPct val="90000"/>
              <a:buFont typeface="Arial" pitchFamily="34" charset="0"/>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Ballpark scale needs (size/throughput)</a:t>
            </a:r>
          </a:p>
          <a:p>
            <a:pPr marL="236220" marR="0" lvl="1" indent="-236220" algn="l" defTabSz="914367" rtl="0" eaLnBrk="1" fontAlgn="auto" latinLnBrk="0" hangingPunct="1">
              <a:lnSpc>
                <a:spcPct val="100000"/>
              </a:lnSpc>
              <a:spcBef>
                <a:spcPts val="0"/>
              </a:spcBef>
              <a:spcAft>
                <a:spcPts val="400"/>
              </a:spcAft>
              <a:buClr>
                <a:srgbClr val="44546A"/>
              </a:buClr>
              <a:buSzPct val="90000"/>
              <a:buFont typeface="Arial" pitchFamily="34" charset="0"/>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Understand the workload</a:t>
            </a:r>
          </a:p>
          <a:p>
            <a:pPr marL="236220" marR="0" lvl="1" indent="-236220" algn="l" defTabSz="914367" rtl="0" eaLnBrk="1" fontAlgn="auto" latinLnBrk="0" hangingPunct="1">
              <a:lnSpc>
                <a:spcPct val="100000"/>
              </a:lnSpc>
              <a:spcBef>
                <a:spcPts val="0"/>
              </a:spcBef>
              <a:spcAft>
                <a:spcPts val="400"/>
              </a:spcAft>
              <a:buClr>
                <a:srgbClr val="44546A"/>
              </a:buClr>
              <a:buSzPct val="90000"/>
              <a:buFont typeface="Arial" pitchFamily="34" charset="0"/>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of reads/sec vs writes per sec</a:t>
            </a:r>
          </a:p>
          <a:p>
            <a:pPr marL="784225" marR="0" lvl="2" indent="-223520" algn="l" defTabSz="914367" rtl="0" eaLnBrk="1" fontAlgn="auto" latinLnBrk="0" hangingPunct="1">
              <a:lnSpc>
                <a:spcPct val="100000"/>
              </a:lnSpc>
              <a:spcBef>
                <a:spcPts val="0"/>
              </a:spcBef>
              <a:spcAft>
                <a:spcPts val="0"/>
              </a:spcAft>
              <a:buClr>
                <a:srgbClr val="44546A"/>
              </a:buClr>
              <a:buSzPct val="90000"/>
              <a:buFont typeface="Arial"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se pareto principal (80/20 rule) to help optimize bulk of workload</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84225" marR="0" lvl="2" indent="-223520" algn="l" defTabSz="914367" rtl="0" eaLnBrk="1" fontAlgn="auto" latinLnBrk="0" hangingPunct="1">
              <a:lnSpc>
                <a:spcPct val="100000"/>
              </a:lnSpc>
              <a:spcBef>
                <a:spcPct val="20000"/>
              </a:spcBef>
              <a:spcAft>
                <a:spcPts val="0"/>
              </a:spcAft>
              <a:buClr>
                <a:srgbClr val="44546A"/>
              </a:buClr>
              <a:buSzPct val="90000"/>
              <a:buFont typeface="Arial"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r reads – understand top 3-5 queries (look for common filter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84225" marR="0" lvl="2" indent="-223520" algn="l" defTabSz="914367" rtl="0" eaLnBrk="1" fontAlgn="auto" latinLnBrk="0" hangingPunct="1">
              <a:lnSpc>
                <a:spcPct val="100000"/>
              </a:lnSpc>
              <a:spcBef>
                <a:spcPct val="20000"/>
              </a:spcBef>
              <a:spcAft>
                <a:spcPts val="0"/>
              </a:spcAft>
              <a:buClr>
                <a:srgbClr val="44546A"/>
              </a:buClr>
              <a:buSzPct val="90000"/>
              <a:buFont typeface="Arial"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r writes – understand transactional need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69" name="Text Placeholder 4">
            <a:extLst>
              <a:ext uri="{FF2B5EF4-FFF2-40B4-BE49-F238E27FC236}">
                <a16:creationId xmlns:a16="http://schemas.microsoft.com/office/drawing/2014/main" id="{745017B2-B9EB-4A6E-9B10-E984C4A50B71}"/>
              </a:ext>
            </a:extLst>
          </p:cNvPr>
          <p:cNvSpPr txBox="1">
            <a:spLocks/>
          </p:cNvSpPr>
          <p:nvPr/>
        </p:nvSpPr>
        <p:spPr>
          <a:xfrm>
            <a:off x="258114" y="4943524"/>
            <a:ext cx="6080126" cy="1709186"/>
          </a:xfrm>
          <a:prstGeom prst="rect">
            <a:avLst/>
          </a:prstGeom>
        </p:spPr>
        <p:txBody>
          <a:bodyPr vert="horz" wrap="square" lIns="146304" tIns="91440" rIns="146304" bIns="91440" rtlCol="0" anchor="t">
            <a:spAutoFit/>
          </a:bodyPr>
          <a:lstStyle>
            <a:lvl1pPr marL="0" marR="0" indent="0" algn="l" defTabSz="914367" rtl="0" eaLnBrk="1" fontAlgn="auto" latinLnBrk="0" hangingPunct="1">
              <a:lnSpc>
                <a:spcPct val="100000"/>
              </a:lnSpc>
              <a:spcBef>
                <a:spcPts val="1200"/>
              </a:spcBef>
              <a:spcAft>
                <a:spcPts val="0"/>
              </a:spcAft>
              <a:buClrTx/>
              <a:buSzPct val="90000"/>
              <a:buFont typeface="Arial" pitchFamily="34" charset="0"/>
              <a:buNone/>
              <a:tabLst/>
              <a:defRPr lang="en-US" sz="1600" b="1" kern="1200" spc="0" baseline="0" dirty="0" smtClean="0">
                <a:solidFill>
                  <a:schemeClr val="tx2"/>
                </a:solidFill>
                <a:latin typeface="Segoe UI Semibold" charset="0"/>
                <a:ea typeface="Segoe UI Semibold" charset="0"/>
                <a:cs typeface="Segoe UI Semibold" charset="0"/>
              </a:defRPr>
            </a:lvl1pPr>
            <a:lvl2pPr marL="236538" marR="0" indent="-236538" algn="l" defTabSz="914367" rtl="0" eaLnBrk="1" fontAlgn="auto" latinLnBrk="0" hangingPunct="1">
              <a:lnSpc>
                <a:spcPct val="100000"/>
              </a:lnSpc>
              <a:spcBef>
                <a:spcPts val="800"/>
              </a:spcBef>
              <a:spcAft>
                <a:spcPts val="400"/>
              </a:spcAft>
              <a:buClr>
                <a:schemeClr val="tx2"/>
              </a:buClr>
              <a:buSzPct val="90000"/>
              <a:buFont typeface="Arial" pitchFamily="34" charset="0"/>
              <a:buChar char="•"/>
              <a:tabLst/>
              <a:defRPr lang="en-US" sz="1600" kern="1200" spc="0" baseline="0" dirty="0" smtClean="0">
                <a:solidFill>
                  <a:schemeClr val="tx1"/>
                </a:solidFill>
                <a:latin typeface="Segoe UI Semilight" charset="0"/>
                <a:ea typeface="Segoe UI Semilight" charset="0"/>
                <a:cs typeface="Segoe UI Semilight" charset="0"/>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200"/>
              </a:spcBef>
              <a:spcAft>
                <a:spcPts val="0"/>
              </a:spcAft>
              <a:buClrTx/>
              <a:buSzPct val="90000"/>
              <a:buFont typeface="Arial" pitchFamily="34" charset="0"/>
              <a:buNone/>
              <a:tabLst/>
              <a:defRPr/>
            </a:pPr>
            <a:r>
              <a:rPr kumimoji="0" lang="en-US" sz="1400" b="1" i="0" u="none" strike="noStrike" kern="1200" cap="none" spc="0" normalizeH="0" baseline="0" noProof="0">
                <a:ln>
                  <a:noFill/>
                </a:ln>
                <a:solidFill>
                  <a:srgbClr val="44546A"/>
                </a:solidFill>
                <a:effectLst/>
                <a:uLnTx/>
                <a:uFillTx/>
                <a:latin typeface="Arial" panose="020B0604020202020204" pitchFamily="34" charset="0"/>
                <a:cs typeface="Arial" panose="020B0604020202020204" pitchFamily="34" charset="0"/>
              </a:rPr>
              <a:t>General Tips</a:t>
            </a:r>
          </a:p>
          <a:p>
            <a:pPr marL="236220" marR="0" lvl="1" indent="-236220" algn="l" defTabSz="914367" rtl="0" eaLnBrk="1" fontAlgn="auto" latinLnBrk="0" hangingPunct="1">
              <a:lnSpc>
                <a:spcPct val="100000"/>
              </a:lnSpc>
              <a:spcBef>
                <a:spcPts val="600"/>
              </a:spcBef>
              <a:spcAft>
                <a:spcPts val="400"/>
              </a:spcAft>
              <a:buClr>
                <a:srgbClr val="44546A"/>
              </a:buClr>
              <a:buSzPct val="90000"/>
              <a:buFont typeface="Arial" pitchFamily="34" charset="0"/>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Build a POC to strengthen your understanding of the workload and iterate (avoid analyses paralysis)</a:t>
            </a:r>
          </a:p>
          <a:p>
            <a:pPr marL="236220" marR="0" lvl="1" indent="-236220" algn="l" defTabSz="914367" rtl="0" eaLnBrk="1" fontAlgn="auto" latinLnBrk="0" hangingPunct="1">
              <a:lnSpc>
                <a:spcPct val="100000"/>
              </a:lnSpc>
              <a:spcBef>
                <a:spcPts val="600"/>
              </a:spcBef>
              <a:spcAft>
                <a:spcPts val="400"/>
              </a:spcAft>
              <a:buClr>
                <a:srgbClr val="44546A"/>
              </a:buClr>
              <a:buSzPct val="90000"/>
              <a:buFont typeface="Arial" pitchFamily="34" charset="0"/>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on’t be afraid of having too many partition keys</a:t>
            </a:r>
          </a:p>
          <a:p>
            <a:pPr marL="784225" marR="0" lvl="2" indent="-223520" algn="l" defTabSz="914367" rtl="0" eaLnBrk="1" fontAlgn="auto" latinLnBrk="0" hangingPunct="1">
              <a:lnSpc>
                <a:spcPct val="100000"/>
              </a:lnSpc>
              <a:spcBef>
                <a:spcPts val="0"/>
              </a:spcBef>
              <a:spcAft>
                <a:spcPts val="0"/>
              </a:spcAft>
              <a:buClr>
                <a:srgbClr val="44546A"/>
              </a:buClr>
              <a:buSzPct val="90000"/>
              <a:buFont typeface="Arial"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artitions keys are logical</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84225" marR="0" lvl="2" indent="-223520" algn="l" defTabSz="914367" rtl="0" eaLnBrk="1" fontAlgn="auto" latinLnBrk="0" hangingPunct="1">
              <a:lnSpc>
                <a:spcPct val="100000"/>
              </a:lnSpc>
              <a:spcBef>
                <a:spcPct val="20000"/>
              </a:spcBef>
              <a:spcAft>
                <a:spcPts val="0"/>
              </a:spcAft>
              <a:buClr>
                <a:srgbClr val="44546A"/>
              </a:buClr>
              <a:buSzPct val="90000"/>
              <a:buFont typeface="Arial"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ore partition keys </a:t>
            </a: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rPr>
              <a:t>leads to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ore scalability</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70" name="Text Placeholder 4">
            <a:extLst>
              <a:ext uri="{FF2B5EF4-FFF2-40B4-BE49-F238E27FC236}">
                <a16:creationId xmlns:a16="http://schemas.microsoft.com/office/drawing/2014/main" id="{08CE28C2-CA63-4D80-A876-563B5531F9B4}"/>
              </a:ext>
            </a:extLst>
          </p:cNvPr>
          <p:cNvSpPr txBox="1">
            <a:spLocks/>
          </p:cNvSpPr>
          <p:nvPr/>
        </p:nvSpPr>
        <p:spPr>
          <a:xfrm>
            <a:off x="258114" y="2215871"/>
            <a:ext cx="6080126" cy="857671"/>
          </a:xfrm>
          <a:prstGeom prst="rect">
            <a:avLst/>
          </a:prstGeom>
        </p:spPr>
        <p:txBody>
          <a:bodyPr vert="horz" wrap="square" lIns="146304" tIns="91440" rIns="146304" bIns="91440" rtlCol="0" anchor="t">
            <a:spAutoFit/>
          </a:bodyPr>
          <a:lstStyle>
            <a:lvl1pPr marL="0" marR="0" indent="0" algn="l" defTabSz="914367" rtl="0" eaLnBrk="1" fontAlgn="auto" latinLnBrk="0" hangingPunct="1">
              <a:lnSpc>
                <a:spcPct val="100000"/>
              </a:lnSpc>
              <a:spcBef>
                <a:spcPts val="1200"/>
              </a:spcBef>
              <a:spcAft>
                <a:spcPts val="0"/>
              </a:spcAft>
              <a:buClrTx/>
              <a:buSzPct val="90000"/>
              <a:buFont typeface="Arial" pitchFamily="34" charset="0"/>
              <a:buNone/>
              <a:tabLst/>
              <a:defRPr lang="en-US" sz="1600" b="1" kern="1200" spc="0" baseline="0" dirty="0" smtClean="0">
                <a:solidFill>
                  <a:schemeClr val="tx2"/>
                </a:solidFill>
                <a:latin typeface="Segoe UI Semibold" charset="0"/>
                <a:ea typeface="Segoe UI Semibold" charset="0"/>
                <a:cs typeface="Segoe UI Semibold" charset="0"/>
              </a:defRPr>
            </a:lvl1pPr>
            <a:lvl2pPr marL="236538" marR="0" indent="-236538" algn="l" defTabSz="914367" rtl="0" eaLnBrk="1" fontAlgn="auto" latinLnBrk="0" hangingPunct="1">
              <a:lnSpc>
                <a:spcPct val="100000"/>
              </a:lnSpc>
              <a:spcBef>
                <a:spcPts val="800"/>
              </a:spcBef>
              <a:spcAft>
                <a:spcPts val="400"/>
              </a:spcAft>
              <a:buClr>
                <a:schemeClr val="tx2"/>
              </a:buClr>
              <a:buSzPct val="90000"/>
              <a:buFont typeface="Arial" pitchFamily="34" charset="0"/>
              <a:buChar char="•"/>
              <a:tabLst/>
              <a:defRPr lang="en-US" sz="1600" kern="1200" spc="0" baseline="0" dirty="0" smtClean="0">
                <a:solidFill>
                  <a:schemeClr val="tx1"/>
                </a:solidFill>
                <a:latin typeface="Segoe UI Semilight" charset="0"/>
                <a:ea typeface="Segoe UI Semilight" charset="0"/>
                <a:cs typeface="Segoe UI Semilight" charset="0"/>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36220" marR="0" lvl="1" indent="-236220" algn="l" defTabSz="914367" rtl="0" eaLnBrk="1" fontAlgn="auto" latinLnBrk="0" hangingPunct="1">
              <a:lnSpc>
                <a:spcPct val="100000"/>
              </a:lnSpc>
              <a:spcBef>
                <a:spcPts val="600"/>
              </a:spcBef>
              <a:spcAft>
                <a:spcPts val="400"/>
              </a:spcAft>
              <a:buClr>
                <a:srgbClr val="44546A"/>
              </a:buClr>
              <a:buSzPct val="90000"/>
              <a:buFont typeface="Arial" pitchFamily="34" charset="0"/>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artition Key is scope for multi-record transactions and routing queries</a:t>
            </a:r>
          </a:p>
          <a:p>
            <a:pPr marL="784225" marR="0" lvl="2" indent="-223520" algn="l" defTabSz="914367" rtl="0" eaLnBrk="1" fontAlgn="auto" latinLnBrk="0" hangingPunct="1">
              <a:lnSpc>
                <a:spcPct val="100000"/>
              </a:lnSpc>
              <a:spcBef>
                <a:spcPts val="0"/>
              </a:spcBef>
              <a:spcAft>
                <a:spcPts val="0"/>
              </a:spcAft>
              <a:buClr>
                <a:srgbClr val="44546A"/>
              </a:buClr>
              <a:buSzPct val="90000"/>
              <a:buFont typeface="Arial"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Queries can be intelligently routed via partition key</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84225" marR="0" lvl="2" indent="-223520" algn="l" defTabSz="914367" rtl="0" eaLnBrk="1" fontAlgn="auto" latinLnBrk="0" hangingPunct="1">
              <a:lnSpc>
                <a:spcPct val="100000"/>
              </a:lnSpc>
              <a:spcBef>
                <a:spcPct val="20000"/>
              </a:spcBef>
              <a:spcAft>
                <a:spcPts val="0"/>
              </a:spcAft>
              <a:buClr>
                <a:srgbClr val="44546A"/>
              </a:buClr>
              <a:buSzPct val="90000"/>
              <a:buFont typeface="Arial"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mitting partition key on query requires fan-ou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grpSp>
        <p:nvGrpSpPr>
          <p:cNvPr id="64" name="Group 63">
            <a:extLst>
              <a:ext uri="{FF2B5EF4-FFF2-40B4-BE49-F238E27FC236}">
                <a16:creationId xmlns:a16="http://schemas.microsoft.com/office/drawing/2014/main" id="{59580809-861C-4150-A7AE-46B5C83A3604}"/>
              </a:ext>
            </a:extLst>
          </p:cNvPr>
          <p:cNvGrpSpPr/>
          <p:nvPr/>
        </p:nvGrpSpPr>
        <p:grpSpPr>
          <a:xfrm>
            <a:off x="9255295" y="2540266"/>
            <a:ext cx="774811" cy="1769461"/>
            <a:chOff x="9263121" y="2535599"/>
            <a:chExt cx="774811" cy="1769461"/>
          </a:xfrm>
        </p:grpSpPr>
        <p:cxnSp>
          <p:nvCxnSpPr>
            <p:cNvPr id="74" name="Straight Arrow Connector 73">
              <a:extLst>
                <a:ext uri="{FF2B5EF4-FFF2-40B4-BE49-F238E27FC236}">
                  <a16:creationId xmlns:a16="http://schemas.microsoft.com/office/drawing/2014/main" id="{F72562E5-DF4B-40D5-9A80-B35BCF75FC89}"/>
                </a:ext>
              </a:extLst>
            </p:cNvPr>
            <p:cNvCxnSpPr>
              <a:cxnSpLocks/>
            </p:cNvCxnSpPr>
            <p:nvPr/>
          </p:nvCxnSpPr>
          <p:spPr>
            <a:xfrm>
              <a:off x="9263121" y="3420329"/>
              <a:ext cx="774811" cy="0"/>
            </a:xfrm>
            <a:prstGeom prst="straightConnector1">
              <a:avLst/>
            </a:prstGeom>
            <a:noFill/>
            <a:ln w="19050" cap="sq">
              <a:solidFill>
                <a:schemeClr val="tx2"/>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5" name="Straight Arrow Connector 74">
              <a:extLst>
                <a:ext uri="{FF2B5EF4-FFF2-40B4-BE49-F238E27FC236}">
                  <a16:creationId xmlns:a16="http://schemas.microsoft.com/office/drawing/2014/main" id="{5BE771F0-9FD5-4DEA-BCDA-855F75833CBC}"/>
                </a:ext>
              </a:extLst>
            </p:cNvPr>
            <p:cNvCxnSpPr>
              <a:cxnSpLocks/>
            </p:cNvCxnSpPr>
            <p:nvPr/>
          </p:nvCxnSpPr>
          <p:spPr>
            <a:xfrm>
              <a:off x="9263121" y="3527556"/>
              <a:ext cx="686945" cy="777504"/>
            </a:xfrm>
            <a:prstGeom prst="straightConnector1">
              <a:avLst/>
            </a:prstGeom>
            <a:noFill/>
            <a:ln w="19050" cap="sq">
              <a:solidFill>
                <a:schemeClr val="tx2"/>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76" name="Straight Arrow Connector 75">
              <a:extLst>
                <a:ext uri="{FF2B5EF4-FFF2-40B4-BE49-F238E27FC236}">
                  <a16:creationId xmlns:a16="http://schemas.microsoft.com/office/drawing/2014/main" id="{6D595A8B-1191-43B3-A233-0CF8FED2C120}"/>
                </a:ext>
              </a:extLst>
            </p:cNvPr>
            <p:cNvCxnSpPr>
              <a:cxnSpLocks/>
            </p:cNvCxnSpPr>
            <p:nvPr/>
          </p:nvCxnSpPr>
          <p:spPr>
            <a:xfrm flipV="1">
              <a:off x="9263121" y="2535599"/>
              <a:ext cx="655603" cy="777504"/>
            </a:xfrm>
            <a:prstGeom prst="straightConnector1">
              <a:avLst/>
            </a:prstGeom>
            <a:noFill/>
            <a:ln w="19050" cap="sq">
              <a:solidFill>
                <a:schemeClr val="tx2"/>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2864514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62"/>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12"/>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0"/>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65"/>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6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8" grpId="0"/>
      <p:bldP spid="69" grpId="0"/>
      <p:bldP spid="70"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9A85DA-94A4-4EF6-9370-8E6BBA42AF48}"/>
              </a:ext>
            </a:extLst>
          </p:cNvPr>
          <p:cNvSpPr>
            <a:spLocks noGrp="1"/>
          </p:cNvSpPr>
          <p:nvPr>
            <p:ph type="body" sz="quarter" idx="10"/>
          </p:nvPr>
        </p:nvSpPr>
        <p:spPr>
          <a:xfrm>
            <a:off x="161208" y="1309378"/>
            <a:ext cx="5959859" cy="4136902"/>
          </a:xfrm>
        </p:spPr>
        <p:txBody>
          <a:bodyPr vert="horz" wrap="square" lIns="146304" tIns="91440" rIns="146304" bIns="91440" rtlCol="0" anchor="t">
            <a:spAutoFit/>
          </a:bodyPr>
          <a:lstStyle/>
          <a:p>
            <a:r>
              <a:rPr lang="en-US" sz="1600" dirty="0">
                <a:latin typeface="Arial" panose="020B0604020202020204" pitchFamily="34" charset="0"/>
                <a:cs typeface="Arial" panose="020B0604020202020204" pitchFamily="34" charset="0"/>
              </a:rPr>
              <a:t>Containers support unlimited storage by dynamically allocating additional physical partitions</a:t>
            </a:r>
          </a:p>
          <a:p>
            <a:r>
              <a:rPr lang="en-US" sz="1600" dirty="0">
                <a:latin typeface="Arial" panose="020B0604020202020204" pitchFamily="34" charset="0"/>
                <a:cs typeface="Arial" panose="020B0604020202020204" pitchFamily="34" charset="0"/>
              </a:rPr>
              <a:t>Storage for single partition key value (logical partition) is </a:t>
            </a:r>
            <a:r>
              <a:rPr lang="en-US" sz="1600" dirty="0" err="1">
                <a:latin typeface="Arial" panose="020B0604020202020204" pitchFamily="34" charset="0"/>
                <a:cs typeface="Arial" panose="020B0604020202020204" pitchFamily="34" charset="0"/>
              </a:rPr>
              <a:t>quota'ed</a:t>
            </a:r>
            <a:r>
              <a:rPr lang="en-US" sz="1600" dirty="0">
                <a:latin typeface="Arial" panose="020B0604020202020204" pitchFamily="34" charset="0"/>
                <a:cs typeface="Arial" panose="020B0604020202020204" pitchFamily="34" charset="0"/>
              </a:rPr>
              <a:t> to 20GB.</a:t>
            </a:r>
          </a:p>
          <a:p>
            <a:r>
              <a:rPr lang="en-US" sz="1600" dirty="0">
                <a:latin typeface="Arial" panose="020B0604020202020204" pitchFamily="34" charset="0"/>
                <a:cs typeface="Arial" panose="020B0604020202020204" pitchFamily="34" charset="0"/>
              </a:rPr>
              <a:t>When a partition key reaches its provisioned storage limit, requests to create new resources will return a HTTP Status Code of 403 (Forbidden).</a:t>
            </a:r>
          </a:p>
          <a:p>
            <a:pPr marL="0" lvl="1" indent="0">
              <a:buNone/>
            </a:pPr>
            <a:r>
              <a:rPr lang="en-US" sz="1600" dirty="0">
                <a:latin typeface="Arial" panose="020B0604020202020204" pitchFamily="34" charset="0"/>
                <a:cs typeface="Arial" panose="020B0604020202020204" pitchFamily="34" charset="0"/>
              </a:rPr>
              <a:t>Azure Cosmos DB will automatically add partitions, and may also return a 403 if:</a:t>
            </a:r>
          </a:p>
          <a:p>
            <a:pPr lvl="1"/>
            <a:r>
              <a:rPr lang="en-US" sz="1600" dirty="0">
                <a:latin typeface="Arial" panose="020B0604020202020204" pitchFamily="34" charset="0"/>
                <a:cs typeface="Arial" panose="020B0604020202020204" pitchFamily="34" charset="0"/>
              </a:rPr>
              <a:t>An authorization token has expired</a:t>
            </a:r>
          </a:p>
          <a:p>
            <a:pPr lvl="1"/>
            <a:r>
              <a:rPr lang="en-US" sz="1600" dirty="0">
                <a:latin typeface="Arial" panose="020B0604020202020204" pitchFamily="34" charset="0"/>
                <a:cs typeface="Arial" panose="020B0604020202020204" pitchFamily="34" charset="0"/>
              </a:rPr>
              <a:t>A programmatic element (UDF, Stored Procedure, Trigger) has been flagged for repeated violations</a:t>
            </a:r>
          </a:p>
        </p:txBody>
      </p:sp>
      <p:sp>
        <p:nvSpPr>
          <p:cNvPr id="3" name="Title 2">
            <a:extLst>
              <a:ext uri="{FF2B5EF4-FFF2-40B4-BE49-F238E27FC236}">
                <a16:creationId xmlns:a16="http://schemas.microsoft.com/office/drawing/2014/main" id="{7B2969DE-27B0-4557-85B9-DFB7B20D88C0}"/>
              </a:ext>
            </a:extLst>
          </p:cNvPr>
          <p:cNvSpPr>
            <a:spLocks noGrp="1"/>
          </p:cNvSpPr>
          <p:nvPr>
            <p:ph type="title"/>
          </p:nvPr>
        </p:nvSpPr>
        <p:spPr>
          <a:xfrm>
            <a:off x="161208" y="121807"/>
            <a:ext cx="6292516" cy="1144275"/>
          </a:xfrm>
        </p:spPr>
        <p:txBody>
          <a:bodyPr>
            <a:normAutofit fontScale="90000"/>
          </a:bodyPr>
          <a:lstStyle/>
          <a:p>
            <a:r>
              <a:rPr lang="en-US" sz="4000">
                <a:latin typeface="Arial" panose="020B0604020202020204" pitchFamily="34" charset="0"/>
                <a:cs typeface="Arial" panose="020B0604020202020204" pitchFamily="34" charset="0"/>
              </a:rPr>
              <a:t>Partition Key Storage Limits</a:t>
            </a:r>
          </a:p>
        </p:txBody>
      </p:sp>
      <p:sp>
        <p:nvSpPr>
          <p:cNvPr id="61" name="TextBox 60">
            <a:extLst>
              <a:ext uri="{FF2B5EF4-FFF2-40B4-BE49-F238E27FC236}">
                <a16:creationId xmlns:a16="http://schemas.microsoft.com/office/drawing/2014/main" id="{C91B19D6-4FDA-4322-9184-B356C05FFE8F}"/>
              </a:ext>
            </a:extLst>
          </p:cNvPr>
          <p:cNvSpPr txBox="1"/>
          <p:nvPr/>
        </p:nvSpPr>
        <p:spPr>
          <a:xfrm>
            <a:off x="9827845" y="1089976"/>
            <a:ext cx="858454" cy="350865"/>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70AD47"/>
                </a:solidFill>
                <a:effectLst/>
                <a:uLnTx/>
                <a:uFillTx/>
                <a:latin typeface="Calibri" panose="020F0502020204030204"/>
                <a:ea typeface="+mn-ea"/>
                <a:cs typeface="+mn-cs"/>
              </a:rPr>
              <a:t>HTTP 403</a:t>
            </a:r>
          </a:p>
        </p:txBody>
      </p:sp>
      <p:cxnSp>
        <p:nvCxnSpPr>
          <p:cNvPr id="65" name="Connector: Curved 53">
            <a:extLst>
              <a:ext uri="{FF2B5EF4-FFF2-40B4-BE49-F238E27FC236}">
                <a16:creationId xmlns:a16="http://schemas.microsoft.com/office/drawing/2014/main" id="{64756FDD-75BD-42D3-BBB8-49AB3796F03B}"/>
              </a:ext>
            </a:extLst>
          </p:cNvPr>
          <p:cNvCxnSpPr>
            <a:cxnSpLocks/>
          </p:cNvCxnSpPr>
          <p:nvPr/>
        </p:nvCxnSpPr>
        <p:spPr>
          <a:xfrm>
            <a:off x="10257072" y="1498742"/>
            <a:ext cx="0" cy="475930"/>
          </a:xfrm>
          <a:prstGeom prst="straightConnector1">
            <a:avLst/>
          </a:prstGeom>
          <a:ln w="19050">
            <a:headEnd type="none" w="med" len="med"/>
            <a:tailEnd type="triangle" w="med" len="med"/>
          </a:ln>
        </p:spPr>
        <p:style>
          <a:lnRef idx="1">
            <a:schemeClr val="accent6"/>
          </a:lnRef>
          <a:fillRef idx="0">
            <a:schemeClr val="accent6"/>
          </a:fillRef>
          <a:effectRef idx="0">
            <a:schemeClr val="accent6"/>
          </a:effectRef>
          <a:fontRef idx="minor">
            <a:schemeClr val="tx1"/>
          </a:fontRef>
        </p:style>
      </p:cxnSp>
      <p:sp>
        <p:nvSpPr>
          <p:cNvPr id="97" name="Rectangle 96">
            <a:extLst>
              <a:ext uri="{FF2B5EF4-FFF2-40B4-BE49-F238E27FC236}">
                <a16:creationId xmlns:a16="http://schemas.microsoft.com/office/drawing/2014/main" id="{AFAE4E3E-7AB8-48C5-A440-40724FD1441C}"/>
              </a:ext>
            </a:extLst>
          </p:cNvPr>
          <p:cNvSpPr/>
          <p:nvPr/>
        </p:nvSpPr>
        <p:spPr bwMode="auto">
          <a:xfrm>
            <a:off x="8648539" y="1428626"/>
            <a:ext cx="2205690" cy="4000748"/>
          </a:xfrm>
          <a:prstGeom prst="rect">
            <a:avLst/>
          </a:prstGeom>
          <a:noFill/>
          <a:ln>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grpSp>
        <p:nvGrpSpPr>
          <p:cNvPr id="98" name="Group 97">
            <a:extLst>
              <a:ext uri="{FF2B5EF4-FFF2-40B4-BE49-F238E27FC236}">
                <a16:creationId xmlns:a16="http://schemas.microsoft.com/office/drawing/2014/main" id="{3FAB2C35-F1DF-4D5B-9E7E-56AE3BD38177}"/>
              </a:ext>
            </a:extLst>
          </p:cNvPr>
          <p:cNvGrpSpPr>
            <a:grpSpLocks noChangeAspect="1"/>
          </p:cNvGrpSpPr>
          <p:nvPr/>
        </p:nvGrpSpPr>
        <p:grpSpPr>
          <a:xfrm>
            <a:off x="8891723" y="4992232"/>
            <a:ext cx="350654" cy="302239"/>
            <a:chOff x="9192685" y="1928657"/>
            <a:chExt cx="644698" cy="555680"/>
          </a:xfrm>
        </p:grpSpPr>
        <p:sp>
          <p:nvSpPr>
            <p:cNvPr id="99" name="Star: 4 Points 8">
              <a:extLst>
                <a:ext uri="{FF2B5EF4-FFF2-40B4-BE49-F238E27FC236}">
                  <a16:creationId xmlns:a16="http://schemas.microsoft.com/office/drawing/2014/main" id="{82098332-BD80-4B7E-8FD3-6E55F995CC21}"/>
                </a:ext>
              </a:extLst>
            </p:cNvPr>
            <p:cNvSpPr/>
            <p:nvPr/>
          </p:nvSpPr>
          <p:spPr bwMode="auto">
            <a:xfrm>
              <a:off x="9194898" y="1928657"/>
              <a:ext cx="180361" cy="180360"/>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00" name="Star: 4 Points 8">
              <a:extLst>
                <a:ext uri="{FF2B5EF4-FFF2-40B4-BE49-F238E27FC236}">
                  <a16:creationId xmlns:a16="http://schemas.microsoft.com/office/drawing/2014/main" id="{726BE0FC-A955-49A1-B73D-E58CC94303A3}"/>
                </a:ext>
              </a:extLst>
            </p:cNvPr>
            <p:cNvSpPr/>
            <p:nvPr/>
          </p:nvSpPr>
          <p:spPr bwMode="auto">
            <a:xfrm>
              <a:off x="9678078" y="2401294"/>
              <a:ext cx="83044" cy="83043"/>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01" name="Oval 100">
              <a:extLst>
                <a:ext uri="{FF2B5EF4-FFF2-40B4-BE49-F238E27FC236}">
                  <a16:creationId xmlns:a16="http://schemas.microsoft.com/office/drawing/2014/main" id="{C314D41A-B344-43A1-A3B4-D7792F6A19E5}"/>
                </a:ext>
              </a:extLst>
            </p:cNvPr>
            <p:cNvSpPr/>
            <p:nvPr/>
          </p:nvSpPr>
          <p:spPr bwMode="auto">
            <a:xfrm>
              <a:off x="9310549" y="2033583"/>
              <a:ext cx="399213" cy="39921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02" name="Oval 9">
              <a:extLst>
                <a:ext uri="{FF2B5EF4-FFF2-40B4-BE49-F238E27FC236}">
                  <a16:creationId xmlns:a16="http://schemas.microsoft.com/office/drawing/2014/main" id="{49363836-711D-4AD8-B20E-70F5CE636842}"/>
                </a:ext>
              </a:extLst>
            </p:cNvPr>
            <p:cNvSpPr/>
            <p:nvPr/>
          </p:nvSpPr>
          <p:spPr bwMode="auto">
            <a:xfrm rot="19667957">
              <a:off x="9192685" y="2144545"/>
              <a:ext cx="644698" cy="194050"/>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grpSp>
      <p:sp>
        <p:nvSpPr>
          <p:cNvPr id="103" name="Cylinder 513">
            <a:extLst>
              <a:ext uri="{FF2B5EF4-FFF2-40B4-BE49-F238E27FC236}">
                <a16:creationId xmlns:a16="http://schemas.microsoft.com/office/drawing/2014/main" id="{9D435F80-E94B-415D-947A-16CD0819C98B}"/>
              </a:ext>
            </a:extLst>
          </p:cNvPr>
          <p:cNvSpPr/>
          <p:nvPr/>
        </p:nvSpPr>
        <p:spPr bwMode="auto">
          <a:xfrm>
            <a:off x="8734903" y="3150674"/>
            <a:ext cx="441854" cy="58048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44546A"/>
              </a:solidFill>
              <a:effectLst/>
              <a:uLnTx/>
              <a:uFillTx/>
              <a:latin typeface="Calibri Light" panose="020F0302020204030204"/>
              <a:ea typeface="Segoe UI" pitchFamily="34" charset="0"/>
              <a:cs typeface="Arial" panose="020B0604020202020204" pitchFamily="34" charset="0"/>
            </a:endParaRPr>
          </a:p>
        </p:txBody>
      </p:sp>
      <p:cxnSp>
        <p:nvCxnSpPr>
          <p:cNvPr id="104" name="Straight Arrow Connector 103">
            <a:extLst>
              <a:ext uri="{FF2B5EF4-FFF2-40B4-BE49-F238E27FC236}">
                <a16:creationId xmlns:a16="http://schemas.microsoft.com/office/drawing/2014/main" id="{14D1F247-3D85-40C7-B9F0-2435C6180EB3}"/>
              </a:ext>
            </a:extLst>
          </p:cNvPr>
          <p:cNvCxnSpPr>
            <a:cxnSpLocks/>
          </p:cNvCxnSpPr>
          <p:nvPr/>
        </p:nvCxnSpPr>
        <p:spPr>
          <a:xfrm>
            <a:off x="7856342" y="3428998"/>
            <a:ext cx="637459" cy="0"/>
          </a:xfrm>
          <a:prstGeom prst="straightConnector1">
            <a:avLst/>
          </a:prstGeom>
          <a:noFill/>
          <a:ln w="19050" cap="sq">
            <a:solidFill>
              <a:schemeClr val="bg1">
                <a:lumMod val="50000"/>
              </a:schemeClr>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5" name="Group 104">
            <a:extLst>
              <a:ext uri="{FF2B5EF4-FFF2-40B4-BE49-F238E27FC236}">
                <a16:creationId xmlns:a16="http://schemas.microsoft.com/office/drawing/2014/main" id="{A23C0DB7-E434-4863-B400-DC11B5916B13}"/>
              </a:ext>
            </a:extLst>
          </p:cNvPr>
          <p:cNvGrpSpPr/>
          <p:nvPr/>
        </p:nvGrpSpPr>
        <p:grpSpPr>
          <a:xfrm>
            <a:off x="10062703" y="3245507"/>
            <a:ext cx="402639" cy="361217"/>
            <a:chOff x="1275510" y="6072184"/>
            <a:chExt cx="508602" cy="456278"/>
          </a:xfrm>
        </p:grpSpPr>
        <p:grpSp>
          <p:nvGrpSpPr>
            <p:cNvPr id="106" name="Group 105">
              <a:extLst>
                <a:ext uri="{FF2B5EF4-FFF2-40B4-BE49-F238E27FC236}">
                  <a16:creationId xmlns:a16="http://schemas.microsoft.com/office/drawing/2014/main" id="{694FBAB0-A64E-419D-929A-DC7A83E5C7FB}"/>
                </a:ext>
              </a:extLst>
            </p:cNvPr>
            <p:cNvGrpSpPr/>
            <p:nvPr/>
          </p:nvGrpSpPr>
          <p:grpSpPr>
            <a:xfrm>
              <a:off x="1275510" y="6224570"/>
              <a:ext cx="508602" cy="151498"/>
              <a:chOff x="551886" y="4945335"/>
              <a:chExt cx="508602" cy="151498"/>
            </a:xfrm>
          </p:grpSpPr>
          <p:sp>
            <p:nvSpPr>
              <p:cNvPr id="115" name="Rectangle 114">
                <a:extLst>
                  <a:ext uri="{FF2B5EF4-FFF2-40B4-BE49-F238E27FC236}">
                    <a16:creationId xmlns:a16="http://schemas.microsoft.com/office/drawing/2014/main" id="{BFD24178-7F16-4D8F-AD39-AD39B4C93A89}"/>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16" name="Oval 115">
                <a:extLst>
                  <a:ext uri="{FF2B5EF4-FFF2-40B4-BE49-F238E27FC236}">
                    <a16:creationId xmlns:a16="http://schemas.microsoft.com/office/drawing/2014/main" id="{0C6AA945-0E25-4C92-AAC7-04B43A467588}"/>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117" name="Straight Connector 116">
                <a:extLst>
                  <a:ext uri="{FF2B5EF4-FFF2-40B4-BE49-F238E27FC236}">
                    <a16:creationId xmlns:a16="http://schemas.microsoft.com/office/drawing/2014/main" id="{FD4250E0-105C-4EB8-B50A-30ECD183DBAD}"/>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E1F62B2C-2DCA-4BD1-BF40-0CFA3D6F5FC3}"/>
                </a:ext>
              </a:extLst>
            </p:cNvPr>
            <p:cNvGrpSpPr/>
            <p:nvPr/>
          </p:nvGrpSpPr>
          <p:grpSpPr>
            <a:xfrm>
              <a:off x="1275510" y="6376964"/>
              <a:ext cx="508602" cy="151498"/>
              <a:chOff x="551886" y="4945335"/>
              <a:chExt cx="508602" cy="151498"/>
            </a:xfrm>
          </p:grpSpPr>
          <p:sp>
            <p:nvSpPr>
              <p:cNvPr id="112" name="Rectangle 111">
                <a:extLst>
                  <a:ext uri="{FF2B5EF4-FFF2-40B4-BE49-F238E27FC236}">
                    <a16:creationId xmlns:a16="http://schemas.microsoft.com/office/drawing/2014/main" id="{3B520273-BC78-4F06-8DFC-B11CC19EAE47}"/>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13" name="Oval 112">
                <a:extLst>
                  <a:ext uri="{FF2B5EF4-FFF2-40B4-BE49-F238E27FC236}">
                    <a16:creationId xmlns:a16="http://schemas.microsoft.com/office/drawing/2014/main" id="{692950EC-BC60-4A78-B06D-019BF8AAF39B}"/>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114" name="Straight Connector 113">
                <a:extLst>
                  <a:ext uri="{FF2B5EF4-FFF2-40B4-BE49-F238E27FC236}">
                    <a16:creationId xmlns:a16="http://schemas.microsoft.com/office/drawing/2014/main" id="{9EA0AF36-65AB-4C72-ADD2-5A5115AA6D2E}"/>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8" name="Group 107">
              <a:extLst>
                <a:ext uri="{FF2B5EF4-FFF2-40B4-BE49-F238E27FC236}">
                  <a16:creationId xmlns:a16="http://schemas.microsoft.com/office/drawing/2014/main" id="{68969A98-A252-4A0A-8918-A1F6BEC582C4}"/>
                </a:ext>
              </a:extLst>
            </p:cNvPr>
            <p:cNvGrpSpPr/>
            <p:nvPr/>
          </p:nvGrpSpPr>
          <p:grpSpPr>
            <a:xfrm>
              <a:off x="1275510" y="6072184"/>
              <a:ext cx="508602" cy="151498"/>
              <a:chOff x="551886" y="4945335"/>
              <a:chExt cx="508602" cy="151498"/>
            </a:xfrm>
          </p:grpSpPr>
          <p:sp>
            <p:nvSpPr>
              <p:cNvPr id="109" name="Rectangle 108">
                <a:extLst>
                  <a:ext uri="{FF2B5EF4-FFF2-40B4-BE49-F238E27FC236}">
                    <a16:creationId xmlns:a16="http://schemas.microsoft.com/office/drawing/2014/main" id="{953A079B-5F53-44A4-AC11-E4E53F83C807}"/>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10" name="Oval 109">
                <a:extLst>
                  <a:ext uri="{FF2B5EF4-FFF2-40B4-BE49-F238E27FC236}">
                    <a16:creationId xmlns:a16="http://schemas.microsoft.com/office/drawing/2014/main" id="{62A1371A-107E-4995-8090-843150414F7B}"/>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111" name="Straight Connector 110">
                <a:extLst>
                  <a:ext uri="{FF2B5EF4-FFF2-40B4-BE49-F238E27FC236}">
                    <a16:creationId xmlns:a16="http://schemas.microsoft.com/office/drawing/2014/main" id="{D9143310-920B-4667-8ECF-82267FFB65CB}"/>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18" name="Group 117">
            <a:extLst>
              <a:ext uri="{FF2B5EF4-FFF2-40B4-BE49-F238E27FC236}">
                <a16:creationId xmlns:a16="http://schemas.microsoft.com/office/drawing/2014/main" id="{CEDADDF1-6030-4C42-A612-08F79DA408E8}"/>
              </a:ext>
            </a:extLst>
          </p:cNvPr>
          <p:cNvGrpSpPr/>
          <p:nvPr/>
        </p:nvGrpSpPr>
        <p:grpSpPr>
          <a:xfrm>
            <a:off x="10059235" y="4171297"/>
            <a:ext cx="402639" cy="361217"/>
            <a:chOff x="1275510" y="6072184"/>
            <a:chExt cx="508602" cy="456278"/>
          </a:xfrm>
        </p:grpSpPr>
        <p:grpSp>
          <p:nvGrpSpPr>
            <p:cNvPr id="119" name="Group 118">
              <a:extLst>
                <a:ext uri="{FF2B5EF4-FFF2-40B4-BE49-F238E27FC236}">
                  <a16:creationId xmlns:a16="http://schemas.microsoft.com/office/drawing/2014/main" id="{9C107AE3-0627-4F01-B980-C1838921B834}"/>
                </a:ext>
              </a:extLst>
            </p:cNvPr>
            <p:cNvGrpSpPr/>
            <p:nvPr/>
          </p:nvGrpSpPr>
          <p:grpSpPr>
            <a:xfrm>
              <a:off x="1275510" y="6224570"/>
              <a:ext cx="508602" cy="151498"/>
              <a:chOff x="551886" y="4945335"/>
              <a:chExt cx="508602" cy="151498"/>
            </a:xfrm>
          </p:grpSpPr>
          <p:sp>
            <p:nvSpPr>
              <p:cNvPr id="128" name="Rectangle 127">
                <a:extLst>
                  <a:ext uri="{FF2B5EF4-FFF2-40B4-BE49-F238E27FC236}">
                    <a16:creationId xmlns:a16="http://schemas.microsoft.com/office/drawing/2014/main" id="{28F10163-6626-4E12-B5E4-07B2BD4F1B0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29" name="Oval 128">
                <a:extLst>
                  <a:ext uri="{FF2B5EF4-FFF2-40B4-BE49-F238E27FC236}">
                    <a16:creationId xmlns:a16="http://schemas.microsoft.com/office/drawing/2014/main" id="{A719B4CB-6323-4083-827D-A8C6ED9CA834}"/>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130" name="Straight Connector 129">
                <a:extLst>
                  <a:ext uri="{FF2B5EF4-FFF2-40B4-BE49-F238E27FC236}">
                    <a16:creationId xmlns:a16="http://schemas.microsoft.com/office/drawing/2014/main" id="{CF5E4846-3AF1-44D4-8E08-ACD1ED2FD38F}"/>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C2F6712E-5D8E-4268-A946-19B4E3C31CA4}"/>
                </a:ext>
              </a:extLst>
            </p:cNvPr>
            <p:cNvGrpSpPr/>
            <p:nvPr/>
          </p:nvGrpSpPr>
          <p:grpSpPr>
            <a:xfrm>
              <a:off x="1275510" y="6376964"/>
              <a:ext cx="508602" cy="151498"/>
              <a:chOff x="551886" y="4945335"/>
              <a:chExt cx="508602" cy="151498"/>
            </a:xfrm>
          </p:grpSpPr>
          <p:sp>
            <p:nvSpPr>
              <p:cNvPr id="125" name="Rectangle 124">
                <a:extLst>
                  <a:ext uri="{FF2B5EF4-FFF2-40B4-BE49-F238E27FC236}">
                    <a16:creationId xmlns:a16="http://schemas.microsoft.com/office/drawing/2014/main" id="{376A6498-D0F0-4B3B-9EF4-D9EB5A10C20C}"/>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26" name="Oval 125">
                <a:extLst>
                  <a:ext uri="{FF2B5EF4-FFF2-40B4-BE49-F238E27FC236}">
                    <a16:creationId xmlns:a16="http://schemas.microsoft.com/office/drawing/2014/main" id="{EF0B40CA-A082-450A-93EE-404E3B32F8A2}"/>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127" name="Straight Connector 126">
                <a:extLst>
                  <a:ext uri="{FF2B5EF4-FFF2-40B4-BE49-F238E27FC236}">
                    <a16:creationId xmlns:a16="http://schemas.microsoft.com/office/drawing/2014/main" id="{41292C40-58B6-480B-B073-D7E03B58F373}"/>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A9A4AF20-868D-49BA-8811-D0DB3095BF27}"/>
                </a:ext>
              </a:extLst>
            </p:cNvPr>
            <p:cNvGrpSpPr/>
            <p:nvPr/>
          </p:nvGrpSpPr>
          <p:grpSpPr>
            <a:xfrm>
              <a:off x="1275510" y="6072184"/>
              <a:ext cx="508602" cy="151498"/>
              <a:chOff x="551886" y="4945335"/>
              <a:chExt cx="508602" cy="151498"/>
            </a:xfrm>
          </p:grpSpPr>
          <p:sp>
            <p:nvSpPr>
              <p:cNvPr id="122" name="Rectangle 121">
                <a:extLst>
                  <a:ext uri="{FF2B5EF4-FFF2-40B4-BE49-F238E27FC236}">
                    <a16:creationId xmlns:a16="http://schemas.microsoft.com/office/drawing/2014/main" id="{9BD72D17-4E6D-4C84-A050-17B3FB5B9A10}"/>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23" name="Oval 122">
                <a:extLst>
                  <a:ext uri="{FF2B5EF4-FFF2-40B4-BE49-F238E27FC236}">
                    <a16:creationId xmlns:a16="http://schemas.microsoft.com/office/drawing/2014/main" id="{32646713-3363-4C84-ABA4-5DDDEEED4E82}"/>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124" name="Straight Connector 123">
                <a:extLst>
                  <a:ext uri="{FF2B5EF4-FFF2-40B4-BE49-F238E27FC236}">
                    <a16:creationId xmlns:a16="http://schemas.microsoft.com/office/drawing/2014/main" id="{D319FEA7-EC19-485E-B6B8-B72435A4C357}"/>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1" name="Group 130">
            <a:extLst>
              <a:ext uri="{FF2B5EF4-FFF2-40B4-BE49-F238E27FC236}">
                <a16:creationId xmlns:a16="http://schemas.microsoft.com/office/drawing/2014/main" id="{91B81903-9802-4199-8E4D-D4F4D3D4733E}"/>
              </a:ext>
            </a:extLst>
          </p:cNvPr>
          <p:cNvGrpSpPr/>
          <p:nvPr/>
        </p:nvGrpSpPr>
        <p:grpSpPr>
          <a:xfrm>
            <a:off x="10068572" y="2208455"/>
            <a:ext cx="402639" cy="361217"/>
            <a:chOff x="1275510" y="6072184"/>
            <a:chExt cx="508602" cy="456278"/>
          </a:xfrm>
        </p:grpSpPr>
        <p:grpSp>
          <p:nvGrpSpPr>
            <p:cNvPr id="132" name="Group 131">
              <a:extLst>
                <a:ext uri="{FF2B5EF4-FFF2-40B4-BE49-F238E27FC236}">
                  <a16:creationId xmlns:a16="http://schemas.microsoft.com/office/drawing/2014/main" id="{27CD5C18-02F6-4747-B5B5-F6ADBD4580A8}"/>
                </a:ext>
              </a:extLst>
            </p:cNvPr>
            <p:cNvGrpSpPr/>
            <p:nvPr/>
          </p:nvGrpSpPr>
          <p:grpSpPr>
            <a:xfrm>
              <a:off x="1275510" y="6224570"/>
              <a:ext cx="508602" cy="151498"/>
              <a:chOff x="551886" y="4945335"/>
              <a:chExt cx="508602" cy="151498"/>
            </a:xfrm>
          </p:grpSpPr>
          <p:sp>
            <p:nvSpPr>
              <p:cNvPr id="141" name="Rectangle 140">
                <a:extLst>
                  <a:ext uri="{FF2B5EF4-FFF2-40B4-BE49-F238E27FC236}">
                    <a16:creationId xmlns:a16="http://schemas.microsoft.com/office/drawing/2014/main" id="{F0AFF35B-7E02-4C71-9ACC-7448510C38E5}"/>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42" name="Oval 141">
                <a:extLst>
                  <a:ext uri="{FF2B5EF4-FFF2-40B4-BE49-F238E27FC236}">
                    <a16:creationId xmlns:a16="http://schemas.microsoft.com/office/drawing/2014/main" id="{2FB32FA3-6932-4B4B-86D0-F43846B21E97}"/>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143" name="Straight Connector 142">
                <a:extLst>
                  <a:ext uri="{FF2B5EF4-FFF2-40B4-BE49-F238E27FC236}">
                    <a16:creationId xmlns:a16="http://schemas.microsoft.com/office/drawing/2014/main" id="{95C40FE1-BE2C-42D7-A6CD-154D1E7E0DEC}"/>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3" name="Group 132">
              <a:extLst>
                <a:ext uri="{FF2B5EF4-FFF2-40B4-BE49-F238E27FC236}">
                  <a16:creationId xmlns:a16="http://schemas.microsoft.com/office/drawing/2014/main" id="{0F449271-8831-4E49-89FC-F5021BA932DA}"/>
                </a:ext>
              </a:extLst>
            </p:cNvPr>
            <p:cNvGrpSpPr/>
            <p:nvPr/>
          </p:nvGrpSpPr>
          <p:grpSpPr>
            <a:xfrm>
              <a:off x="1275510" y="6376964"/>
              <a:ext cx="508602" cy="151498"/>
              <a:chOff x="551886" y="4945335"/>
              <a:chExt cx="508602" cy="151498"/>
            </a:xfrm>
          </p:grpSpPr>
          <p:sp>
            <p:nvSpPr>
              <p:cNvPr id="138" name="Rectangle 137">
                <a:extLst>
                  <a:ext uri="{FF2B5EF4-FFF2-40B4-BE49-F238E27FC236}">
                    <a16:creationId xmlns:a16="http://schemas.microsoft.com/office/drawing/2014/main" id="{07B05DEE-D328-4689-86A5-FEBA65F7004C}"/>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39" name="Oval 138">
                <a:extLst>
                  <a:ext uri="{FF2B5EF4-FFF2-40B4-BE49-F238E27FC236}">
                    <a16:creationId xmlns:a16="http://schemas.microsoft.com/office/drawing/2014/main" id="{B423F963-AD49-4906-80C8-98C5266977CC}"/>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140" name="Straight Connector 139">
                <a:extLst>
                  <a:ext uri="{FF2B5EF4-FFF2-40B4-BE49-F238E27FC236}">
                    <a16:creationId xmlns:a16="http://schemas.microsoft.com/office/drawing/2014/main" id="{E683F13A-09A7-40D6-BEB7-F84AFF74F44D}"/>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4" name="Group 133">
              <a:extLst>
                <a:ext uri="{FF2B5EF4-FFF2-40B4-BE49-F238E27FC236}">
                  <a16:creationId xmlns:a16="http://schemas.microsoft.com/office/drawing/2014/main" id="{CD79CC18-1400-487C-A5EB-D751023B172E}"/>
                </a:ext>
              </a:extLst>
            </p:cNvPr>
            <p:cNvGrpSpPr/>
            <p:nvPr/>
          </p:nvGrpSpPr>
          <p:grpSpPr>
            <a:xfrm>
              <a:off x="1275510" y="6072184"/>
              <a:ext cx="508602" cy="151498"/>
              <a:chOff x="551886" y="4945335"/>
              <a:chExt cx="508602" cy="151498"/>
            </a:xfrm>
          </p:grpSpPr>
          <p:sp>
            <p:nvSpPr>
              <p:cNvPr id="135" name="Rectangle 134">
                <a:extLst>
                  <a:ext uri="{FF2B5EF4-FFF2-40B4-BE49-F238E27FC236}">
                    <a16:creationId xmlns:a16="http://schemas.microsoft.com/office/drawing/2014/main" id="{F1A9DD48-53B8-4A97-9015-B20F866C8304}"/>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
            <p:nvSpPr>
              <p:cNvPr id="136" name="Oval 135">
                <a:extLst>
                  <a:ext uri="{FF2B5EF4-FFF2-40B4-BE49-F238E27FC236}">
                    <a16:creationId xmlns:a16="http://schemas.microsoft.com/office/drawing/2014/main" id="{1C7FBADF-C503-485D-8CFB-5E5302E26579}"/>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cxnSp>
            <p:nvCxnSpPr>
              <p:cNvPr id="137" name="Straight Connector 136">
                <a:extLst>
                  <a:ext uri="{FF2B5EF4-FFF2-40B4-BE49-F238E27FC236}">
                    <a16:creationId xmlns:a16="http://schemas.microsoft.com/office/drawing/2014/main" id="{0C60A9CA-EFFF-47AD-8F38-70B82D4734C8}"/>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44" name="Group 143">
            <a:extLst>
              <a:ext uri="{FF2B5EF4-FFF2-40B4-BE49-F238E27FC236}">
                <a16:creationId xmlns:a16="http://schemas.microsoft.com/office/drawing/2014/main" id="{A69894A4-9CEB-4F03-9D48-58BED7ED2C0B}"/>
              </a:ext>
            </a:extLst>
          </p:cNvPr>
          <p:cNvGrpSpPr/>
          <p:nvPr/>
        </p:nvGrpSpPr>
        <p:grpSpPr>
          <a:xfrm>
            <a:off x="7110192" y="3221771"/>
            <a:ext cx="549222" cy="424360"/>
            <a:chOff x="7203621" y="2226683"/>
            <a:chExt cx="482317" cy="372664"/>
          </a:xfrm>
        </p:grpSpPr>
        <p:grpSp>
          <p:nvGrpSpPr>
            <p:cNvPr id="145" name="Group 144">
              <a:extLst>
                <a:ext uri="{FF2B5EF4-FFF2-40B4-BE49-F238E27FC236}">
                  <a16:creationId xmlns:a16="http://schemas.microsoft.com/office/drawing/2014/main" id="{BE21CC1F-5DBC-4045-A066-AD6D11D642C4}"/>
                </a:ext>
              </a:extLst>
            </p:cNvPr>
            <p:cNvGrpSpPr/>
            <p:nvPr/>
          </p:nvGrpSpPr>
          <p:grpSpPr>
            <a:xfrm>
              <a:off x="7203621" y="2226683"/>
              <a:ext cx="482317" cy="372664"/>
              <a:chOff x="2107244" y="1575258"/>
              <a:chExt cx="310993" cy="343365"/>
            </a:xfrm>
            <a:noFill/>
          </p:grpSpPr>
          <p:sp>
            <p:nvSpPr>
              <p:cNvPr id="150" name="Rectangle 9">
                <a:extLst>
                  <a:ext uri="{FF2B5EF4-FFF2-40B4-BE49-F238E27FC236}">
                    <a16:creationId xmlns:a16="http://schemas.microsoft.com/office/drawing/2014/main" id="{B1B70D5C-9D25-402A-8130-5449B4FB910A}"/>
                  </a:ext>
                </a:extLst>
              </p:cNvPr>
              <p:cNvSpPr>
                <a:spLocks noChangeArrowheads="1"/>
              </p:cNvSpPr>
              <p:nvPr/>
            </p:nvSpPr>
            <p:spPr bwMode="auto">
              <a:xfrm>
                <a:off x="2107244" y="1575258"/>
                <a:ext cx="310993" cy="343365"/>
              </a:xfrm>
              <a:prstGeom prst="rect">
                <a:avLst/>
              </a:prstGeom>
              <a:solidFill>
                <a:srgbClr val="FFFFFF"/>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panose="020B0604020202020204" pitchFamily="34" charset="0"/>
                  <a:ea typeface="+mn-ea"/>
                  <a:cs typeface="+mn-cs"/>
                </a:endParaRPr>
              </a:p>
            </p:txBody>
          </p:sp>
          <p:sp>
            <p:nvSpPr>
              <p:cNvPr id="151" name="Line 10">
                <a:extLst>
                  <a:ext uri="{FF2B5EF4-FFF2-40B4-BE49-F238E27FC236}">
                    <a16:creationId xmlns:a16="http://schemas.microsoft.com/office/drawing/2014/main" id="{85DF50A4-48CF-4905-B4E4-DCE2B7E6C556}"/>
                  </a:ext>
                </a:extLst>
              </p:cNvPr>
              <p:cNvSpPr>
                <a:spLocks noChangeShapeType="1"/>
              </p:cNvSpPr>
              <p:nvPr/>
            </p:nvSpPr>
            <p:spPr bwMode="auto">
              <a:xfrm flipH="1">
                <a:off x="2107244" y="1647026"/>
                <a:ext cx="310993" cy="0"/>
              </a:xfrm>
              <a:prstGeom prst="line">
                <a:avLst/>
              </a:prstGeom>
              <a:grp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panose="020B0604020202020204" pitchFamily="34" charset="0"/>
                  <a:ea typeface="+mn-ea"/>
                  <a:cs typeface="+mn-cs"/>
                </a:endParaRPr>
              </a:p>
            </p:txBody>
          </p:sp>
        </p:grpSp>
        <p:grpSp>
          <p:nvGrpSpPr>
            <p:cNvPr id="146" name="Group 145">
              <a:extLst>
                <a:ext uri="{FF2B5EF4-FFF2-40B4-BE49-F238E27FC236}">
                  <a16:creationId xmlns:a16="http://schemas.microsoft.com/office/drawing/2014/main" id="{E8ABCB99-AE5C-487C-B6F7-7FB5D8271CD8}"/>
                </a:ext>
              </a:extLst>
            </p:cNvPr>
            <p:cNvGrpSpPr/>
            <p:nvPr/>
          </p:nvGrpSpPr>
          <p:grpSpPr>
            <a:xfrm>
              <a:off x="7543900" y="2252646"/>
              <a:ext cx="103855" cy="25964"/>
              <a:chOff x="2287367" y="1599181"/>
              <a:chExt cx="95690" cy="23923"/>
            </a:xfrm>
            <a:noFill/>
          </p:grpSpPr>
          <p:sp>
            <p:nvSpPr>
              <p:cNvPr id="147" name="Oval 11">
                <a:extLst>
                  <a:ext uri="{FF2B5EF4-FFF2-40B4-BE49-F238E27FC236}">
                    <a16:creationId xmlns:a16="http://schemas.microsoft.com/office/drawing/2014/main" id="{FA95B7DB-B72F-4E8F-B095-B8F47B4B989B}"/>
                  </a:ext>
                </a:extLst>
              </p:cNvPr>
              <p:cNvSpPr>
                <a:spLocks noChangeArrowheads="1"/>
              </p:cNvSpPr>
              <p:nvPr/>
            </p:nvSpPr>
            <p:spPr bwMode="auto">
              <a:xfrm>
                <a:off x="2287367" y="1599181"/>
                <a:ext cx="23923" cy="23923"/>
              </a:xfrm>
              <a:prstGeom prst="ellipse">
                <a:avLst/>
              </a:prstGeom>
              <a:grpFill/>
              <a:ln w="1270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panose="020B0604020202020204" pitchFamily="34" charset="0"/>
                  <a:ea typeface="+mn-ea"/>
                  <a:cs typeface="+mn-cs"/>
                </a:endParaRPr>
              </a:p>
            </p:txBody>
          </p:sp>
          <p:sp>
            <p:nvSpPr>
              <p:cNvPr id="148" name="Oval 12">
                <a:extLst>
                  <a:ext uri="{FF2B5EF4-FFF2-40B4-BE49-F238E27FC236}">
                    <a16:creationId xmlns:a16="http://schemas.microsoft.com/office/drawing/2014/main" id="{E1A2F716-4FD4-4539-AE1B-D65CCAF65A28}"/>
                  </a:ext>
                </a:extLst>
              </p:cNvPr>
              <p:cNvSpPr>
                <a:spLocks noChangeArrowheads="1"/>
              </p:cNvSpPr>
              <p:nvPr/>
            </p:nvSpPr>
            <p:spPr bwMode="auto">
              <a:xfrm>
                <a:off x="2323908" y="1599181"/>
                <a:ext cx="23923" cy="23923"/>
              </a:xfrm>
              <a:prstGeom prst="ellipse">
                <a:avLst/>
              </a:prstGeom>
              <a:grpFill/>
              <a:ln w="1270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panose="020B0604020202020204" pitchFamily="34" charset="0"/>
                  <a:ea typeface="+mn-ea"/>
                  <a:cs typeface="+mn-cs"/>
                </a:endParaRPr>
              </a:p>
            </p:txBody>
          </p:sp>
          <p:sp>
            <p:nvSpPr>
              <p:cNvPr id="149" name="Oval 13">
                <a:extLst>
                  <a:ext uri="{FF2B5EF4-FFF2-40B4-BE49-F238E27FC236}">
                    <a16:creationId xmlns:a16="http://schemas.microsoft.com/office/drawing/2014/main" id="{C5B24519-511B-4ADE-913F-CC10BD9DFD68}"/>
                  </a:ext>
                </a:extLst>
              </p:cNvPr>
              <p:cNvSpPr>
                <a:spLocks noChangeArrowheads="1"/>
              </p:cNvSpPr>
              <p:nvPr/>
            </p:nvSpPr>
            <p:spPr bwMode="auto">
              <a:xfrm>
                <a:off x="2359134" y="1599181"/>
                <a:ext cx="23923" cy="23923"/>
              </a:xfrm>
              <a:prstGeom prst="ellipse">
                <a:avLst/>
              </a:prstGeom>
              <a:grpFill/>
              <a:ln w="1270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panose="020B0604020202020204" pitchFamily="34" charset="0"/>
                  <a:ea typeface="+mn-ea"/>
                  <a:cs typeface="+mn-cs"/>
                </a:endParaRPr>
              </a:p>
            </p:txBody>
          </p:sp>
        </p:grpSp>
      </p:grpSp>
      <p:sp>
        <p:nvSpPr>
          <p:cNvPr id="152" name="Left Brace 151">
            <a:extLst>
              <a:ext uri="{FF2B5EF4-FFF2-40B4-BE49-F238E27FC236}">
                <a16:creationId xmlns:a16="http://schemas.microsoft.com/office/drawing/2014/main" id="{0E4AE87C-7DA0-488A-B48B-57996CCF2905}"/>
              </a:ext>
            </a:extLst>
          </p:cNvPr>
          <p:cNvSpPr/>
          <p:nvPr/>
        </p:nvSpPr>
        <p:spPr>
          <a:xfrm>
            <a:off x="9459100" y="2026275"/>
            <a:ext cx="226454" cy="2797444"/>
          </a:xfrm>
          <a:prstGeom prst="leftBrac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7DAC9BC9-A8FA-4959-A2B5-E74B85F9B9D1}"/>
              </a:ext>
            </a:extLst>
          </p:cNvPr>
          <p:cNvSpPr/>
          <p:nvPr/>
        </p:nvSpPr>
        <p:spPr bwMode="auto">
          <a:xfrm>
            <a:off x="9944100" y="2139950"/>
            <a:ext cx="634996" cy="508831"/>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Arial" panose="020B0604020202020204" pitchFamily="34" charset="0"/>
            </a:endParaRPr>
          </a:p>
        </p:txBody>
      </p:sp>
    </p:spTree>
    <p:extLst>
      <p:ext uri="{BB962C8B-B14F-4D97-AF65-F5344CB8AC3E}">
        <p14:creationId xmlns:p14="http://schemas.microsoft.com/office/powerpoint/2010/main" val="8132205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40F09F-ADE9-4A93-BCF9-A185A198C1B3}"/>
              </a:ext>
            </a:extLst>
          </p:cNvPr>
          <p:cNvSpPr/>
          <p:nvPr/>
        </p:nvSpPr>
        <p:spPr>
          <a:xfrm>
            <a:off x="5801467" y="3677699"/>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5D9B25BF-D352-4F3C-B219-D07CAAAE7DE8}"/>
              </a:ext>
            </a:extLst>
          </p:cNvPr>
          <p:cNvCxnSpPr>
            <a:cxnSpLocks/>
          </p:cNvCxnSpPr>
          <p:nvPr/>
        </p:nvCxnSpPr>
        <p:spPr>
          <a:xfrm>
            <a:off x="7726663" y="815720"/>
            <a:ext cx="0" cy="5169827"/>
          </a:xfrm>
          <a:prstGeom prst="line">
            <a:avLst/>
          </a:prstGeom>
          <a:noFill/>
          <a:ln w="12700" cap="flat" cmpd="sng" algn="ctr">
            <a:solidFill>
              <a:srgbClr val="0078D4"/>
            </a:solidFill>
            <a:prstDash val="solid"/>
            <a:headEnd type="none"/>
            <a:tailEnd type="none"/>
          </a:ln>
          <a:effectLst/>
        </p:spPr>
      </p:cxnSp>
      <p:cxnSp>
        <p:nvCxnSpPr>
          <p:cNvPr id="6" name="Straight Connector 5">
            <a:extLst>
              <a:ext uri="{FF2B5EF4-FFF2-40B4-BE49-F238E27FC236}">
                <a16:creationId xmlns:a16="http://schemas.microsoft.com/office/drawing/2014/main" id="{AC8F778A-BA61-47B7-841D-319F932A6945}"/>
              </a:ext>
            </a:extLst>
          </p:cNvPr>
          <p:cNvCxnSpPr>
            <a:cxnSpLocks/>
          </p:cNvCxnSpPr>
          <p:nvPr/>
        </p:nvCxnSpPr>
        <p:spPr>
          <a:xfrm flipH="1">
            <a:off x="5328595" y="2124795"/>
            <a:ext cx="4905134" cy="0"/>
          </a:xfrm>
          <a:prstGeom prst="line">
            <a:avLst/>
          </a:prstGeom>
          <a:noFill/>
          <a:ln w="12700" cap="flat" cmpd="sng" algn="ctr">
            <a:solidFill>
              <a:srgbClr val="0078D4"/>
            </a:solidFill>
            <a:prstDash val="solid"/>
            <a:headEnd type="none"/>
            <a:tailEnd type="none"/>
          </a:ln>
          <a:effectLst/>
        </p:spPr>
      </p:cxnSp>
      <p:sp>
        <p:nvSpPr>
          <p:cNvPr id="8" name="TextBox 7">
            <a:extLst>
              <a:ext uri="{FF2B5EF4-FFF2-40B4-BE49-F238E27FC236}">
                <a16:creationId xmlns:a16="http://schemas.microsoft.com/office/drawing/2014/main" id="{695A9BC2-703B-45D8-A969-07DD344BC6D9}"/>
              </a:ext>
            </a:extLst>
          </p:cNvPr>
          <p:cNvSpPr txBox="1"/>
          <p:nvPr/>
        </p:nvSpPr>
        <p:spPr>
          <a:xfrm>
            <a:off x="5416628" y="1009948"/>
            <a:ext cx="2179675" cy="663258"/>
          </a:xfrm>
          <a:prstGeom prst="rect">
            <a:avLst/>
          </a:prstGeom>
          <a:noFill/>
        </p:spPr>
        <p:txBody>
          <a:bodyPr wrap="square">
            <a:spAutoFit/>
          </a:bodyPr>
          <a:lstStyle/>
          <a:p>
            <a:pPr algn="ctr" defTabSz="914225">
              <a:lnSpc>
                <a:spcPct val="107000"/>
              </a:lnSpc>
            </a:pPr>
            <a:r>
              <a:rPr lang="en-US" dirty="0">
                <a:solidFill>
                  <a:schemeClr val="bg2"/>
                </a:solidFill>
                <a:cs typeface="Times New Roman" panose="02020603050405020304" pitchFamily="18" charset="0"/>
              </a:rPr>
              <a:t>Introduction to Azure Cosmos DB</a:t>
            </a:r>
          </a:p>
        </p:txBody>
      </p:sp>
      <p:sp>
        <p:nvSpPr>
          <p:cNvPr id="10" name="TextBox 9">
            <a:extLst>
              <a:ext uri="{FF2B5EF4-FFF2-40B4-BE49-F238E27FC236}">
                <a16:creationId xmlns:a16="http://schemas.microsoft.com/office/drawing/2014/main" id="{0A6CDB6C-1CF5-4AC4-87D3-17C601EB19C9}"/>
              </a:ext>
            </a:extLst>
          </p:cNvPr>
          <p:cNvSpPr txBox="1"/>
          <p:nvPr/>
        </p:nvSpPr>
        <p:spPr>
          <a:xfrm>
            <a:off x="7959582" y="1001432"/>
            <a:ext cx="1984703" cy="959622"/>
          </a:xfrm>
          <a:prstGeom prst="rect">
            <a:avLst/>
          </a:prstGeom>
          <a:noFill/>
        </p:spPr>
        <p:txBody>
          <a:bodyPr wrap="square">
            <a:spAutoFit/>
          </a:bodyPr>
          <a:lstStyle/>
          <a:p>
            <a:pPr algn="ctr" defTabSz="914225">
              <a:lnSpc>
                <a:spcPct val="107000"/>
              </a:lnSpc>
            </a:pPr>
            <a:r>
              <a:rPr lang="en-US" dirty="0">
                <a:solidFill>
                  <a:schemeClr val="bg2"/>
                </a:solidFill>
                <a:cs typeface="Times New Roman" panose="02020603050405020304" pitchFamily="18" charset="0"/>
              </a:rPr>
              <a:t>Use Cases and Customer references</a:t>
            </a:r>
          </a:p>
        </p:txBody>
      </p:sp>
      <p:sp>
        <p:nvSpPr>
          <p:cNvPr id="14" name="TextBox 13">
            <a:extLst>
              <a:ext uri="{FF2B5EF4-FFF2-40B4-BE49-F238E27FC236}">
                <a16:creationId xmlns:a16="http://schemas.microsoft.com/office/drawing/2014/main" id="{9F78472E-FDFF-49B4-8925-26588A7DA86F}"/>
              </a:ext>
            </a:extLst>
          </p:cNvPr>
          <p:cNvSpPr txBox="1"/>
          <p:nvPr/>
        </p:nvSpPr>
        <p:spPr>
          <a:xfrm>
            <a:off x="5518706" y="2308405"/>
            <a:ext cx="2040306" cy="966418"/>
          </a:xfrm>
          <a:prstGeom prst="rect">
            <a:avLst/>
          </a:prstGeom>
          <a:noFill/>
        </p:spPr>
        <p:txBody>
          <a:bodyPr wrap="square">
            <a:spAutoFit/>
          </a:bodyPr>
          <a:lstStyle/>
          <a:p>
            <a:pPr algn="ctr" defTabSz="914225">
              <a:lnSpc>
                <a:spcPct val="107000"/>
              </a:lnSpc>
            </a:pPr>
            <a:r>
              <a:rPr lang="en-US" dirty="0">
                <a:solidFill>
                  <a:schemeClr val="bg2"/>
                </a:solidFill>
                <a:ea typeface="Calibri" panose="020F0502020204030204" pitchFamily="34" charset="0"/>
                <a:cs typeface="Times New Roman" panose="02020603050405020304" pitchFamily="18" charset="0"/>
              </a:rPr>
              <a:t>Demo – Portal, Resource Model &amp;System Internals	</a:t>
            </a:r>
            <a:endPar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D8D7A6FA-221F-4C65-AFDE-596DF28C26F1}"/>
              </a:ext>
            </a:extLst>
          </p:cNvPr>
          <p:cNvSpPr txBox="1"/>
          <p:nvPr/>
        </p:nvSpPr>
        <p:spPr>
          <a:xfrm>
            <a:off x="5193804" y="3741784"/>
            <a:ext cx="2449033" cy="670055"/>
          </a:xfrm>
          <a:prstGeom prst="rect">
            <a:avLst/>
          </a:prstGeom>
          <a:noFill/>
        </p:spPr>
        <p:txBody>
          <a:bodyPr wrap="square">
            <a:spAutoFit/>
          </a:bodyPr>
          <a:lstStyle/>
          <a:p>
            <a:pPr algn="ctr" defTabSz="914225">
              <a:lnSpc>
                <a:spcPct val="107000"/>
              </a:lnSpc>
            </a:pPr>
            <a:r>
              <a:rPr lang="en-US" dirty="0">
                <a:solidFill>
                  <a:schemeClr val="bg2"/>
                </a:solidFill>
                <a:ea typeface="Calibri" panose="020F0502020204030204" pitchFamily="34" charset="0"/>
                <a:cs typeface="Times New Roman" panose="02020603050405020304" pitchFamily="18" charset="0"/>
              </a:rPr>
              <a:t>Request Units and Elasticity</a:t>
            </a:r>
            <a:endPar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18" name="Straight Connector 17">
            <a:extLst>
              <a:ext uri="{FF2B5EF4-FFF2-40B4-BE49-F238E27FC236}">
                <a16:creationId xmlns:a16="http://schemas.microsoft.com/office/drawing/2014/main" id="{11B7F5C7-5DA0-4C8A-9D4D-392C396A2D0B}"/>
              </a:ext>
            </a:extLst>
          </p:cNvPr>
          <p:cNvCxnSpPr>
            <a:cxnSpLocks/>
          </p:cNvCxnSpPr>
          <p:nvPr/>
        </p:nvCxnSpPr>
        <p:spPr>
          <a:xfrm flipH="1">
            <a:off x="5328595" y="3454958"/>
            <a:ext cx="4905134" cy="0"/>
          </a:xfrm>
          <a:prstGeom prst="line">
            <a:avLst/>
          </a:prstGeom>
          <a:noFill/>
          <a:ln w="12700" cap="flat" cmpd="sng" algn="ctr">
            <a:solidFill>
              <a:srgbClr val="0078D4"/>
            </a:solidFill>
            <a:prstDash val="solid"/>
            <a:headEnd type="none"/>
            <a:tailEnd type="none"/>
          </a:ln>
          <a:effectLst/>
        </p:spPr>
      </p:cxnSp>
      <p:sp>
        <p:nvSpPr>
          <p:cNvPr id="20" name="TextBox 19">
            <a:extLst>
              <a:ext uri="{FF2B5EF4-FFF2-40B4-BE49-F238E27FC236}">
                <a16:creationId xmlns:a16="http://schemas.microsoft.com/office/drawing/2014/main" id="{B7EF1D2B-99A3-43AD-BEC4-42F9EEFE4BAD}"/>
              </a:ext>
            </a:extLst>
          </p:cNvPr>
          <p:cNvSpPr txBox="1"/>
          <p:nvPr/>
        </p:nvSpPr>
        <p:spPr>
          <a:xfrm>
            <a:off x="7857024" y="2489012"/>
            <a:ext cx="2273048" cy="375552"/>
          </a:xfrm>
          <a:prstGeom prst="rect">
            <a:avLst/>
          </a:prstGeom>
          <a:noFill/>
        </p:spPr>
        <p:txBody>
          <a:bodyPr wrap="square">
            <a:spAutoFit/>
          </a:bodyPr>
          <a:lstStyle/>
          <a:p>
            <a:pPr algn="ctr" defTabSz="914225">
              <a:lnSpc>
                <a:spcPct val="107000"/>
              </a:lnSpc>
            </a:pPr>
            <a:r>
              <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rPr>
              <a:t>Partitioning</a:t>
            </a:r>
          </a:p>
        </p:txBody>
      </p:sp>
      <p:sp>
        <p:nvSpPr>
          <p:cNvPr id="22" name="TextBox 21">
            <a:extLst>
              <a:ext uri="{FF2B5EF4-FFF2-40B4-BE49-F238E27FC236}">
                <a16:creationId xmlns:a16="http://schemas.microsoft.com/office/drawing/2014/main" id="{4A537A12-F3AA-4466-92E5-7FA5AAC1C36E}"/>
              </a:ext>
            </a:extLst>
          </p:cNvPr>
          <p:cNvSpPr txBox="1"/>
          <p:nvPr/>
        </p:nvSpPr>
        <p:spPr>
          <a:xfrm>
            <a:off x="7894315" y="3677698"/>
            <a:ext cx="2040306" cy="966418"/>
          </a:xfrm>
          <a:prstGeom prst="rect">
            <a:avLst/>
          </a:prstGeom>
          <a:noFill/>
        </p:spPr>
        <p:txBody>
          <a:bodyPr wrap="square">
            <a:spAutoFit/>
          </a:bodyPr>
          <a:lstStyle/>
          <a:p>
            <a:pPr algn="ctr" defTabSz="914225">
              <a:lnSpc>
                <a:spcPct val="107000"/>
              </a:lnSpc>
            </a:pPr>
            <a:r>
              <a:rPr lang="en-US" dirty="0">
                <a:solidFill>
                  <a:schemeClr val="bg2"/>
                </a:solidFill>
                <a:ea typeface="Calibri" panose="020F0502020204030204" pitchFamily="34" charset="0"/>
                <a:cs typeface="Times New Roman" panose="02020603050405020304" pitchFamily="18" charset="0"/>
              </a:rPr>
              <a:t>Azure Cosmos DB HTAP for OLTP &amp; OLAP</a:t>
            </a:r>
            <a:endPar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Box 23">
            <a:extLst>
              <a:ext uri="{FF2B5EF4-FFF2-40B4-BE49-F238E27FC236}">
                <a16:creationId xmlns:a16="http://schemas.microsoft.com/office/drawing/2014/main" id="{A1B47805-5CB2-4064-B6B2-5E2261B9A36B}"/>
              </a:ext>
            </a:extLst>
          </p:cNvPr>
          <p:cNvSpPr txBox="1"/>
          <p:nvPr/>
        </p:nvSpPr>
        <p:spPr>
          <a:xfrm>
            <a:off x="233720" y="2897632"/>
            <a:ext cx="5290681" cy="816514"/>
          </a:xfrm>
          <a:prstGeom prst="rect">
            <a:avLst/>
          </a:prstGeom>
          <a:noFill/>
          <a:ln w="10795" cap="flat" cmpd="sng" algn="ctr">
            <a:noFill/>
            <a:prstDash val="solid"/>
            <a:headEnd type="none" w="med" len="med"/>
            <a:tailEnd type="none" w="med" len="med"/>
          </a:ln>
          <a:effectLst/>
        </p:spPr>
        <p:txBody>
          <a:bodyPr vert="horz" wrap="square" lIns="91427" tIns="91427" rIns="91427" bIns="46630"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5">
              <a:defRPr/>
            </a:pPr>
            <a:r>
              <a:rPr lang="en-US" sz="4400" kern="0" dirty="0">
                <a:solidFill>
                  <a:schemeClr val="bg2"/>
                </a:solidFill>
              </a:rPr>
              <a:t>Agenda</a:t>
            </a:r>
            <a:endParaRPr lang="en-US" sz="2000" kern="0" dirty="0">
              <a:solidFill>
                <a:schemeClr val="bg2"/>
              </a:solidFill>
            </a:endParaRPr>
          </a:p>
        </p:txBody>
      </p:sp>
      <p:cxnSp>
        <p:nvCxnSpPr>
          <p:cNvPr id="26" name="Straight Connector 25">
            <a:extLst>
              <a:ext uri="{FF2B5EF4-FFF2-40B4-BE49-F238E27FC236}">
                <a16:creationId xmlns:a16="http://schemas.microsoft.com/office/drawing/2014/main" id="{B5030CD7-CD53-4215-A80B-6B82DEB7FC21}"/>
              </a:ext>
            </a:extLst>
          </p:cNvPr>
          <p:cNvCxnSpPr>
            <a:cxnSpLocks/>
          </p:cNvCxnSpPr>
          <p:nvPr/>
        </p:nvCxnSpPr>
        <p:spPr>
          <a:xfrm flipH="1">
            <a:off x="5328595" y="4755775"/>
            <a:ext cx="4905134" cy="0"/>
          </a:xfrm>
          <a:prstGeom prst="line">
            <a:avLst/>
          </a:prstGeom>
          <a:noFill/>
          <a:ln w="12700" cap="flat" cmpd="sng" algn="ctr">
            <a:solidFill>
              <a:srgbClr val="0078D4"/>
            </a:solidFill>
            <a:prstDash val="solid"/>
            <a:headEnd type="none"/>
            <a:tailEnd type="none"/>
          </a:ln>
          <a:effectLst/>
        </p:spPr>
      </p:cxnSp>
      <p:sp>
        <p:nvSpPr>
          <p:cNvPr id="28" name="TextBox 27">
            <a:extLst>
              <a:ext uri="{FF2B5EF4-FFF2-40B4-BE49-F238E27FC236}">
                <a16:creationId xmlns:a16="http://schemas.microsoft.com/office/drawing/2014/main" id="{BE76ED0E-4E1A-4712-891D-FA1E8F2E39BA}"/>
              </a:ext>
            </a:extLst>
          </p:cNvPr>
          <p:cNvSpPr txBox="1"/>
          <p:nvPr/>
        </p:nvSpPr>
        <p:spPr>
          <a:xfrm>
            <a:off x="5486312" y="4955777"/>
            <a:ext cx="2040306" cy="966418"/>
          </a:xfrm>
          <a:prstGeom prst="rect">
            <a:avLst/>
          </a:prstGeom>
          <a:noFill/>
        </p:spPr>
        <p:txBody>
          <a:bodyPr wrap="square">
            <a:spAutoFit/>
          </a:bodyPr>
          <a:lstStyle/>
          <a:p>
            <a:pPr algn="ctr" defTabSz="914225">
              <a:lnSpc>
                <a:spcPct val="107000"/>
              </a:lnSpc>
            </a:pPr>
            <a:r>
              <a:rPr lang="en-US" dirty="0">
                <a:solidFill>
                  <a:schemeClr val="bg2"/>
                </a:solidFill>
                <a:ea typeface="Calibri" panose="020F0502020204030204" pitchFamily="34" charset="0"/>
                <a:cs typeface="Times New Roman" panose="02020603050405020304" pitchFamily="18" charset="0"/>
              </a:rPr>
              <a:t>Preview Announcements &amp; Closing</a:t>
            </a:r>
            <a:endPar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Box 29">
            <a:extLst>
              <a:ext uri="{FF2B5EF4-FFF2-40B4-BE49-F238E27FC236}">
                <a16:creationId xmlns:a16="http://schemas.microsoft.com/office/drawing/2014/main" id="{B4AA9229-1BD4-40D2-A1C1-A82B62D04B24}"/>
              </a:ext>
            </a:extLst>
          </p:cNvPr>
          <p:cNvSpPr txBox="1"/>
          <p:nvPr/>
        </p:nvSpPr>
        <p:spPr>
          <a:xfrm>
            <a:off x="8004811" y="5252140"/>
            <a:ext cx="2040306" cy="373692"/>
          </a:xfrm>
          <a:prstGeom prst="rect">
            <a:avLst/>
          </a:prstGeom>
          <a:noFill/>
        </p:spPr>
        <p:txBody>
          <a:bodyPr wrap="square">
            <a:spAutoFit/>
          </a:bodyPr>
          <a:lstStyle/>
          <a:p>
            <a:pPr algn="ctr" defTabSz="914225">
              <a:lnSpc>
                <a:spcPct val="107000"/>
              </a:lnSpc>
            </a:pPr>
            <a:r>
              <a:rPr lang="en-US" dirty="0">
                <a:solidFill>
                  <a:schemeClr val="bg2"/>
                </a:solidFill>
                <a:ea typeface="Calibri" panose="020F0502020204030204" pitchFamily="34" charset="0"/>
                <a:cs typeface="Times New Roman" panose="02020603050405020304" pitchFamily="18" charset="0"/>
              </a:rPr>
              <a:t>Q &amp; A</a:t>
            </a:r>
            <a:endParaRPr lang="en-US" dirty="0">
              <a:solidFill>
                <a:schemeClr val="bg2"/>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8131056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790802" y="2760618"/>
            <a:ext cx="10852769" cy="1057166"/>
          </a:xfrm>
        </p:spPr>
        <p:txBody>
          <a:bodyPr/>
          <a:lstStyle/>
          <a:p>
            <a:pPr algn="ctr"/>
            <a:r>
              <a:rPr lang="en-US" sz="4800" dirty="0">
                <a:solidFill>
                  <a:schemeClr val="bg1"/>
                </a:solidFill>
                <a:latin typeface="+mn-lt"/>
              </a:rPr>
              <a:t>Request Unit &amp; Elasticity</a:t>
            </a:r>
          </a:p>
        </p:txBody>
      </p:sp>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2" name="Title 9">
            <a:extLst>
              <a:ext uri="{FF2B5EF4-FFF2-40B4-BE49-F238E27FC236}">
                <a16:creationId xmlns:a16="http://schemas.microsoft.com/office/drawing/2014/main" id="{68410213-2627-4B9C-924C-292F66A11726}"/>
              </a:ext>
            </a:extLst>
          </p:cNvPr>
          <p:cNvSpPr txBox="1">
            <a:spLocks/>
          </p:cNvSpPr>
          <p:nvPr/>
        </p:nvSpPr>
        <p:spPr>
          <a:xfrm>
            <a:off x="1339231" y="2964736"/>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dirty="0">
              <a:ln w="3175">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6F16C0E7-CD90-4716-9AB3-712BD732A74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B28A260A-40D2-40A1-A914-FE8EB22356CF}"/>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90271099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410678-2C9E-4726-B2AE-49A8E82B0EFA}"/>
              </a:ext>
            </a:extLst>
          </p:cNvPr>
          <p:cNvSpPr>
            <a:spLocks noGrp="1"/>
          </p:cNvSpPr>
          <p:nvPr>
            <p:ph type="title"/>
          </p:nvPr>
        </p:nvSpPr>
        <p:spPr>
          <a:xfrm>
            <a:off x="269240" y="289511"/>
            <a:ext cx="5529981" cy="624889"/>
          </a:xfrm>
        </p:spPr>
        <p:txBody>
          <a:bodyPr/>
          <a:lstStyle/>
          <a:p>
            <a:r>
              <a:rPr lang="en-US" dirty="0"/>
              <a:t>Request Units (1</a:t>
            </a:r>
            <a:r>
              <a:rPr lang="en-US" cap="none" dirty="0"/>
              <a:t> of </a:t>
            </a:r>
            <a:r>
              <a:rPr lang="en-US" dirty="0"/>
              <a:t>3)</a:t>
            </a:r>
          </a:p>
        </p:txBody>
      </p:sp>
      <p:sp>
        <p:nvSpPr>
          <p:cNvPr id="2" name="Text Placeholder 1">
            <a:extLst>
              <a:ext uri="{FF2B5EF4-FFF2-40B4-BE49-F238E27FC236}">
                <a16:creationId xmlns:a16="http://schemas.microsoft.com/office/drawing/2014/main" id="{DE18218A-CF73-4227-81AE-3C1AA6CC647D}"/>
              </a:ext>
            </a:extLst>
          </p:cNvPr>
          <p:cNvSpPr>
            <a:spLocks noGrp="1"/>
          </p:cNvSpPr>
          <p:nvPr>
            <p:ph type="body" sz="quarter" idx="11"/>
          </p:nvPr>
        </p:nvSpPr>
        <p:spPr>
          <a:xfrm>
            <a:off x="269874" y="1584156"/>
            <a:ext cx="5686789" cy="2539478"/>
          </a:xfrm>
        </p:spPr>
        <p:txBody>
          <a:bodyPr vert="horz" wrap="square" lIns="146304" tIns="91440" rIns="146304" bIns="91440" rtlCol="0" anchor="t">
            <a:spAutoFit/>
          </a:bodyPr>
          <a:lstStyle/>
          <a:p>
            <a:pPr marL="0" lvl="1" indent="0">
              <a:lnSpc>
                <a:spcPct val="200000"/>
              </a:lnSpc>
              <a:buNone/>
            </a:pPr>
            <a:r>
              <a:rPr lang="en-US" dirty="0">
                <a:solidFill>
                  <a:srgbClr val="0067B7"/>
                </a:solidFill>
              </a:rPr>
              <a:t>Request Units (RUs) is a rate-based currency</a:t>
            </a:r>
          </a:p>
          <a:p>
            <a:pPr marL="0" lvl="1" indent="0">
              <a:lnSpc>
                <a:spcPct val="200000"/>
              </a:lnSpc>
              <a:buNone/>
            </a:pPr>
            <a:r>
              <a:rPr lang="en-US" dirty="0"/>
              <a:t>Abstracts physical resources for performing requests</a:t>
            </a:r>
          </a:p>
          <a:p>
            <a:pPr marL="0" lvl="1" indent="0">
              <a:lnSpc>
                <a:spcPct val="200000"/>
              </a:lnSpc>
              <a:buNone/>
            </a:pPr>
            <a:r>
              <a:rPr lang="en-US" dirty="0"/>
              <a:t>Key to multi-tenancy, SLAs, and COGS efficiency</a:t>
            </a:r>
          </a:p>
          <a:p>
            <a:pPr marL="0" lvl="1" indent="0">
              <a:lnSpc>
                <a:spcPct val="200000"/>
              </a:lnSpc>
              <a:buNone/>
            </a:pPr>
            <a:r>
              <a:rPr lang="en-US" dirty="0"/>
              <a:t>Foreground and background activities</a:t>
            </a:r>
          </a:p>
        </p:txBody>
      </p:sp>
      <p:grpSp>
        <p:nvGrpSpPr>
          <p:cNvPr id="4" name="Group 3" descr="Illustration of % Memory, % CPU, and % IOPS.">
            <a:extLst>
              <a:ext uri="{FF2B5EF4-FFF2-40B4-BE49-F238E27FC236}">
                <a16:creationId xmlns:a16="http://schemas.microsoft.com/office/drawing/2014/main" id="{4D4CF21F-F3B5-420E-BA15-B66498FE91F2}"/>
              </a:ext>
            </a:extLst>
          </p:cNvPr>
          <p:cNvGrpSpPr/>
          <p:nvPr/>
        </p:nvGrpSpPr>
        <p:grpSpPr>
          <a:xfrm>
            <a:off x="7407063" y="2674258"/>
            <a:ext cx="3758850" cy="2113380"/>
            <a:chOff x="7407063" y="2674258"/>
            <a:chExt cx="3758850" cy="2113380"/>
          </a:xfrm>
        </p:grpSpPr>
        <p:sp>
          <p:nvSpPr>
            <p:cNvPr id="35" name="Rectangle 34">
              <a:extLst>
                <a:ext uri="{FF2B5EF4-FFF2-40B4-BE49-F238E27FC236}">
                  <a16:creationId xmlns:a16="http://schemas.microsoft.com/office/drawing/2014/main" id="{82D01CB3-EA30-425F-86ED-13237C3F1F09}"/>
                </a:ext>
                <a:ext uri="{C183D7F6-B498-43B3-948B-1728B52AA6E4}">
                  <adec:decorative xmlns:adec="http://schemas.microsoft.com/office/drawing/2017/decorative" val="1"/>
                </a:ext>
              </a:extLst>
            </p:cNvPr>
            <p:cNvSpPr/>
            <p:nvPr/>
          </p:nvSpPr>
          <p:spPr bwMode="auto">
            <a:xfrm>
              <a:off x="7407063" y="2674258"/>
              <a:ext cx="3758850" cy="2113380"/>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Rectangle 72">
              <a:extLst>
                <a:ext uri="{FF2B5EF4-FFF2-40B4-BE49-F238E27FC236}">
                  <a16:creationId xmlns:a16="http://schemas.microsoft.com/office/drawing/2014/main" id="{1159A382-9CA3-4640-B288-EFC51F41BB86}"/>
                </a:ext>
                <a:ext uri="{C183D7F6-B498-43B3-948B-1728B52AA6E4}">
                  <adec:decorative xmlns:adec="http://schemas.microsoft.com/office/drawing/2017/decorative" val="1"/>
                </a:ext>
              </a:extLst>
            </p:cNvPr>
            <p:cNvSpPr/>
            <p:nvPr/>
          </p:nvSpPr>
          <p:spPr bwMode="auto">
            <a:xfrm>
              <a:off x="8969184" y="3760211"/>
              <a:ext cx="634608" cy="189032"/>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4" name="Oval 73">
              <a:extLst>
                <a:ext uri="{FF2B5EF4-FFF2-40B4-BE49-F238E27FC236}">
                  <a16:creationId xmlns:a16="http://schemas.microsoft.com/office/drawing/2014/main" id="{480750EB-5BA0-4DAE-A7A4-ACE266053F67}"/>
                </a:ext>
                <a:ext uri="{C183D7F6-B498-43B3-948B-1728B52AA6E4}">
                  <adec:decorative xmlns:adec="http://schemas.microsoft.com/office/drawing/2017/decorative" val="1"/>
                </a:ext>
              </a:extLst>
            </p:cNvPr>
            <p:cNvSpPr/>
            <p:nvPr/>
          </p:nvSpPr>
          <p:spPr bwMode="auto">
            <a:xfrm flipH="1">
              <a:off x="9472219" y="3820484"/>
              <a:ext cx="57047" cy="57047"/>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C152CF11-F274-403C-9A75-D6B9E0933528}"/>
                </a:ext>
                <a:ext uri="{C183D7F6-B498-43B3-948B-1728B52AA6E4}">
                  <adec:decorative xmlns:adec="http://schemas.microsoft.com/office/drawing/2017/decorative" val="1"/>
                </a:ext>
              </a:extLst>
            </p:cNvPr>
            <p:cNvCxnSpPr/>
            <p:nvPr/>
          </p:nvCxnSpPr>
          <p:spPr>
            <a:xfrm>
              <a:off x="9061005" y="3852969"/>
              <a:ext cx="297120" cy="0"/>
            </a:xfrm>
            <a:prstGeom prst="line">
              <a:avLst/>
            </a:prstGeom>
            <a:noFill/>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A9B30DD9-A385-4778-93AF-C19DE2EF0D61}"/>
                </a:ext>
                <a:ext uri="{C183D7F6-B498-43B3-948B-1728B52AA6E4}">
                  <adec:decorative xmlns:adec="http://schemas.microsoft.com/office/drawing/2017/decorative" val="1"/>
                </a:ext>
              </a:extLst>
            </p:cNvPr>
            <p:cNvSpPr/>
            <p:nvPr/>
          </p:nvSpPr>
          <p:spPr bwMode="auto">
            <a:xfrm>
              <a:off x="8969184" y="3951474"/>
              <a:ext cx="634608" cy="189032"/>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Oval 70">
              <a:extLst>
                <a:ext uri="{FF2B5EF4-FFF2-40B4-BE49-F238E27FC236}">
                  <a16:creationId xmlns:a16="http://schemas.microsoft.com/office/drawing/2014/main" id="{2519691E-B167-4386-919B-795BF42D6AA5}"/>
                </a:ext>
                <a:ext uri="{C183D7F6-B498-43B3-948B-1728B52AA6E4}">
                  <adec:decorative xmlns:adec="http://schemas.microsoft.com/office/drawing/2017/decorative" val="1"/>
                </a:ext>
              </a:extLst>
            </p:cNvPr>
            <p:cNvSpPr/>
            <p:nvPr/>
          </p:nvSpPr>
          <p:spPr bwMode="auto">
            <a:xfrm flipH="1">
              <a:off x="9472219" y="4011747"/>
              <a:ext cx="57047" cy="57047"/>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16323530-B8D2-4657-86F7-146F57C3C9A0}"/>
                </a:ext>
                <a:ext uri="{C183D7F6-B498-43B3-948B-1728B52AA6E4}">
                  <adec:decorative xmlns:adec="http://schemas.microsoft.com/office/drawing/2017/decorative" val="1"/>
                </a:ext>
              </a:extLst>
            </p:cNvPr>
            <p:cNvCxnSpPr/>
            <p:nvPr/>
          </p:nvCxnSpPr>
          <p:spPr>
            <a:xfrm>
              <a:off x="9061005" y="4044232"/>
              <a:ext cx="297120" cy="0"/>
            </a:xfrm>
            <a:prstGeom prst="line">
              <a:avLst/>
            </a:prstGeom>
            <a:noFill/>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2B77561-1A90-467D-A301-23ECFE4AC50F}"/>
                </a:ext>
                <a:ext uri="{C183D7F6-B498-43B3-948B-1728B52AA6E4}">
                  <adec:decorative xmlns:adec="http://schemas.microsoft.com/office/drawing/2017/decorative" val="1"/>
                </a:ext>
              </a:extLst>
            </p:cNvPr>
            <p:cNvSpPr/>
            <p:nvPr/>
          </p:nvSpPr>
          <p:spPr bwMode="auto">
            <a:xfrm>
              <a:off x="8969184" y="3568951"/>
              <a:ext cx="634608" cy="189032"/>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Oval 67">
              <a:extLst>
                <a:ext uri="{FF2B5EF4-FFF2-40B4-BE49-F238E27FC236}">
                  <a16:creationId xmlns:a16="http://schemas.microsoft.com/office/drawing/2014/main" id="{EEBEE0C5-72A4-4A15-96B9-752024994357}"/>
                </a:ext>
                <a:ext uri="{C183D7F6-B498-43B3-948B-1728B52AA6E4}">
                  <adec:decorative xmlns:adec="http://schemas.microsoft.com/office/drawing/2017/decorative" val="1"/>
                </a:ext>
              </a:extLst>
            </p:cNvPr>
            <p:cNvSpPr/>
            <p:nvPr/>
          </p:nvSpPr>
          <p:spPr bwMode="auto">
            <a:xfrm flipH="1">
              <a:off x="9472219" y="3629224"/>
              <a:ext cx="57047" cy="57047"/>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C9433EE2-26E5-4894-BCF3-6E24A786AD5E}"/>
                </a:ext>
                <a:ext uri="{C183D7F6-B498-43B3-948B-1728B52AA6E4}">
                  <adec:decorative xmlns:adec="http://schemas.microsoft.com/office/drawing/2017/decorative" val="1"/>
                </a:ext>
              </a:extLst>
            </p:cNvPr>
            <p:cNvCxnSpPr/>
            <p:nvPr/>
          </p:nvCxnSpPr>
          <p:spPr>
            <a:xfrm>
              <a:off x="9061005" y="3661709"/>
              <a:ext cx="297120" cy="0"/>
            </a:xfrm>
            <a:prstGeom prst="line">
              <a:avLst/>
            </a:prstGeom>
            <a:noFill/>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5B43AF89-5CA2-4130-B351-6B7E2CC88064}"/>
                </a:ext>
                <a:ext uri="{C183D7F6-B498-43B3-948B-1728B52AA6E4}">
                  <adec:decorative xmlns:adec="http://schemas.microsoft.com/office/drawing/2017/decorative" val="1"/>
                </a:ext>
              </a:extLst>
            </p:cNvPr>
            <p:cNvSpPr/>
            <p:nvPr/>
          </p:nvSpPr>
          <p:spPr bwMode="auto">
            <a:xfrm>
              <a:off x="8969184" y="3186429"/>
              <a:ext cx="634608" cy="189032"/>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Oval 64">
              <a:extLst>
                <a:ext uri="{FF2B5EF4-FFF2-40B4-BE49-F238E27FC236}">
                  <a16:creationId xmlns:a16="http://schemas.microsoft.com/office/drawing/2014/main" id="{28165B38-EA0C-48B0-A392-6D752C493EF0}"/>
                </a:ext>
                <a:ext uri="{C183D7F6-B498-43B3-948B-1728B52AA6E4}">
                  <adec:decorative xmlns:adec="http://schemas.microsoft.com/office/drawing/2017/decorative" val="1"/>
                </a:ext>
              </a:extLst>
            </p:cNvPr>
            <p:cNvSpPr/>
            <p:nvPr/>
          </p:nvSpPr>
          <p:spPr bwMode="auto">
            <a:xfrm flipH="1">
              <a:off x="9472219" y="3246702"/>
              <a:ext cx="57047" cy="57047"/>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6AAA4F77-F6B1-4C1E-AC57-6BE1162C1C42}"/>
                </a:ext>
                <a:ext uri="{C183D7F6-B498-43B3-948B-1728B52AA6E4}">
                  <adec:decorative xmlns:adec="http://schemas.microsoft.com/office/drawing/2017/decorative" val="1"/>
                </a:ext>
              </a:extLst>
            </p:cNvPr>
            <p:cNvCxnSpPr/>
            <p:nvPr/>
          </p:nvCxnSpPr>
          <p:spPr>
            <a:xfrm>
              <a:off x="9061005" y="3279187"/>
              <a:ext cx="297120" cy="0"/>
            </a:xfrm>
            <a:prstGeom prst="line">
              <a:avLst/>
            </a:prstGeom>
            <a:noFill/>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AB92AEA7-42CD-43D1-983C-EE1E57971F34}"/>
                </a:ext>
                <a:ext uri="{C183D7F6-B498-43B3-948B-1728B52AA6E4}">
                  <adec:decorative xmlns:adec="http://schemas.microsoft.com/office/drawing/2017/decorative" val="1"/>
                </a:ext>
              </a:extLst>
            </p:cNvPr>
            <p:cNvSpPr/>
            <p:nvPr/>
          </p:nvSpPr>
          <p:spPr bwMode="auto">
            <a:xfrm>
              <a:off x="8969184" y="3377690"/>
              <a:ext cx="634608" cy="189032"/>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Oval 61">
              <a:extLst>
                <a:ext uri="{FF2B5EF4-FFF2-40B4-BE49-F238E27FC236}">
                  <a16:creationId xmlns:a16="http://schemas.microsoft.com/office/drawing/2014/main" id="{67B62E4C-60C6-4142-81F3-2712C72B8AA8}"/>
                </a:ext>
                <a:ext uri="{C183D7F6-B498-43B3-948B-1728B52AA6E4}">
                  <adec:decorative xmlns:adec="http://schemas.microsoft.com/office/drawing/2017/decorative" val="1"/>
                </a:ext>
              </a:extLst>
            </p:cNvPr>
            <p:cNvSpPr/>
            <p:nvPr/>
          </p:nvSpPr>
          <p:spPr bwMode="auto">
            <a:xfrm flipH="1">
              <a:off x="9472219" y="3437963"/>
              <a:ext cx="57047" cy="57047"/>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07A231E1-AF79-4FB6-82A6-6E605316ADEE}"/>
                </a:ext>
                <a:ext uri="{C183D7F6-B498-43B3-948B-1728B52AA6E4}">
                  <adec:decorative xmlns:adec="http://schemas.microsoft.com/office/drawing/2017/decorative" val="1"/>
                </a:ext>
              </a:extLst>
            </p:cNvPr>
            <p:cNvCxnSpPr/>
            <p:nvPr/>
          </p:nvCxnSpPr>
          <p:spPr>
            <a:xfrm>
              <a:off x="9061005" y="3470448"/>
              <a:ext cx="297120" cy="0"/>
            </a:xfrm>
            <a:prstGeom prst="line">
              <a:avLst/>
            </a:prstGeom>
            <a:noFill/>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01440EBA-48E3-44B0-85FA-BB900428AB9E}"/>
                </a:ext>
                <a:ext uri="{C183D7F6-B498-43B3-948B-1728B52AA6E4}">
                  <adec:decorative xmlns:adec="http://schemas.microsoft.com/office/drawing/2017/decorative" val="1"/>
                </a:ext>
              </a:extLst>
            </p:cNvPr>
            <p:cNvSpPr/>
            <p:nvPr/>
          </p:nvSpPr>
          <p:spPr bwMode="auto">
            <a:xfrm>
              <a:off x="8969184" y="2995168"/>
              <a:ext cx="634608" cy="189032"/>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Oval 58">
              <a:extLst>
                <a:ext uri="{FF2B5EF4-FFF2-40B4-BE49-F238E27FC236}">
                  <a16:creationId xmlns:a16="http://schemas.microsoft.com/office/drawing/2014/main" id="{29CA8199-C30B-4D23-AE89-D596286F648C}"/>
                </a:ext>
                <a:ext uri="{C183D7F6-B498-43B3-948B-1728B52AA6E4}">
                  <adec:decorative xmlns:adec="http://schemas.microsoft.com/office/drawing/2017/decorative" val="1"/>
                </a:ext>
              </a:extLst>
            </p:cNvPr>
            <p:cNvSpPr/>
            <p:nvPr/>
          </p:nvSpPr>
          <p:spPr bwMode="auto">
            <a:xfrm flipH="1">
              <a:off x="9472219" y="3055441"/>
              <a:ext cx="57047" cy="57047"/>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5C48C0B2-D69C-4D1F-93BC-0C903AD21CCB}"/>
                </a:ext>
                <a:ext uri="{C183D7F6-B498-43B3-948B-1728B52AA6E4}">
                  <adec:decorative xmlns:adec="http://schemas.microsoft.com/office/drawing/2017/decorative" val="1"/>
                </a:ext>
              </a:extLst>
            </p:cNvPr>
            <p:cNvCxnSpPr/>
            <p:nvPr/>
          </p:nvCxnSpPr>
          <p:spPr>
            <a:xfrm>
              <a:off x="9061005" y="3087926"/>
              <a:ext cx="297120" cy="0"/>
            </a:xfrm>
            <a:prstGeom prst="line">
              <a:avLst/>
            </a:prstGeom>
            <a:noFill/>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Flowchart: Direct Access Storage 36">
              <a:extLst>
                <a:ext uri="{FF2B5EF4-FFF2-40B4-BE49-F238E27FC236}">
                  <a16:creationId xmlns:a16="http://schemas.microsoft.com/office/drawing/2014/main" id="{2E96A75B-8800-4142-9017-9AD4F324A9FB}"/>
                </a:ext>
                <a:ext uri="{C183D7F6-B498-43B3-948B-1728B52AA6E4}">
                  <adec:decorative xmlns:adec="http://schemas.microsoft.com/office/drawing/2017/decorative" val="1"/>
                </a:ext>
              </a:extLst>
            </p:cNvPr>
            <p:cNvSpPr/>
            <p:nvPr/>
          </p:nvSpPr>
          <p:spPr bwMode="auto">
            <a:xfrm>
              <a:off x="10195745" y="2995169"/>
              <a:ext cx="435931" cy="1146105"/>
            </a:xfrm>
            <a:prstGeom prst="flowChartMagneticDrum">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42" name="Rectangle 5">
              <a:extLst>
                <a:ext uri="{FF2B5EF4-FFF2-40B4-BE49-F238E27FC236}">
                  <a16:creationId xmlns:a16="http://schemas.microsoft.com/office/drawing/2014/main" id="{518FAA39-02A2-49D1-B6B4-F8EF08422953}"/>
                </a:ext>
                <a:ext uri="{C183D7F6-B498-43B3-948B-1728B52AA6E4}">
                  <adec:decorative xmlns:adec="http://schemas.microsoft.com/office/drawing/2017/decorative" val="1"/>
                </a:ext>
              </a:extLst>
            </p:cNvPr>
            <p:cNvSpPr>
              <a:spLocks noChangeArrowheads="1"/>
            </p:cNvSpPr>
            <p:nvPr/>
          </p:nvSpPr>
          <p:spPr bwMode="auto">
            <a:xfrm>
              <a:off x="7788871" y="2987660"/>
              <a:ext cx="731239" cy="1146108"/>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3" name="Freeform 6">
              <a:extLst>
                <a:ext uri="{FF2B5EF4-FFF2-40B4-BE49-F238E27FC236}">
                  <a16:creationId xmlns:a16="http://schemas.microsoft.com/office/drawing/2014/main" id="{250A6217-8891-49D7-9E2D-42D8B08654A6}"/>
                </a:ext>
                <a:ext uri="{C183D7F6-B498-43B3-948B-1728B52AA6E4}">
                  <adec:decorative xmlns:adec="http://schemas.microsoft.com/office/drawing/2017/decorative" val="1"/>
                </a:ext>
              </a:extLst>
            </p:cNvPr>
            <p:cNvSpPr>
              <a:spLocks/>
            </p:cNvSpPr>
            <p:nvPr/>
          </p:nvSpPr>
          <p:spPr bwMode="auto">
            <a:xfrm>
              <a:off x="7867192" y="3121598"/>
              <a:ext cx="574597" cy="11698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4" name="Freeform 7">
              <a:extLst>
                <a:ext uri="{FF2B5EF4-FFF2-40B4-BE49-F238E27FC236}">
                  <a16:creationId xmlns:a16="http://schemas.microsoft.com/office/drawing/2014/main" id="{DDB48DF5-CC7F-469E-BDCB-66C3FFA03EF2}"/>
                </a:ext>
                <a:ext uri="{C183D7F6-B498-43B3-948B-1728B52AA6E4}">
                  <adec:decorative xmlns:adec="http://schemas.microsoft.com/office/drawing/2017/decorative" val="1"/>
                </a:ext>
              </a:extLst>
            </p:cNvPr>
            <p:cNvSpPr>
              <a:spLocks/>
            </p:cNvSpPr>
            <p:nvPr/>
          </p:nvSpPr>
          <p:spPr bwMode="auto">
            <a:xfrm>
              <a:off x="7867192" y="3328441"/>
              <a:ext cx="574597" cy="11698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5" name="Freeform 8">
              <a:extLst>
                <a:ext uri="{FF2B5EF4-FFF2-40B4-BE49-F238E27FC236}">
                  <a16:creationId xmlns:a16="http://schemas.microsoft.com/office/drawing/2014/main" id="{5E00204F-920A-43C5-8C20-908F2BF93ADE}"/>
                </a:ext>
                <a:ext uri="{C183D7F6-B498-43B3-948B-1728B52AA6E4}">
                  <adec:decorative xmlns:adec="http://schemas.microsoft.com/office/drawing/2017/decorative" val="1"/>
                </a:ext>
              </a:extLst>
            </p:cNvPr>
            <p:cNvSpPr>
              <a:spLocks/>
            </p:cNvSpPr>
            <p:nvPr/>
          </p:nvSpPr>
          <p:spPr bwMode="auto">
            <a:xfrm>
              <a:off x="7867192" y="3533588"/>
              <a:ext cx="574597" cy="11698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6" name="Freeform 9">
              <a:extLst>
                <a:ext uri="{FF2B5EF4-FFF2-40B4-BE49-F238E27FC236}">
                  <a16:creationId xmlns:a16="http://schemas.microsoft.com/office/drawing/2014/main" id="{4212A14A-9225-4D20-A8DB-A640CE34D0C0}"/>
                </a:ext>
                <a:ext uri="{C183D7F6-B498-43B3-948B-1728B52AA6E4}">
                  <adec:decorative xmlns:adec="http://schemas.microsoft.com/office/drawing/2017/decorative" val="1"/>
                </a:ext>
              </a:extLst>
            </p:cNvPr>
            <p:cNvSpPr>
              <a:spLocks/>
            </p:cNvSpPr>
            <p:nvPr/>
          </p:nvSpPr>
          <p:spPr bwMode="auto">
            <a:xfrm>
              <a:off x="7867192" y="3740429"/>
              <a:ext cx="574597" cy="11698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8" name="Oval 14">
              <a:extLst>
                <a:ext uri="{FF2B5EF4-FFF2-40B4-BE49-F238E27FC236}">
                  <a16:creationId xmlns:a16="http://schemas.microsoft.com/office/drawing/2014/main" id="{5D0FA559-1E85-484C-BEB7-6F966AA38425}"/>
                </a:ext>
                <a:ext uri="{C183D7F6-B498-43B3-948B-1728B52AA6E4}">
                  <adec:decorative xmlns:adec="http://schemas.microsoft.com/office/drawing/2017/decorative" val="1"/>
                </a:ext>
              </a:extLst>
            </p:cNvPr>
            <p:cNvSpPr>
              <a:spLocks noChangeArrowheads="1"/>
            </p:cNvSpPr>
            <p:nvPr/>
          </p:nvSpPr>
          <p:spPr bwMode="auto">
            <a:xfrm>
              <a:off x="8341429" y="3146184"/>
              <a:ext cx="64346" cy="64427"/>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9" name="Oval 15">
              <a:extLst>
                <a:ext uri="{FF2B5EF4-FFF2-40B4-BE49-F238E27FC236}">
                  <a16:creationId xmlns:a16="http://schemas.microsoft.com/office/drawing/2014/main" id="{97F615AE-A73D-490D-A10E-EDD80B44FFE9}"/>
                </a:ext>
                <a:ext uri="{C183D7F6-B498-43B3-948B-1728B52AA6E4}">
                  <adec:decorative xmlns:adec="http://schemas.microsoft.com/office/drawing/2017/decorative" val="1"/>
                </a:ext>
              </a:extLst>
            </p:cNvPr>
            <p:cNvSpPr>
              <a:spLocks noChangeArrowheads="1"/>
            </p:cNvSpPr>
            <p:nvPr/>
          </p:nvSpPr>
          <p:spPr bwMode="auto">
            <a:xfrm>
              <a:off x="8341429" y="3353025"/>
              <a:ext cx="64346" cy="64427"/>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0" name="Oval 16">
              <a:extLst>
                <a:ext uri="{FF2B5EF4-FFF2-40B4-BE49-F238E27FC236}">
                  <a16:creationId xmlns:a16="http://schemas.microsoft.com/office/drawing/2014/main" id="{EC2D185E-8A63-4FD1-AB98-67AE9C447FA4}"/>
                </a:ext>
                <a:ext uri="{C183D7F6-B498-43B3-948B-1728B52AA6E4}">
                  <adec:decorative xmlns:adec="http://schemas.microsoft.com/office/drawing/2017/decorative" val="1"/>
                </a:ext>
              </a:extLst>
            </p:cNvPr>
            <p:cNvSpPr>
              <a:spLocks noChangeArrowheads="1"/>
            </p:cNvSpPr>
            <p:nvPr/>
          </p:nvSpPr>
          <p:spPr bwMode="auto">
            <a:xfrm>
              <a:off x="8341429" y="3559867"/>
              <a:ext cx="64346" cy="64427"/>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1" name="Oval 17">
              <a:extLst>
                <a:ext uri="{FF2B5EF4-FFF2-40B4-BE49-F238E27FC236}">
                  <a16:creationId xmlns:a16="http://schemas.microsoft.com/office/drawing/2014/main" id="{EFE2550B-F87F-4616-A0B3-D032EBB69797}"/>
                </a:ext>
                <a:ext uri="{C183D7F6-B498-43B3-948B-1728B52AA6E4}">
                  <adec:decorative xmlns:adec="http://schemas.microsoft.com/office/drawing/2017/decorative" val="1"/>
                </a:ext>
              </a:extLst>
            </p:cNvPr>
            <p:cNvSpPr>
              <a:spLocks noChangeArrowheads="1"/>
            </p:cNvSpPr>
            <p:nvPr/>
          </p:nvSpPr>
          <p:spPr bwMode="auto">
            <a:xfrm>
              <a:off x="8341429" y="3766709"/>
              <a:ext cx="64346" cy="64427"/>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9" name="TextBox 38">
              <a:extLst>
                <a:ext uri="{FF2B5EF4-FFF2-40B4-BE49-F238E27FC236}">
                  <a16:creationId xmlns:a16="http://schemas.microsoft.com/office/drawing/2014/main" id="{D49186A4-CB44-4A5E-A1A9-3A46AD69D06D}"/>
                </a:ext>
                <a:ext uri="{C183D7F6-B498-43B3-948B-1728B52AA6E4}">
                  <adec:decorative xmlns:adec="http://schemas.microsoft.com/office/drawing/2017/decorative" val="1"/>
                </a:ext>
              </a:extLst>
            </p:cNvPr>
            <p:cNvSpPr txBox="1"/>
            <p:nvPr/>
          </p:nvSpPr>
          <p:spPr>
            <a:xfrm>
              <a:off x="10001512" y="4334164"/>
              <a:ext cx="878457" cy="35925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 IOPS</a:t>
              </a:r>
            </a:p>
          </p:txBody>
        </p:sp>
        <p:sp>
          <p:nvSpPr>
            <p:cNvPr id="40" name="TextBox 39">
              <a:extLst>
                <a:ext uri="{FF2B5EF4-FFF2-40B4-BE49-F238E27FC236}">
                  <a16:creationId xmlns:a16="http://schemas.microsoft.com/office/drawing/2014/main" id="{3949EE82-6718-47B9-8D03-F92AC3499A6D}"/>
                </a:ext>
                <a:ext uri="{C183D7F6-B498-43B3-948B-1728B52AA6E4}">
                  <adec:decorative xmlns:adec="http://schemas.microsoft.com/office/drawing/2017/decorative" val="1"/>
                </a:ext>
              </a:extLst>
            </p:cNvPr>
            <p:cNvSpPr txBox="1"/>
            <p:nvPr/>
          </p:nvSpPr>
          <p:spPr>
            <a:xfrm>
              <a:off x="8864841" y="4334164"/>
              <a:ext cx="843295" cy="35925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 CPU</a:t>
              </a:r>
            </a:p>
          </p:txBody>
        </p:sp>
        <p:sp>
          <p:nvSpPr>
            <p:cNvPr id="41" name="TextBox 40">
              <a:extLst>
                <a:ext uri="{FF2B5EF4-FFF2-40B4-BE49-F238E27FC236}">
                  <a16:creationId xmlns:a16="http://schemas.microsoft.com/office/drawing/2014/main" id="{FB9F82A1-FB5A-4563-999B-F56DB540DA94}"/>
                </a:ext>
                <a:ext uri="{C183D7F6-B498-43B3-948B-1728B52AA6E4}">
                  <adec:decorative xmlns:adec="http://schemas.microsoft.com/office/drawing/2017/decorative" val="1"/>
                </a:ext>
              </a:extLst>
            </p:cNvPr>
            <p:cNvSpPr txBox="1"/>
            <p:nvPr/>
          </p:nvSpPr>
          <p:spPr>
            <a:xfrm>
              <a:off x="7532293" y="4334164"/>
              <a:ext cx="1244396" cy="35925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 Memory</a:t>
              </a:r>
            </a:p>
          </p:txBody>
        </p:sp>
      </p:grpSp>
    </p:spTree>
    <p:extLst>
      <p:ext uri="{BB962C8B-B14F-4D97-AF65-F5344CB8AC3E}">
        <p14:creationId xmlns:p14="http://schemas.microsoft.com/office/powerpoint/2010/main" val="385273814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410678-2C9E-4726-B2AE-49A8E82B0EFA}"/>
              </a:ext>
            </a:extLst>
          </p:cNvPr>
          <p:cNvSpPr>
            <a:spLocks noGrp="1"/>
          </p:cNvSpPr>
          <p:nvPr>
            <p:ph type="title"/>
          </p:nvPr>
        </p:nvSpPr>
        <p:spPr>
          <a:xfrm>
            <a:off x="269240" y="289511"/>
            <a:ext cx="5409665" cy="576763"/>
          </a:xfrm>
        </p:spPr>
        <p:txBody>
          <a:bodyPr/>
          <a:lstStyle/>
          <a:p>
            <a:r>
              <a:rPr lang="en-US" dirty="0"/>
              <a:t>Request Units (2</a:t>
            </a:r>
            <a:r>
              <a:rPr lang="en-US" cap="none" dirty="0"/>
              <a:t> of </a:t>
            </a:r>
            <a:r>
              <a:rPr lang="en-US" dirty="0"/>
              <a:t>3)</a:t>
            </a:r>
          </a:p>
        </p:txBody>
      </p:sp>
      <p:sp>
        <p:nvSpPr>
          <p:cNvPr id="2" name="Text Placeholder 1">
            <a:extLst>
              <a:ext uri="{FF2B5EF4-FFF2-40B4-BE49-F238E27FC236}">
                <a16:creationId xmlns:a16="http://schemas.microsoft.com/office/drawing/2014/main" id="{9EFDA1BF-047A-4947-8FDF-B591515C15C7}"/>
              </a:ext>
            </a:extLst>
          </p:cNvPr>
          <p:cNvSpPr>
            <a:spLocks noGrp="1"/>
          </p:cNvSpPr>
          <p:nvPr>
            <p:ph type="body" sz="quarter" idx="11"/>
          </p:nvPr>
        </p:nvSpPr>
        <p:spPr>
          <a:xfrm>
            <a:off x="269874" y="1584156"/>
            <a:ext cx="5686789" cy="2539478"/>
          </a:xfrm>
        </p:spPr>
        <p:txBody>
          <a:bodyPr vert="horz" wrap="square" lIns="146304" tIns="91440" rIns="146304" bIns="91440" rtlCol="0" anchor="t">
            <a:spAutoFit/>
          </a:bodyPr>
          <a:lstStyle/>
          <a:p>
            <a:pPr marL="0" lvl="1" indent="0">
              <a:lnSpc>
                <a:spcPct val="200000"/>
              </a:lnSpc>
              <a:buNone/>
            </a:pPr>
            <a:r>
              <a:rPr lang="en-US" dirty="0">
                <a:solidFill>
                  <a:srgbClr val="0067B7"/>
                </a:solidFill>
                <a:latin typeface="Segoe UI Semibold"/>
                <a:cs typeface="Segoe UI Semibold"/>
              </a:rPr>
              <a:t>Normalized across various access methods</a:t>
            </a:r>
            <a:endParaRPr lang="en-US" dirty="0">
              <a:solidFill>
                <a:srgbClr val="0067B7"/>
              </a:solidFill>
            </a:endParaRPr>
          </a:p>
          <a:p>
            <a:pPr marL="0" lvl="1" indent="0">
              <a:lnSpc>
                <a:spcPct val="200000"/>
              </a:lnSpc>
              <a:buNone/>
            </a:pPr>
            <a:r>
              <a:rPr lang="en-US" dirty="0"/>
              <a:t>1 RU =  1 read of 1 KB document</a:t>
            </a:r>
          </a:p>
          <a:p>
            <a:pPr marL="0" lvl="1" indent="0">
              <a:lnSpc>
                <a:spcPct val="200000"/>
              </a:lnSpc>
              <a:buNone/>
            </a:pPr>
            <a:r>
              <a:rPr lang="en-US" dirty="0">
                <a:solidFill>
                  <a:srgbClr val="0067B7"/>
                </a:solidFill>
                <a:latin typeface="Segoe UI Semibold"/>
                <a:cs typeface="Segoe UI Semibold"/>
              </a:rPr>
              <a:t>Each request consumes fixed RUs</a:t>
            </a:r>
          </a:p>
          <a:p>
            <a:pPr marL="0" lvl="1" indent="0">
              <a:lnSpc>
                <a:spcPct val="200000"/>
              </a:lnSpc>
              <a:buNone/>
            </a:pPr>
            <a:r>
              <a:rPr lang="en-US" dirty="0"/>
              <a:t>Applies to reads, writes, query, and stored procedures</a:t>
            </a:r>
          </a:p>
        </p:txBody>
      </p:sp>
      <p:grpSp>
        <p:nvGrpSpPr>
          <p:cNvPr id="4" name="Group 3" descr="Block diagram showing GET connected to single block which equals to Request units, POST connected to multiple block which equals to two Request units, PUT connected to single block which equals to two Request units, Query connected to multiple block which equals to multiple Request units.">
            <a:extLst>
              <a:ext uri="{FF2B5EF4-FFF2-40B4-BE49-F238E27FC236}">
                <a16:creationId xmlns:a16="http://schemas.microsoft.com/office/drawing/2014/main" id="{9B27CC40-E21B-4A40-8C8F-FF52832D9219}"/>
              </a:ext>
            </a:extLst>
          </p:cNvPr>
          <p:cNvGrpSpPr/>
          <p:nvPr/>
        </p:nvGrpSpPr>
        <p:grpSpPr>
          <a:xfrm>
            <a:off x="6261417" y="1592322"/>
            <a:ext cx="4556714" cy="4981531"/>
            <a:chOff x="6261417" y="1592322"/>
            <a:chExt cx="4556714" cy="4981531"/>
          </a:xfrm>
        </p:grpSpPr>
        <p:sp>
          <p:nvSpPr>
            <p:cNvPr id="287" name="Rectangle 286">
              <a:extLst>
                <a:ext uri="{FF2B5EF4-FFF2-40B4-BE49-F238E27FC236}">
                  <a16:creationId xmlns:a16="http://schemas.microsoft.com/office/drawing/2014/main" id="{69987A3C-A68B-453E-A839-36E5930FEF2D}"/>
                </a:ext>
                <a:ext uri="{C183D7F6-B498-43B3-948B-1728B52AA6E4}">
                  <adec:decorative xmlns:adec="http://schemas.microsoft.com/office/drawing/2017/decorative" val="1"/>
                </a:ext>
              </a:extLst>
            </p:cNvPr>
            <p:cNvSpPr/>
            <p:nvPr/>
          </p:nvSpPr>
          <p:spPr bwMode="auto">
            <a:xfrm>
              <a:off x="6268123" y="1592322"/>
              <a:ext cx="1213941" cy="549458"/>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a:ea typeface="Segoe UI" pitchFamily="34" charset="0"/>
                  <a:cs typeface="Segoe UI Light" panose="020B0502040204020203" pitchFamily="34" charset="0"/>
                </a:rPr>
                <a:t>GET</a:t>
              </a:r>
            </a:p>
          </p:txBody>
        </p:sp>
        <p:cxnSp>
          <p:nvCxnSpPr>
            <p:cNvPr id="288" name="Straight Arrow Connector 287">
              <a:extLst>
                <a:ext uri="{FF2B5EF4-FFF2-40B4-BE49-F238E27FC236}">
                  <a16:creationId xmlns:a16="http://schemas.microsoft.com/office/drawing/2014/main" id="{8C8E409D-D34F-4479-8C30-F16C631BA514}"/>
                </a:ext>
                <a:ext uri="{C183D7F6-B498-43B3-948B-1728B52AA6E4}">
                  <adec:decorative xmlns:adec="http://schemas.microsoft.com/office/drawing/2017/decorative" val="1"/>
                </a:ext>
              </a:extLst>
            </p:cNvPr>
            <p:cNvCxnSpPr>
              <a:cxnSpLocks/>
              <a:stCxn id="287" idx="3"/>
              <a:endCxn id="873" idx="1"/>
            </p:cNvCxnSpPr>
            <p:nvPr/>
          </p:nvCxnSpPr>
          <p:spPr>
            <a:xfrm>
              <a:off x="7482064" y="1867051"/>
              <a:ext cx="440697" cy="1"/>
            </a:xfrm>
            <a:prstGeom prst="straightConnector1">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9" name="Rectangle 288">
              <a:extLst>
                <a:ext uri="{FF2B5EF4-FFF2-40B4-BE49-F238E27FC236}">
                  <a16:creationId xmlns:a16="http://schemas.microsoft.com/office/drawing/2014/main" id="{1C3D7CE1-C666-4129-B296-CBBA8D468F60}"/>
                </a:ext>
                <a:ext uri="{C183D7F6-B498-43B3-948B-1728B52AA6E4}">
                  <adec:decorative xmlns:adec="http://schemas.microsoft.com/office/drawing/2017/decorative" val="1"/>
                </a:ext>
              </a:extLst>
            </p:cNvPr>
            <p:cNvSpPr/>
            <p:nvPr/>
          </p:nvSpPr>
          <p:spPr bwMode="auto">
            <a:xfrm>
              <a:off x="6268123" y="2681248"/>
              <a:ext cx="1213941" cy="549458"/>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a:ea typeface="Segoe UI" pitchFamily="34" charset="0"/>
                  <a:cs typeface="Segoe UI Light" panose="020B0502040204020203" pitchFamily="34" charset="0"/>
                </a:rPr>
                <a:t>POST</a:t>
              </a:r>
            </a:p>
          </p:txBody>
        </p:sp>
        <p:cxnSp>
          <p:nvCxnSpPr>
            <p:cNvPr id="290" name="Straight Arrow Connector 289">
              <a:extLst>
                <a:ext uri="{FF2B5EF4-FFF2-40B4-BE49-F238E27FC236}">
                  <a16:creationId xmlns:a16="http://schemas.microsoft.com/office/drawing/2014/main" id="{BC4140CE-518E-4316-9BD4-EAEEF1185584}"/>
                </a:ext>
                <a:ext uri="{C183D7F6-B498-43B3-948B-1728B52AA6E4}">
                  <adec:decorative xmlns:adec="http://schemas.microsoft.com/office/drawing/2017/decorative" val="1"/>
                </a:ext>
              </a:extLst>
            </p:cNvPr>
            <p:cNvCxnSpPr>
              <a:cxnSpLocks/>
              <a:stCxn id="289" idx="3"/>
            </p:cNvCxnSpPr>
            <p:nvPr/>
          </p:nvCxnSpPr>
          <p:spPr>
            <a:xfrm>
              <a:off x="7482064" y="2955977"/>
              <a:ext cx="440697" cy="0"/>
            </a:xfrm>
            <a:prstGeom prst="straightConnector1">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1" name="Rectangle 290">
              <a:extLst>
                <a:ext uri="{FF2B5EF4-FFF2-40B4-BE49-F238E27FC236}">
                  <a16:creationId xmlns:a16="http://schemas.microsoft.com/office/drawing/2014/main" id="{176D3645-073A-4204-AA72-CB0C57C003DC}"/>
                </a:ext>
                <a:ext uri="{C183D7F6-B498-43B3-948B-1728B52AA6E4}">
                  <adec:decorative xmlns:adec="http://schemas.microsoft.com/office/drawing/2017/decorative" val="1"/>
                </a:ext>
              </a:extLst>
            </p:cNvPr>
            <p:cNvSpPr/>
            <p:nvPr/>
          </p:nvSpPr>
          <p:spPr bwMode="auto">
            <a:xfrm>
              <a:off x="6261417" y="4043297"/>
              <a:ext cx="1213941" cy="549458"/>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a:ea typeface="Segoe UI" pitchFamily="34" charset="0"/>
                  <a:cs typeface="Segoe UI Light" panose="020B0502040204020203" pitchFamily="34" charset="0"/>
                </a:rPr>
                <a:t>PUT</a:t>
              </a:r>
            </a:p>
          </p:txBody>
        </p:sp>
        <p:cxnSp>
          <p:nvCxnSpPr>
            <p:cNvPr id="292" name="Straight Arrow Connector 291">
              <a:extLst>
                <a:ext uri="{FF2B5EF4-FFF2-40B4-BE49-F238E27FC236}">
                  <a16:creationId xmlns:a16="http://schemas.microsoft.com/office/drawing/2014/main" id="{8CBC3FC7-313B-49DB-BA85-C8CE7B2AF46E}"/>
                </a:ext>
                <a:ext uri="{C183D7F6-B498-43B3-948B-1728B52AA6E4}">
                  <adec:decorative xmlns:adec="http://schemas.microsoft.com/office/drawing/2017/decorative" val="1"/>
                </a:ext>
              </a:extLst>
            </p:cNvPr>
            <p:cNvCxnSpPr>
              <a:cxnSpLocks/>
              <a:stCxn id="291" idx="3"/>
              <a:endCxn id="874" idx="1"/>
            </p:cNvCxnSpPr>
            <p:nvPr/>
          </p:nvCxnSpPr>
          <p:spPr>
            <a:xfrm>
              <a:off x="7475358" y="4318026"/>
              <a:ext cx="447403" cy="1"/>
            </a:xfrm>
            <a:prstGeom prst="straightConnector1">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F76D325C-CFC2-4BA7-BF92-DE058BDCA867}"/>
                </a:ext>
                <a:ext uri="{C183D7F6-B498-43B3-948B-1728B52AA6E4}">
                  <adec:decorative xmlns:adec="http://schemas.microsoft.com/office/drawing/2017/decorative" val="1"/>
                </a:ext>
              </a:extLst>
            </p:cNvPr>
            <p:cNvSpPr/>
            <p:nvPr/>
          </p:nvSpPr>
          <p:spPr bwMode="auto">
            <a:xfrm>
              <a:off x="6268123" y="5475449"/>
              <a:ext cx="1213941" cy="549458"/>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light"/>
                  <a:ea typeface="Segoe UI" pitchFamily="34" charset="0"/>
                  <a:cs typeface="Segoe UI Light" panose="020B0502040204020203" pitchFamily="34" charset="0"/>
                </a:rPr>
                <a:t>Query</a:t>
              </a:r>
            </a:p>
          </p:txBody>
        </p:sp>
        <p:cxnSp>
          <p:nvCxnSpPr>
            <p:cNvPr id="294" name="Straight Arrow Connector 293">
              <a:extLst>
                <a:ext uri="{FF2B5EF4-FFF2-40B4-BE49-F238E27FC236}">
                  <a16:creationId xmlns:a16="http://schemas.microsoft.com/office/drawing/2014/main" id="{8AC515F7-6745-45C8-8492-942BB571BF7A}"/>
                </a:ext>
                <a:ext uri="{C183D7F6-B498-43B3-948B-1728B52AA6E4}">
                  <adec:decorative xmlns:adec="http://schemas.microsoft.com/office/drawing/2017/decorative" val="1"/>
                </a:ext>
              </a:extLst>
            </p:cNvPr>
            <p:cNvCxnSpPr>
              <a:cxnSpLocks/>
              <a:stCxn id="293" idx="3"/>
            </p:cNvCxnSpPr>
            <p:nvPr/>
          </p:nvCxnSpPr>
          <p:spPr>
            <a:xfrm>
              <a:off x="7482064" y="5750178"/>
              <a:ext cx="437924" cy="0"/>
            </a:xfrm>
            <a:prstGeom prst="straightConnector1">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5" name="TextBox 294">
              <a:extLst>
                <a:ext uri="{FF2B5EF4-FFF2-40B4-BE49-F238E27FC236}">
                  <a16:creationId xmlns:a16="http://schemas.microsoft.com/office/drawing/2014/main" id="{56610754-CD0C-49B9-9FD7-3E260607F7DD}"/>
                </a:ext>
                <a:ext uri="{C183D7F6-B498-43B3-948B-1728B52AA6E4}">
                  <adec:decorative xmlns:adec="http://schemas.microsoft.com/office/drawing/2017/decorative" val="1"/>
                </a:ext>
              </a:extLst>
            </p:cNvPr>
            <p:cNvSpPr txBox="1"/>
            <p:nvPr/>
          </p:nvSpPr>
          <p:spPr>
            <a:xfrm>
              <a:off x="8155936" y="6241454"/>
              <a:ext cx="530941"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light"/>
                  <a:ea typeface="+mn-ea"/>
                  <a:cs typeface="+mn-cs"/>
                </a:rPr>
                <a:t>…</a:t>
              </a:r>
            </a:p>
          </p:txBody>
        </p:sp>
        <p:sp>
          <p:nvSpPr>
            <p:cNvPr id="297" name="Rectangle 296">
              <a:extLst>
                <a:ext uri="{FF2B5EF4-FFF2-40B4-BE49-F238E27FC236}">
                  <a16:creationId xmlns:a16="http://schemas.microsoft.com/office/drawing/2014/main" id="{A36EB25D-ADC7-4044-91AD-4C63BA7F08C3}"/>
                </a:ext>
                <a:ext uri="{C183D7F6-B498-43B3-948B-1728B52AA6E4}">
                  <adec:decorative xmlns:adec="http://schemas.microsoft.com/office/drawing/2017/decorative" val="1"/>
                </a:ext>
              </a:extLst>
            </p:cNvPr>
            <p:cNvSpPr/>
            <p:nvPr/>
          </p:nvSpPr>
          <p:spPr bwMode="auto">
            <a:xfrm>
              <a:off x="9778278" y="1628825"/>
              <a:ext cx="851793" cy="476453"/>
            </a:xfrm>
            <a:prstGeom prst="rect">
              <a:avLst/>
            </a:prstGeom>
            <a:solidFill>
              <a:schemeClr val="bg1">
                <a:lumMod val="95000"/>
              </a:schemeClr>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1" name="Rectangle 310">
              <a:extLst>
                <a:ext uri="{FF2B5EF4-FFF2-40B4-BE49-F238E27FC236}">
                  <a16:creationId xmlns:a16="http://schemas.microsoft.com/office/drawing/2014/main" id="{020734F0-87FB-4793-81DD-9AD4761875A7}"/>
                </a:ext>
                <a:ext uri="{C183D7F6-B498-43B3-948B-1728B52AA6E4}">
                  <adec:decorative xmlns:adec="http://schemas.microsoft.com/office/drawing/2017/decorative" val="1"/>
                </a:ext>
              </a:extLst>
            </p:cNvPr>
            <p:cNvSpPr/>
            <p:nvPr/>
          </p:nvSpPr>
          <p:spPr bwMode="auto">
            <a:xfrm>
              <a:off x="10153364" y="1912700"/>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2" name="Oval 311">
              <a:extLst>
                <a:ext uri="{FF2B5EF4-FFF2-40B4-BE49-F238E27FC236}">
                  <a16:creationId xmlns:a16="http://schemas.microsoft.com/office/drawing/2014/main" id="{2C42C0B9-4744-4638-B47C-2E59CC52CCF6}"/>
                </a:ext>
                <a:ext uri="{C183D7F6-B498-43B3-948B-1728B52AA6E4}">
                  <adec:decorative xmlns:adec="http://schemas.microsoft.com/office/drawing/2017/decorative" val="1"/>
                </a:ext>
              </a:extLst>
            </p:cNvPr>
            <p:cNvSpPr/>
            <p:nvPr/>
          </p:nvSpPr>
          <p:spPr bwMode="auto">
            <a:xfrm flipH="1">
              <a:off x="10284859" y="1928456"/>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13" name="Straight Connector 312">
              <a:extLst>
                <a:ext uri="{FF2B5EF4-FFF2-40B4-BE49-F238E27FC236}">
                  <a16:creationId xmlns:a16="http://schemas.microsoft.com/office/drawing/2014/main" id="{7E72B7FD-B5CF-4D81-B2A2-6455DE6644C4}"/>
                </a:ext>
                <a:ext uri="{C183D7F6-B498-43B3-948B-1728B52AA6E4}">
                  <adec:decorative xmlns:adec="http://schemas.microsoft.com/office/drawing/2017/decorative" val="1"/>
                </a:ext>
              </a:extLst>
            </p:cNvPr>
            <p:cNvCxnSpPr/>
            <p:nvPr/>
          </p:nvCxnSpPr>
          <p:spPr>
            <a:xfrm>
              <a:off x="10177366" y="1936948"/>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4" name="Rectangle 313">
              <a:extLst>
                <a:ext uri="{FF2B5EF4-FFF2-40B4-BE49-F238E27FC236}">
                  <a16:creationId xmlns:a16="http://schemas.microsoft.com/office/drawing/2014/main" id="{3B266CA0-503F-4790-8DA5-2C7EEB2660E2}"/>
                </a:ext>
                <a:ext uri="{C183D7F6-B498-43B3-948B-1728B52AA6E4}">
                  <adec:decorative xmlns:adec="http://schemas.microsoft.com/office/drawing/2017/decorative" val="1"/>
                </a:ext>
              </a:extLst>
            </p:cNvPr>
            <p:cNvSpPr/>
            <p:nvPr/>
          </p:nvSpPr>
          <p:spPr bwMode="auto">
            <a:xfrm>
              <a:off x="10153364" y="1962697"/>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Oval 314">
              <a:extLst>
                <a:ext uri="{FF2B5EF4-FFF2-40B4-BE49-F238E27FC236}">
                  <a16:creationId xmlns:a16="http://schemas.microsoft.com/office/drawing/2014/main" id="{496EC3A9-DE64-422D-8F04-047C214BC4E5}"/>
                </a:ext>
                <a:ext uri="{C183D7F6-B498-43B3-948B-1728B52AA6E4}">
                  <adec:decorative xmlns:adec="http://schemas.microsoft.com/office/drawing/2017/decorative" val="1"/>
                </a:ext>
              </a:extLst>
            </p:cNvPr>
            <p:cNvSpPr/>
            <p:nvPr/>
          </p:nvSpPr>
          <p:spPr bwMode="auto">
            <a:xfrm flipH="1">
              <a:off x="10284859" y="1978453"/>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16" name="Straight Connector 315">
              <a:extLst>
                <a:ext uri="{FF2B5EF4-FFF2-40B4-BE49-F238E27FC236}">
                  <a16:creationId xmlns:a16="http://schemas.microsoft.com/office/drawing/2014/main" id="{AADBCE6D-B1E5-49AA-8274-07CA2648D0A8}"/>
                </a:ext>
                <a:ext uri="{C183D7F6-B498-43B3-948B-1728B52AA6E4}">
                  <adec:decorative xmlns:adec="http://schemas.microsoft.com/office/drawing/2017/decorative" val="1"/>
                </a:ext>
              </a:extLst>
            </p:cNvPr>
            <p:cNvCxnSpPr/>
            <p:nvPr/>
          </p:nvCxnSpPr>
          <p:spPr>
            <a:xfrm>
              <a:off x="10177366" y="1986944"/>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7" name="Rectangle 316">
              <a:extLst>
                <a:ext uri="{FF2B5EF4-FFF2-40B4-BE49-F238E27FC236}">
                  <a16:creationId xmlns:a16="http://schemas.microsoft.com/office/drawing/2014/main" id="{B7E0B699-D5ED-411E-97C7-54B145F134E0}"/>
                </a:ext>
                <a:ext uri="{C183D7F6-B498-43B3-948B-1728B52AA6E4}">
                  <adec:decorative xmlns:adec="http://schemas.microsoft.com/office/drawing/2017/decorative" val="1"/>
                </a:ext>
              </a:extLst>
            </p:cNvPr>
            <p:cNvSpPr/>
            <p:nvPr/>
          </p:nvSpPr>
          <p:spPr bwMode="auto">
            <a:xfrm>
              <a:off x="10153364" y="1862704"/>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Oval 317">
              <a:extLst>
                <a:ext uri="{FF2B5EF4-FFF2-40B4-BE49-F238E27FC236}">
                  <a16:creationId xmlns:a16="http://schemas.microsoft.com/office/drawing/2014/main" id="{3759AC01-01E8-4CE1-B352-D1223E68B00E}"/>
                </a:ext>
                <a:ext uri="{C183D7F6-B498-43B3-948B-1728B52AA6E4}">
                  <adec:decorative xmlns:adec="http://schemas.microsoft.com/office/drawing/2017/decorative" val="1"/>
                </a:ext>
              </a:extLst>
            </p:cNvPr>
            <p:cNvSpPr/>
            <p:nvPr/>
          </p:nvSpPr>
          <p:spPr bwMode="auto">
            <a:xfrm flipH="1">
              <a:off x="10284859" y="1878460"/>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19" name="Straight Connector 318">
              <a:extLst>
                <a:ext uri="{FF2B5EF4-FFF2-40B4-BE49-F238E27FC236}">
                  <a16:creationId xmlns:a16="http://schemas.microsoft.com/office/drawing/2014/main" id="{03E1AE6E-56FD-4FF1-9CDF-BB66E9B37CF7}"/>
                </a:ext>
                <a:ext uri="{C183D7F6-B498-43B3-948B-1728B52AA6E4}">
                  <adec:decorative xmlns:adec="http://schemas.microsoft.com/office/drawing/2017/decorative" val="1"/>
                </a:ext>
              </a:extLst>
            </p:cNvPr>
            <p:cNvCxnSpPr/>
            <p:nvPr/>
          </p:nvCxnSpPr>
          <p:spPr>
            <a:xfrm>
              <a:off x="10177366" y="1886952"/>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0" name="Rectangle 319">
              <a:extLst>
                <a:ext uri="{FF2B5EF4-FFF2-40B4-BE49-F238E27FC236}">
                  <a16:creationId xmlns:a16="http://schemas.microsoft.com/office/drawing/2014/main" id="{EA883D30-540B-4DFB-B1D3-D509B3E89BFB}"/>
                </a:ext>
                <a:ext uri="{C183D7F6-B498-43B3-948B-1728B52AA6E4}">
                  <adec:decorative xmlns:adec="http://schemas.microsoft.com/office/drawing/2017/decorative" val="1"/>
                </a:ext>
              </a:extLst>
            </p:cNvPr>
            <p:cNvSpPr/>
            <p:nvPr/>
          </p:nvSpPr>
          <p:spPr bwMode="auto">
            <a:xfrm>
              <a:off x="10153364" y="1762711"/>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1" name="Oval 320">
              <a:extLst>
                <a:ext uri="{FF2B5EF4-FFF2-40B4-BE49-F238E27FC236}">
                  <a16:creationId xmlns:a16="http://schemas.microsoft.com/office/drawing/2014/main" id="{58569602-DBE4-4703-B2C4-0B80094654FE}"/>
                </a:ext>
                <a:ext uri="{C183D7F6-B498-43B3-948B-1728B52AA6E4}">
                  <adec:decorative xmlns:adec="http://schemas.microsoft.com/office/drawing/2017/decorative" val="1"/>
                </a:ext>
              </a:extLst>
            </p:cNvPr>
            <p:cNvSpPr/>
            <p:nvPr/>
          </p:nvSpPr>
          <p:spPr bwMode="auto">
            <a:xfrm flipH="1">
              <a:off x="10284859" y="1778467"/>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22" name="Straight Connector 321">
              <a:extLst>
                <a:ext uri="{FF2B5EF4-FFF2-40B4-BE49-F238E27FC236}">
                  <a16:creationId xmlns:a16="http://schemas.microsoft.com/office/drawing/2014/main" id="{2527DE68-5AFE-4E41-B70D-7050B056EFE7}"/>
                </a:ext>
                <a:ext uri="{C183D7F6-B498-43B3-948B-1728B52AA6E4}">
                  <adec:decorative xmlns:adec="http://schemas.microsoft.com/office/drawing/2017/decorative" val="1"/>
                </a:ext>
              </a:extLst>
            </p:cNvPr>
            <p:cNvCxnSpPr/>
            <p:nvPr/>
          </p:nvCxnSpPr>
          <p:spPr>
            <a:xfrm>
              <a:off x="10177366" y="1786959"/>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Rectangle 322">
              <a:extLst>
                <a:ext uri="{FF2B5EF4-FFF2-40B4-BE49-F238E27FC236}">
                  <a16:creationId xmlns:a16="http://schemas.microsoft.com/office/drawing/2014/main" id="{B46E5BAC-010A-457F-A24F-1DE67DB993BC}"/>
                </a:ext>
                <a:ext uri="{C183D7F6-B498-43B3-948B-1728B52AA6E4}">
                  <adec:decorative xmlns:adec="http://schemas.microsoft.com/office/drawing/2017/decorative" val="1"/>
                </a:ext>
              </a:extLst>
            </p:cNvPr>
            <p:cNvSpPr/>
            <p:nvPr/>
          </p:nvSpPr>
          <p:spPr bwMode="auto">
            <a:xfrm>
              <a:off x="10153364" y="1812708"/>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4" name="Oval 323">
              <a:extLst>
                <a:ext uri="{FF2B5EF4-FFF2-40B4-BE49-F238E27FC236}">
                  <a16:creationId xmlns:a16="http://schemas.microsoft.com/office/drawing/2014/main" id="{D2D99B57-F4B5-4576-8C5F-8FA6EA959EF7}"/>
                </a:ext>
                <a:ext uri="{C183D7F6-B498-43B3-948B-1728B52AA6E4}">
                  <adec:decorative xmlns:adec="http://schemas.microsoft.com/office/drawing/2017/decorative" val="1"/>
                </a:ext>
              </a:extLst>
            </p:cNvPr>
            <p:cNvSpPr/>
            <p:nvPr/>
          </p:nvSpPr>
          <p:spPr bwMode="auto">
            <a:xfrm flipH="1">
              <a:off x="10284859" y="1828463"/>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25" name="Straight Connector 324">
              <a:extLst>
                <a:ext uri="{FF2B5EF4-FFF2-40B4-BE49-F238E27FC236}">
                  <a16:creationId xmlns:a16="http://schemas.microsoft.com/office/drawing/2014/main" id="{0D1603CD-CDEB-499B-94A8-611AF3B71000}"/>
                </a:ext>
                <a:ext uri="{C183D7F6-B498-43B3-948B-1728B52AA6E4}">
                  <adec:decorative xmlns:adec="http://schemas.microsoft.com/office/drawing/2017/decorative" val="1"/>
                </a:ext>
              </a:extLst>
            </p:cNvPr>
            <p:cNvCxnSpPr/>
            <p:nvPr/>
          </p:nvCxnSpPr>
          <p:spPr>
            <a:xfrm>
              <a:off x="10177366" y="1836955"/>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6" name="Rectangle 325">
              <a:extLst>
                <a:ext uri="{FF2B5EF4-FFF2-40B4-BE49-F238E27FC236}">
                  <a16:creationId xmlns:a16="http://schemas.microsoft.com/office/drawing/2014/main" id="{D10C07D9-021D-427C-A80F-7775F34B21B1}"/>
                </a:ext>
                <a:ext uri="{C183D7F6-B498-43B3-948B-1728B52AA6E4}">
                  <adec:decorative xmlns:adec="http://schemas.microsoft.com/office/drawing/2017/decorative" val="1"/>
                </a:ext>
              </a:extLst>
            </p:cNvPr>
            <p:cNvSpPr/>
            <p:nvPr/>
          </p:nvSpPr>
          <p:spPr bwMode="auto">
            <a:xfrm>
              <a:off x="10153364" y="1712715"/>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7" name="Oval 326">
              <a:extLst>
                <a:ext uri="{FF2B5EF4-FFF2-40B4-BE49-F238E27FC236}">
                  <a16:creationId xmlns:a16="http://schemas.microsoft.com/office/drawing/2014/main" id="{146679F0-88E4-48AD-BEA5-22BAE1513705}"/>
                </a:ext>
                <a:ext uri="{C183D7F6-B498-43B3-948B-1728B52AA6E4}">
                  <adec:decorative xmlns:adec="http://schemas.microsoft.com/office/drawing/2017/decorative" val="1"/>
                </a:ext>
              </a:extLst>
            </p:cNvPr>
            <p:cNvSpPr/>
            <p:nvPr/>
          </p:nvSpPr>
          <p:spPr bwMode="auto">
            <a:xfrm flipH="1">
              <a:off x="10284859" y="1728471"/>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28" name="Straight Connector 327">
              <a:extLst>
                <a:ext uri="{FF2B5EF4-FFF2-40B4-BE49-F238E27FC236}">
                  <a16:creationId xmlns:a16="http://schemas.microsoft.com/office/drawing/2014/main" id="{09BB54EA-C1D0-4E8E-A930-281734DE180D}"/>
                </a:ext>
                <a:ext uri="{C183D7F6-B498-43B3-948B-1728B52AA6E4}">
                  <adec:decorative xmlns:adec="http://schemas.microsoft.com/office/drawing/2017/decorative" val="1"/>
                </a:ext>
              </a:extLst>
            </p:cNvPr>
            <p:cNvCxnSpPr/>
            <p:nvPr/>
          </p:nvCxnSpPr>
          <p:spPr>
            <a:xfrm>
              <a:off x="10177366" y="1736963"/>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9" name="Flowchart: Direct Access Storage 298">
              <a:extLst>
                <a:ext uri="{FF2B5EF4-FFF2-40B4-BE49-F238E27FC236}">
                  <a16:creationId xmlns:a16="http://schemas.microsoft.com/office/drawing/2014/main" id="{3C816D17-1574-4491-A8BD-BDB7315B4564}"/>
                </a:ext>
                <a:ext uri="{C183D7F6-B498-43B3-948B-1728B52AA6E4}">
                  <adec:decorative xmlns:adec="http://schemas.microsoft.com/office/drawing/2017/decorative" val="1"/>
                </a:ext>
              </a:extLst>
            </p:cNvPr>
            <p:cNvSpPr/>
            <p:nvPr/>
          </p:nvSpPr>
          <p:spPr bwMode="auto">
            <a:xfrm>
              <a:off x="10402941" y="1712715"/>
              <a:ext cx="113954" cy="299596"/>
            </a:xfrm>
            <a:prstGeom prst="flowChartMagneticDrum">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301" name="Rectangle 5">
              <a:extLst>
                <a:ext uri="{FF2B5EF4-FFF2-40B4-BE49-F238E27FC236}">
                  <a16:creationId xmlns:a16="http://schemas.microsoft.com/office/drawing/2014/main" id="{9E5D18A6-D035-411E-9CE7-234B4A0B4D02}"/>
                </a:ext>
                <a:ext uri="{C183D7F6-B498-43B3-948B-1728B52AA6E4}">
                  <adec:decorative xmlns:adec="http://schemas.microsoft.com/office/drawing/2017/decorative" val="1"/>
                </a:ext>
              </a:extLst>
            </p:cNvPr>
            <p:cNvSpPr>
              <a:spLocks noChangeArrowheads="1"/>
            </p:cNvSpPr>
            <p:nvPr/>
          </p:nvSpPr>
          <p:spPr bwMode="auto">
            <a:xfrm>
              <a:off x="9874808" y="1710752"/>
              <a:ext cx="191148" cy="299597"/>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02" name="Freeform 6">
              <a:extLst>
                <a:ext uri="{FF2B5EF4-FFF2-40B4-BE49-F238E27FC236}">
                  <a16:creationId xmlns:a16="http://schemas.microsoft.com/office/drawing/2014/main" id="{6DEF47F5-5AFA-420D-8361-80701AFD24E5}"/>
                </a:ext>
                <a:ext uri="{C183D7F6-B498-43B3-948B-1728B52AA6E4}">
                  <adec:decorative xmlns:adec="http://schemas.microsoft.com/office/drawing/2017/decorative" val="1"/>
                </a:ext>
              </a:extLst>
            </p:cNvPr>
            <p:cNvSpPr>
              <a:spLocks/>
            </p:cNvSpPr>
            <p:nvPr/>
          </p:nvSpPr>
          <p:spPr bwMode="auto">
            <a:xfrm>
              <a:off x="9895281" y="1745764"/>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03" name="Freeform 7">
              <a:extLst>
                <a:ext uri="{FF2B5EF4-FFF2-40B4-BE49-F238E27FC236}">
                  <a16:creationId xmlns:a16="http://schemas.microsoft.com/office/drawing/2014/main" id="{A8509973-5258-4C08-864A-22B54C0F29E4}"/>
                </a:ext>
                <a:ext uri="{C183D7F6-B498-43B3-948B-1728B52AA6E4}">
                  <adec:decorative xmlns:adec="http://schemas.microsoft.com/office/drawing/2017/decorative" val="1"/>
                </a:ext>
              </a:extLst>
            </p:cNvPr>
            <p:cNvSpPr>
              <a:spLocks/>
            </p:cNvSpPr>
            <p:nvPr/>
          </p:nvSpPr>
          <p:spPr bwMode="auto">
            <a:xfrm>
              <a:off x="9895281" y="1799833"/>
              <a:ext cx="150201" cy="30580"/>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04" name="Freeform 8">
              <a:extLst>
                <a:ext uri="{FF2B5EF4-FFF2-40B4-BE49-F238E27FC236}">
                  <a16:creationId xmlns:a16="http://schemas.microsoft.com/office/drawing/2014/main" id="{E23DCA46-8C28-4F6B-A950-8B3B1E8A04F3}"/>
                </a:ext>
                <a:ext uri="{C183D7F6-B498-43B3-948B-1728B52AA6E4}">
                  <adec:decorative xmlns:adec="http://schemas.microsoft.com/office/drawing/2017/decorative" val="1"/>
                </a:ext>
              </a:extLst>
            </p:cNvPr>
            <p:cNvSpPr>
              <a:spLocks/>
            </p:cNvSpPr>
            <p:nvPr/>
          </p:nvSpPr>
          <p:spPr bwMode="auto">
            <a:xfrm>
              <a:off x="9895281" y="1853460"/>
              <a:ext cx="150201" cy="3058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05" name="Freeform 9">
              <a:extLst>
                <a:ext uri="{FF2B5EF4-FFF2-40B4-BE49-F238E27FC236}">
                  <a16:creationId xmlns:a16="http://schemas.microsoft.com/office/drawing/2014/main" id="{69259FBB-B385-4273-BB3A-EE260B95746F}"/>
                </a:ext>
                <a:ext uri="{C183D7F6-B498-43B3-948B-1728B52AA6E4}">
                  <adec:decorative xmlns:adec="http://schemas.microsoft.com/office/drawing/2017/decorative" val="1"/>
                </a:ext>
              </a:extLst>
            </p:cNvPr>
            <p:cNvSpPr>
              <a:spLocks/>
            </p:cNvSpPr>
            <p:nvPr/>
          </p:nvSpPr>
          <p:spPr bwMode="auto">
            <a:xfrm>
              <a:off x="9895281" y="1907529"/>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07" name="Oval 14">
              <a:extLst>
                <a:ext uri="{FF2B5EF4-FFF2-40B4-BE49-F238E27FC236}">
                  <a16:creationId xmlns:a16="http://schemas.microsoft.com/office/drawing/2014/main" id="{0241D0E9-C43E-431E-8C39-4673233E7BEA}"/>
                </a:ext>
                <a:ext uri="{C183D7F6-B498-43B3-948B-1728B52AA6E4}">
                  <adec:decorative xmlns:adec="http://schemas.microsoft.com/office/drawing/2017/decorative" val="1"/>
                </a:ext>
              </a:extLst>
            </p:cNvPr>
            <p:cNvSpPr>
              <a:spLocks noChangeArrowheads="1"/>
            </p:cNvSpPr>
            <p:nvPr/>
          </p:nvSpPr>
          <p:spPr bwMode="auto">
            <a:xfrm>
              <a:off x="10019248" y="1752191"/>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08" name="Oval 15">
              <a:extLst>
                <a:ext uri="{FF2B5EF4-FFF2-40B4-BE49-F238E27FC236}">
                  <a16:creationId xmlns:a16="http://schemas.microsoft.com/office/drawing/2014/main" id="{E5D1AAAD-DDC3-4287-96C6-735B3563E0DB}"/>
                </a:ext>
                <a:ext uri="{C183D7F6-B498-43B3-948B-1728B52AA6E4}">
                  <adec:decorative xmlns:adec="http://schemas.microsoft.com/office/drawing/2017/decorative" val="1"/>
                </a:ext>
              </a:extLst>
            </p:cNvPr>
            <p:cNvSpPr>
              <a:spLocks noChangeArrowheads="1"/>
            </p:cNvSpPr>
            <p:nvPr/>
          </p:nvSpPr>
          <p:spPr bwMode="auto">
            <a:xfrm>
              <a:off x="10019248" y="1806260"/>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09" name="Oval 16">
              <a:extLst>
                <a:ext uri="{FF2B5EF4-FFF2-40B4-BE49-F238E27FC236}">
                  <a16:creationId xmlns:a16="http://schemas.microsoft.com/office/drawing/2014/main" id="{082B01AB-19D6-44E1-B7F5-6F0EA65E06F1}"/>
                </a:ext>
                <a:ext uri="{C183D7F6-B498-43B3-948B-1728B52AA6E4}">
                  <adec:decorative xmlns:adec="http://schemas.microsoft.com/office/drawing/2017/decorative" val="1"/>
                </a:ext>
              </a:extLst>
            </p:cNvPr>
            <p:cNvSpPr>
              <a:spLocks noChangeArrowheads="1"/>
            </p:cNvSpPr>
            <p:nvPr/>
          </p:nvSpPr>
          <p:spPr bwMode="auto">
            <a:xfrm>
              <a:off x="10019248" y="1860329"/>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10" name="Oval 17">
              <a:extLst>
                <a:ext uri="{FF2B5EF4-FFF2-40B4-BE49-F238E27FC236}">
                  <a16:creationId xmlns:a16="http://schemas.microsoft.com/office/drawing/2014/main" id="{7AD0F89F-BC0D-4E2B-BAA5-ECC4D75D23AA}"/>
                </a:ext>
                <a:ext uri="{C183D7F6-B498-43B3-948B-1728B52AA6E4}">
                  <adec:decorative xmlns:adec="http://schemas.microsoft.com/office/drawing/2017/decorative" val="1"/>
                </a:ext>
              </a:extLst>
            </p:cNvPr>
            <p:cNvSpPr>
              <a:spLocks noChangeArrowheads="1"/>
            </p:cNvSpPr>
            <p:nvPr/>
          </p:nvSpPr>
          <p:spPr bwMode="auto">
            <a:xfrm>
              <a:off x="10019248" y="1914399"/>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64" name="Rectangle 363">
              <a:extLst>
                <a:ext uri="{FF2B5EF4-FFF2-40B4-BE49-F238E27FC236}">
                  <a16:creationId xmlns:a16="http://schemas.microsoft.com/office/drawing/2014/main" id="{A929BAB6-490A-4D5B-9B79-8CCE5FF3431B}"/>
                </a:ext>
                <a:ext uri="{C183D7F6-B498-43B3-948B-1728B52AA6E4}">
                  <adec:decorative xmlns:adec="http://schemas.microsoft.com/office/drawing/2017/decorative" val="1"/>
                </a:ext>
              </a:extLst>
            </p:cNvPr>
            <p:cNvSpPr/>
            <p:nvPr/>
          </p:nvSpPr>
          <p:spPr bwMode="auto">
            <a:xfrm>
              <a:off x="9778278" y="2444627"/>
              <a:ext cx="851793" cy="476453"/>
            </a:xfrm>
            <a:prstGeom prst="rect">
              <a:avLst/>
            </a:prstGeom>
            <a:solidFill>
              <a:schemeClr val="bg1">
                <a:lumMod val="95000"/>
              </a:schemeClr>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8" name="Rectangle 377">
              <a:extLst>
                <a:ext uri="{FF2B5EF4-FFF2-40B4-BE49-F238E27FC236}">
                  <a16:creationId xmlns:a16="http://schemas.microsoft.com/office/drawing/2014/main" id="{441944B2-E699-4B7B-AB05-A562271725FA}"/>
                </a:ext>
                <a:ext uri="{C183D7F6-B498-43B3-948B-1728B52AA6E4}">
                  <adec:decorative xmlns:adec="http://schemas.microsoft.com/office/drawing/2017/decorative" val="1"/>
                </a:ext>
              </a:extLst>
            </p:cNvPr>
            <p:cNvSpPr/>
            <p:nvPr/>
          </p:nvSpPr>
          <p:spPr bwMode="auto">
            <a:xfrm>
              <a:off x="10153364" y="2728502"/>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9" name="Oval 378">
              <a:extLst>
                <a:ext uri="{FF2B5EF4-FFF2-40B4-BE49-F238E27FC236}">
                  <a16:creationId xmlns:a16="http://schemas.microsoft.com/office/drawing/2014/main" id="{290DCE6B-0123-4DAC-A3B6-B70FEEB54C2B}"/>
                </a:ext>
                <a:ext uri="{C183D7F6-B498-43B3-948B-1728B52AA6E4}">
                  <adec:decorative xmlns:adec="http://schemas.microsoft.com/office/drawing/2017/decorative" val="1"/>
                </a:ext>
              </a:extLst>
            </p:cNvPr>
            <p:cNvSpPr/>
            <p:nvPr/>
          </p:nvSpPr>
          <p:spPr bwMode="auto">
            <a:xfrm flipH="1">
              <a:off x="10284859" y="2744258"/>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80" name="Straight Connector 379">
              <a:extLst>
                <a:ext uri="{FF2B5EF4-FFF2-40B4-BE49-F238E27FC236}">
                  <a16:creationId xmlns:a16="http://schemas.microsoft.com/office/drawing/2014/main" id="{111D5E43-DF75-47D4-9232-71FFE09EBE53}"/>
                </a:ext>
                <a:ext uri="{C183D7F6-B498-43B3-948B-1728B52AA6E4}">
                  <adec:decorative xmlns:adec="http://schemas.microsoft.com/office/drawing/2017/decorative" val="1"/>
                </a:ext>
              </a:extLst>
            </p:cNvPr>
            <p:cNvCxnSpPr/>
            <p:nvPr/>
          </p:nvCxnSpPr>
          <p:spPr>
            <a:xfrm>
              <a:off x="10177366" y="2752750"/>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1" name="Rectangle 380">
              <a:extLst>
                <a:ext uri="{FF2B5EF4-FFF2-40B4-BE49-F238E27FC236}">
                  <a16:creationId xmlns:a16="http://schemas.microsoft.com/office/drawing/2014/main" id="{A485D029-62D4-40A3-91BD-41A9DD569C7E}"/>
                </a:ext>
                <a:ext uri="{C183D7F6-B498-43B3-948B-1728B52AA6E4}">
                  <adec:decorative xmlns:adec="http://schemas.microsoft.com/office/drawing/2017/decorative" val="1"/>
                </a:ext>
              </a:extLst>
            </p:cNvPr>
            <p:cNvSpPr/>
            <p:nvPr/>
          </p:nvSpPr>
          <p:spPr bwMode="auto">
            <a:xfrm>
              <a:off x="10153364" y="2778499"/>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2" name="Oval 381">
              <a:extLst>
                <a:ext uri="{FF2B5EF4-FFF2-40B4-BE49-F238E27FC236}">
                  <a16:creationId xmlns:a16="http://schemas.microsoft.com/office/drawing/2014/main" id="{5B9837ED-B898-49D1-8134-BF9341349112}"/>
                </a:ext>
                <a:ext uri="{C183D7F6-B498-43B3-948B-1728B52AA6E4}">
                  <adec:decorative xmlns:adec="http://schemas.microsoft.com/office/drawing/2017/decorative" val="1"/>
                </a:ext>
              </a:extLst>
            </p:cNvPr>
            <p:cNvSpPr/>
            <p:nvPr/>
          </p:nvSpPr>
          <p:spPr bwMode="auto">
            <a:xfrm flipH="1">
              <a:off x="10284859" y="2794255"/>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83" name="Straight Connector 382">
              <a:extLst>
                <a:ext uri="{FF2B5EF4-FFF2-40B4-BE49-F238E27FC236}">
                  <a16:creationId xmlns:a16="http://schemas.microsoft.com/office/drawing/2014/main" id="{30F50CF6-3DB8-4CA2-8A7D-DAC6962DC67E}"/>
                </a:ext>
                <a:ext uri="{C183D7F6-B498-43B3-948B-1728B52AA6E4}">
                  <adec:decorative xmlns:adec="http://schemas.microsoft.com/office/drawing/2017/decorative" val="1"/>
                </a:ext>
              </a:extLst>
            </p:cNvPr>
            <p:cNvCxnSpPr/>
            <p:nvPr/>
          </p:nvCxnSpPr>
          <p:spPr>
            <a:xfrm>
              <a:off x="10177366" y="2802746"/>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4" name="Rectangle 383">
              <a:extLst>
                <a:ext uri="{FF2B5EF4-FFF2-40B4-BE49-F238E27FC236}">
                  <a16:creationId xmlns:a16="http://schemas.microsoft.com/office/drawing/2014/main" id="{BDCBA846-F2E9-4BE3-AFC3-FA22275BAE7F}"/>
                </a:ext>
                <a:ext uri="{C183D7F6-B498-43B3-948B-1728B52AA6E4}">
                  <adec:decorative xmlns:adec="http://schemas.microsoft.com/office/drawing/2017/decorative" val="1"/>
                </a:ext>
              </a:extLst>
            </p:cNvPr>
            <p:cNvSpPr/>
            <p:nvPr/>
          </p:nvSpPr>
          <p:spPr bwMode="auto">
            <a:xfrm>
              <a:off x="10153364" y="2678506"/>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5" name="Oval 384">
              <a:extLst>
                <a:ext uri="{FF2B5EF4-FFF2-40B4-BE49-F238E27FC236}">
                  <a16:creationId xmlns:a16="http://schemas.microsoft.com/office/drawing/2014/main" id="{4B40BD45-AC16-4754-A5C3-0CD9CCFAAC42}"/>
                </a:ext>
                <a:ext uri="{C183D7F6-B498-43B3-948B-1728B52AA6E4}">
                  <adec:decorative xmlns:adec="http://schemas.microsoft.com/office/drawing/2017/decorative" val="1"/>
                </a:ext>
              </a:extLst>
            </p:cNvPr>
            <p:cNvSpPr/>
            <p:nvPr/>
          </p:nvSpPr>
          <p:spPr bwMode="auto">
            <a:xfrm flipH="1">
              <a:off x="10284859" y="2694262"/>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86" name="Straight Connector 385">
              <a:extLst>
                <a:ext uri="{FF2B5EF4-FFF2-40B4-BE49-F238E27FC236}">
                  <a16:creationId xmlns:a16="http://schemas.microsoft.com/office/drawing/2014/main" id="{071764A9-ACFE-4BFC-A1A2-A4EFD9377DF3}"/>
                </a:ext>
                <a:ext uri="{C183D7F6-B498-43B3-948B-1728B52AA6E4}">
                  <adec:decorative xmlns:adec="http://schemas.microsoft.com/office/drawing/2017/decorative" val="1"/>
                </a:ext>
              </a:extLst>
            </p:cNvPr>
            <p:cNvCxnSpPr/>
            <p:nvPr/>
          </p:nvCxnSpPr>
          <p:spPr>
            <a:xfrm>
              <a:off x="10177366" y="2702754"/>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7" name="Rectangle 386">
              <a:extLst>
                <a:ext uri="{FF2B5EF4-FFF2-40B4-BE49-F238E27FC236}">
                  <a16:creationId xmlns:a16="http://schemas.microsoft.com/office/drawing/2014/main" id="{4ECB0D0F-77EF-44BB-9B33-A5D88D5165D9}"/>
                </a:ext>
                <a:ext uri="{C183D7F6-B498-43B3-948B-1728B52AA6E4}">
                  <adec:decorative xmlns:adec="http://schemas.microsoft.com/office/drawing/2017/decorative" val="1"/>
                </a:ext>
              </a:extLst>
            </p:cNvPr>
            <p:cNvSpPr/>
            <p:nvPr/>
          </p:nvSpPr>
          <p:spPr bwMode="auto">
            <a:xfrm>
              <a:off x="10153364" y="2578513"/>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8" name="Oval 387">
              <a:extLst>
                <a:ext uri="{FF2B5EF4-FFF2-40B4-BE49-F238E27FC236}">
                  <a16:creationId xmlns:a16="http://schemas.microsoft.com/office/drawing/2014/main" id="{EC22D1FF-8308-41F5-81D3-11206B3B5E60}"/>
                </a:ext>
                <a:ext uri="{C183D7F6-B498-43B3-948B-1728B52AA6E4}">
                  <adec:decorative xmlns:adec="http://schemas.microsoft.com/office/drawing/2017/decorative" val="1"/>
                </a:ext>
              </a:extLst>
            </p:cNvPr>
            <p:cNvSpPr/>
            <p:nvPr/>
          </p:nvSpPr>
          <p:spPr bwMode="auto">
            <a:xfrm flipH="1">
              <a:off x="10284859" y="2594269"/>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89" name="Straight Connector 388">
              <a:extLst>
                <a:ext uri="{FF2B5EF4-FFF2-40B4-BE49-F238E27FC236}">
                  <a16:creationId xmlns:a16="http://schemas.microsoft.com/office/drawing/2014/main" id="{5C751C0D-4767-4548-87EC-2CDCCAE79DAC}"/>
                </a:ext>
                <a:ext uri="{C183D7F6-B498-43B3-948B-1728B52AA6E4}">
                  <adec:decorative xmlns:adec="http://schemas.microsoft.com/office/drawing/2017/decorative" val="1"/>
                </a:ext>
              </a:extLst>
            </p:cNvPr>
            <p:cNvCxnSpPr/>
            <p:nvPr/>
          </p:nvCxnSpPr>
          <p:spPr>
            <a:xfrm>
              <a:off x="10177366" y="2602761"/>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0" name="Rectangle 389">
              <a:extLst>
                <a:ext uri="{FF2B5EF4-FFF2-40B4-BE49-F238E27FC236}">
                  <a16:creationId xmlns:a16="http://schemas.microsoft.com/office/drawing/2014/main" id="{202C4D6A-C3A2-4DF5-81D8-96AF6A7CAC18}"/>
                </a:ext>
                <a:ext uri="{C183D7F6-B498-43B3-948B-1728B52AA6E4}">
                  <adec:decorative xmlns:adec="http://schemas.microsoft.com/office/drawing/2017/decorative" val="1"/>
                </a:ext>
              </a:extLst>
            </p:cNvPr>
            <p:cNvSpPr/>
            <p:nvPr/>
          </p:nvSpPr>
          <p:spPr bwMode="auto">
            <a:xfrm>
              <a:off x="10153364" y="2628510"/>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1" name="Oval 390">
              <a:extLst>
                <a:ext uri="{FF2B5EF4-FFF2-40B4-BE49-F238E27FC236}">
                  <a16:creationId xmlns:a16="http://schemas.microsoft.com/office/drawing/2014/main" id="{DC11765E-6744-4433-9A95-413060C47079}"/>
                </a:ext>
                <a:ext uri="{C183D7F6-B498-43B3-948B-1728B52AA6E4}">
                  <adec:decorative xmlns:adec="http://schemas.microsoft.com/office/drawing/2017/decorative" val="1"/>
                </a:ext>
              </a:extLst>
            </p:cNvPr>
            <p:cNvSpPr/>
            <p:nvPr/>
          </p:nvSpPr>
          <p:spPr bwMode="auto">
            <a:xfrm flipH="1">
              <a:off x="10284859" y="2644265"/>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92" name="Straight Connector 391">
              <a:extLst>
                <a:ext uri="{FF2B5EF4-FFF2-40B4-BE49-F238E27FC236}">
                  <a16:creationId xmlns:a16="http://schemas.microsoft.com/office/drawing/2014/main" id="{37368FCC-E9B0-49A4-AC1F-40D544E1DD71}"/>
                </a:ext>
                <a:ext uri="{C183D7F6-B498-43B3-948B-1728B52AA6E4}">
                  <adec:decorative xmlns:adec="http://schemas.microsoft.com/office/drawing/2017/decorative" val="1"/>
                </a:ext>
              </a:extLst>
            </p:cNvPr>
            <p:cNvCxnSpPr/>
            <p:nvPr/>
          </p:nvCxnSpPr>
          <p:spPr>
            <a:xfrm>
              <a:off x="10177366" y="2652757"/>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3" name="Rectangle 392">
              <a:extLst>
                <a:ext uri="{FF2B5EF4-FFF2-40B4-BE49-F238E27FC236}">
                  <a16:creationId xmlns:a16="http://schemas.microsoft.com/office/drawing/2014/main" id="{5A1F57CF-46E2-4462-9A69-9C948B2BFF51}"/>
                </a:ext>
                <a:ext uri="{C183D7F6-B498-43B3-948B-1728B52AA6E4}">
                  <adec:decorative xmlns:adec="http://schemas.microsoft.com/office/drawing/2017/decorative" val="1"/>
                </a:ext>
              </a:extLst>
            </p:cNvPr>
            <p:cNvSpPr/>
            <p:nvPr/>
          </p:nvSpPr>
          <p:spPr bwMode="auto">
            <a:xfrm>
              <a:off x="10153364" y="2528517"/>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4" name="Oval 393">
              <a:extLst>
                <a:ext uri="{FF2B5EF4-FFF2-40B4-BE49-F238E27FC236}">
                  <a16:creationId xmlns:a16="http://schemas.microsoft.com/office/drawing/2014/main" id="{8ECD80B5-0739-4B28-A585-8A0FEBB1F662}"/>
                </a:ext>
                <a:ext uri="{C183D7F6-B498-43B3-948B-1728B52AA6E4}">
                  <adec:decorative xmlns:adec="http://schemas.microsoft.com/office/drawing/2017/decorative" val="1"/>
                </a:ext>
              </a:extLst>
            </p:cNvPr>
            <p:cNvSpPr/>
            <p:nvPr/>
          </p:nvSpPr>
          <p:spPr bwMode="auto">
            <a:xfrm flipH="1">
              <a:off x="10284859" y="2544273"/>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95" name="Straight Connector 394">
              <a:extLst>
                <a:ext uri="{FF2B5EF4-FFF2-40B4-BE49-F238E27FC236}">
                  <a16:creationId xmlns:a16="http://schemas.microsoft.com/office/drawing/2014/main" id="{DA8D3413-0DA4-469F-B854-21AA694392CA}"/>
                </a:ext>
                <a:ext uri="{C183D7F6-B498-43B3-948B-1728B52AA6E4}">
                  <adec:decorative xmlns:adec="http://schemas.microsoft.com/office/drawing/2017/decorative" val="1"/>
                </a:ext>
              </a:extLst>
            </p:cNvPr>
            <p:cNvCxnSpPr/>
            <p:nvPr/>
          </p:nvCxnSpPr>
          <p:spPr>
            <a:xfrm>
              <a:off x="10177366" y="2552765"/>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6" name="Flowchart: Direct Access Storage 365">
              <a:extLst>
                <a:ext uri="{FF2B5EF4-FFF2-40B4-BE49-F238E27FC236}">
                  <a16:creationId xmlns:a16="http://schemas.microsoft.com/office/drawing/2014/main" id="{953E325D-F02A-4D6F-9FA2-74ABA8D95ED1}"/>
                </a:ext>
                <a:ext uri="{C183D7F6-B498-43B3-948B-1728B52AA6E4}">
                  <adec:decorative xmlns:adec="http://schemas.microsoft.com/office/drawing/2017/decorative" val="1"/>
                </a:ext>
              </a:extLst>
            </p:cNvPr>
            <p:cNvSpPr/>
            <p:nvPr/>
          </p:nvSpPr>
          <p:spPr bwMode="auto">
            <a:xfrm>
              <a:off x="10402941" y="2528517"/>
              <a:ext cx="113954" cy="299596"/>
            </a:xfrm>
            <a:prstGeom prst="flowChartMagneticDrum">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368" name="Rectangle 5">
              <a:extLst>
                <a:ext uri="{FF2B5EF4-FFF2-40B4-BE49-F238E27FC236}">
                  <a16:creationId xmlns:a16="http://schemas.microsoft.com/office/drawing/2014/main" id="{6B49375A-8189-44D0-9182-3FBDF590BF6A}"/>
                </a:ext>
                <a:ext uri="{C183D7F6-B498-43B3-948B-1728B52AA6E4}">
                  <adec:decorative xmlns:adec="http://schemas.microsoft.com/office/drawing/2017/decorative" val="1"/>
                </a:ext>
              </a:extLst>
            </p:cNvPr>
            <p:cNvSpPr>
              <a:spLocks noChangeArrowheads="1"/>
            </p:cNvSpPr>
            <p:nvPr/>
          </p:nvSpPr>
          <p:spPr bwMode="auto">
            <a:xfrm>
              <a:off x="9874808" y="2526554"/>
              <a:ext cx="191148" cy="299597"/>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69" name="Freeform 6">
              <a:extLst>
                <a:ext uri="{FF2B5EF4-FFF2-40B4-BE49-F238E27FC236}">
                  <a16:creationId xmlns:a16="http://schemas.microsoft.com/office/drawing/2014/main" id="{A9DAC5F7-C9A6-424C-BE62-622C0F5551F5}"/>
                </a:ext>
                <a:ext uri="{C183D7F6-B498-43B3-948B-1728B52AA6E4}">
                  <adec:decorative xmlns:adec="http://schemas.microsoft.com/office/drawing/2017/decorative" val="1"/>
                </a:ext>
              </a:extLst>
            </p:cNvPr>
            <p:cNvSpPr>
              <a:spLocks/>
            </p:cNvSpPr>
            <p:nvPr/>
          </p:nvSpPr>
          <p:spPr bwMode="auto">
            <a:xfrm>
              <a:off x="9895281" y="2561566"/>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70" name="Freeform 7">
              <a:extLst>
                <a:ext uri="{FF2B5EF4-FFF2-40B4-BE49-F238E27FC236}">
                  <a16:creationId xmlns:a16="http://schemas.microsoft.com/office/drawing/2014/main" id="{DB3626FC-4CD6-4010-8540-18FE924743F3}"/>
                </a:ext>
                <a:ext uri="{C183D7F6-B498-43B3-948B-1728B52AA6E4}">
                  <adec:decorative xmlns:adec="http://schemas.microsoft.com/office/drawing/2017/decorative" val="1"/>
                </a:ext>
              </a:extLst>
            </p:cNvPr>
            <p:cNvSpPr>
              <a:spLocks/>
            </p:cNvSpPr>
            <p:nvPr/>
          </p:nvSpPr>
          <p:spPr bwMode="auto">
            <a:xfrm>
              <a:off x="9895281" y="2615635"/>
              <a:ext cx="150201" cy="30580"/>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71" name="Freeform 8">
              <a:extLst>
                <a:ext uri="{FF2B5EF4-FFF2-40B4-BE49-F238E27FC236}">
                  <a16:creationId xmlns:a16="http://schemas.microsoft.com/office/drawing/2014/main" id="{13844F6E-0B85-4100-B087-B229C47F6AF8}"/>
                </a:ext>
                <a:ext uri="{C183D7F6-B498-43B3-948B-1728B52AA6E4}">
                  <adec:decorative xmlns:adec="http://schemas.microsoft.com/office/drawing/2017/decorative" val="1"/>
                </a:ext>
              </a:extLst>
            </p:cNvPr>
            <p:cNvSpPr>
              <a:spLocks/>
            </p:cNvSpPr>
            <p:nvPr/>
          </p:nvSpPr>
          <p:spPr bwMode="auto">
            <a:xfrm>
              <a:off x="9895281" y="2669262"/>
              <a:ext cx="150201" cy="3058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72" name="Freeform 9">
              <a:extLst>
                <a:ext uri="{FF2B5EF4-FFF2-40B4-BE49-F238E27FC236}">
                  <a16:creationId xmlns:a16="http://schemas.microsoft.com/office/drawing/2014/main" id="{CC4DAF1A-32AD-4E06-A231-C4638777C230}"/>
                </a:ext>
                <a:ext uri="{C183D7F6-B498-43B3-948B-1728B52AA6E4}">
                  <adec:decorative xmlns:adec="http://schemas.microsoft.com/office/drawing/2017/decorative" val="1"/>
                </a:ext>
              </a:extLst>
            </p:cNvPr>
            <p:cNvSpPr>
              <a:spLocks/>
            </p:cNvSpPr>
            <p:nvPr/>
          </p:nvSpPr>
          <p:spPr bwMode="auto">
            <a:xfrm>
              <a:off x="9895281" y="2723331"/>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74" name="Oval 14">
              <a:extLst>
                <a:ext uri="{FF2B5EF4-FFF2-40B4-BE49-F238E27FC236}">
                  <a16:creationId xmlns:a16="http://schemas.microsoft.com/office/drawing/2014/main" id="{AC6F16A5-6584-42A5-A5BB-E24F0213089E}"/>
                </a:ext>
                <a:ext uri="{C183D7F6-B498-43B3-948B-1728B52AA6E4}">
                  <adec:decorative xmlns:adec="http://schemas.microsoft.com/office/drawing/2017/decorative" val="1"/>
                </a:ext>
              </a:extLst>
            </p:cNvPr>
            <p:cNvSpPr>
              <a:spLocks noChangeArrowheads="1"/>
            </p:cNvSpPr>
            <p:nvPr/>
          </p:nvSpPr>
          <p:spPr bwMode="auto">
            <a:xfrm>
              <a:off x="10019248" y="2567993"/>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75" name="Oval 15">
              <a:extLst>
                <a:ext uri="{FF2B5EF4-FFF2-40B4-BE49-F238E27FC236}">
                  <a16:creationId xmlns:a16="http://schemas.microsoft.com/office/drawing/2014/main" id="{CFCB56F1-0FD4-4FBA-A506-7EE10D738D12}"/>
                </a:ext>
                <a:ext uri="{C183D7F6-B498-43B3-948B-1728B52AA6E4}">
                  <adec:decorative xmlns:adec="http://schemas.microsoft.com/office/drawing/2017/decorative" val="1"/>
                </a:ext>
              </a:extLst>
            </p:cNvPr>
            <p:cNvSpPr>
              <a:spLocks noChangeArrowheads="1"/>
            </p:cNvSpPr>
            <p:nvPr/>
          </p:nvSpPr>
          <p:spPr bwMode="auto">
            <a:xfrm>
              <a:off x="10019248" y="2622062"/>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76" name="Oval 16">
              <a:extLst>
                <a:ext uri="{FF2B5EF4-FFF2-40B4-BE49-F238E27FC236}">
                  <a16:creationId xmlns:a16="http://schemas.microsoft.com/office/drawing/2014/main" id="{FD6E8A70-365A-49E2-9FD5-85092DCE5380}"/>
                </a:ext>
                <a:ext uri="{C183D7F6-B498-43B3-948B-1728B52AA6E4}">
                  <adec:decorative xmlns:adec="http://schemas.microsoft.com/office/drawing/2017/decorative" val="1"/>
                </a:ext>
              </a:extLst>
            </p:cNvPr>
            <p:cNvSpPr>
              <a:spLocks noChangeArrowheads="1"/>
            </p:cNvSpPr>
            <p:nvPr/>
          </p:nvSpPr>
          <p:spPr bwMode="auto">
            <a:xfrm>
              <a:off x="10019248" y="2676131"/>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77" name="Oval 17">
              <a:extLst>
                <a:ext uri="{FF2B5EF4-FFF2-40B4-BE49-F238E27FC236}">
                  <a16:creationId xmlns:a16="http://schemas.microsoft.com/office/drawing/2014/main" id="{E6329C5B-2B0E-4F65-8715-C9E266FFB999}"/>
                </a:ext>
                <a:ext uri="{C183D7F6-B498-43B3-948B-1728B52AA6E4}">
                  <adec:decorative xmlns:adec="http://schemas.microsoft.com/office/drawing/2017/decorative" val="1"/>
                </a:ext>
              </a:extLst>
            </p:cNvPr>
            <p:cNvSpPr>
              <a:spLocks noChangeArrowheads="1"/>
            </p:cNvSpPr>
            <p:nvPr/>
          </p:nvSpPr>
          <p:spPr bwMode="auto">
            <a:xfrm>
              <a:off x="10019248" y="2730201"/>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32" name="Rectangle 331">
              <a:extLst>
                <a:ext uri="{FF2B5EF4-FFF2-40B4-BE49-F238E27FC236}">
                  <a16:creationId xmlns:a16="http://schemas.microsoft.com/office/drawing/2014/main" id="{68ED69FB-5C45-41A8-8AC3-E1F681E0BF48}"/>
                </a:ext>
                <a:ext uri="{C183D7F6-B498-43B3-948B-1728B52AA6E4}">
                  <adec:decorative xmlns:adec="http://schemas.microsoft.com/office/drawing/2017/decorative" val="1"/>
                </a:ext>
              </a:extLst>
            </p:cNvPr>
            <p:cNvSpPr/>
            <p:nvPr/>
          </p:nvSpPr>
          <p:spPr bwMode="auto">
            <a:xfrm>
              <a:off x="9778278" y="2990874"/>
              <a:ext cx="851793" cy="476453"/>
            </a:xfrm>
            <a:prstGeom prst="rect">
              <a:avLst/>
            </a:prstGeom>
            <a:solidFill>
              <a:schemeClr val="bg1">
                <a:lumMod val="95000"/>
              </a:schemeClr>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6" name="Rectangle 345">
              <a:extLst>
                <a:ext uri="{FF2B5EF4-FFF2-40B4-BE49-F238E27FC236}">
                  <a16:creationId xmlns:a16="http://schemas.microsoft.com/office/drawing/2014/main" id="{5F9BC57F-4393-451E-8161-78698E02866E}"/>
                </a:ext>
                <a:ext uri="{C183D7F6-B498-43B3-948B-1728B52AA6E4}">
                  <adec:decorative xmlns:adec="http://schemas.microsoft.com/office/drawing/2017/decorative" val="1"/>
                </a:ext>
              </a:extLst>
            </p:cNvPr>
            <p:cNvSpPr/>
            <p:nvPr/>
          </p:nvSpPr>
          <p:spPr bwMode="auto">
            <a:xfrm>
              <a:off x="10153364" y="3274749"/>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7" name="Oval 346">
              <a:extLst>
                <a:ext uri="{FF2B5EF4-FFF2-40B4-BE49-F238E27FC236}">
                  <a16:creationId xmlns:a16="http://schemas.microsoft.com/office/drawing/2014/main" id="{57128892-3985-4E18-812C-6266933C88B8}"/>
                </a:ext>
                <a:ext uri="{C183D7F6-B498-43B3-948B-1728B52AA6E4}">
                  <adec:decorative xmlns:adec="http://schemas.microsoft.com/office/drawing/2017/decorative" val="1"/>
                </a:ext>
              </a:extLst>
            </p:cNvPr>
            <p:cNvSpPr/>
            <p:nvPr/>
          </p:nvSpPr>
          <p:spPr bwMode="auto">
            <a:xfrm flipH="1">
              <a:off x="10284859" y="3290505"/>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48" name="Straight Connector 347">
              <a:extLst>
                <a:ext uri="{FF2B5EF4-FFF2-40B4-BE49-F238E27FC236}">
                  <a16:creationId xmlns:a16="http://schemas.microsoft.com/office/drawing/2014/main" id="{54F3EF78-FFBA-48AB-A716-3243080AD4A4}"/>
                </a:ext>
                <a:ext uri="{C183D7F6-B498-43B3-948B-1728B52AA6E4}">
                  <adec:decorative xmlns:adec="http://schemas.microsoft.com/office/drawing/2017/decorative" val="1"/>
                </a:ext>
              </a:extLst>
            </p:cNvPr>
            <p:cNvCxnSpPr/>
            <p:nvPr/>
          </p:nvCxnSpPr>
          <p:spPr>
            <a:xfrm>
              <a:off x="10177366" y="3298997"/>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9" name="Rectangle 348">
              <a:extLst>
                <a:ext uri="{FF2B5EF4-FFF2-40B4-BE49-F238E27FC236}">
                  <a16:creationId xmlns:a16="http://schemas.microsoft.com/office/drawing/2014/main" id="{630A0EF7-C0C1-4F69-809A-6F97F0ED0DAE}"/>
                </a:ext>
                <a:ext uri="{C183D7F6-B498-43B3-948B-1728B52AA6E4}">
                  <adec:decorative xmlns:adec="http://schemas.microsoft.com/office/drawing/2017/decorative" val="1"/>
                </a:ext>
              </a:extLst>
            </p:cNvPr>
            <p:cNvSpPr/>
            <p:nvPr/>
          </p:nvSpPr>
          <p:spPr bwMode="auto">
            <a:xfrm>
              <a:off x="10153364" y="3324746"/>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0" name="Oval 349">
              <a:extLst>
                <a:ext uri="{FF2B5EF4-FFF2-40B4-BE49-F238E27FC236}">
                  <a16:creationId xmlns:a16="http://schemas.microsoft.com/office/drawing/2014/main" id="{F93D0359-0AC8-490D-884A-C4BB8EF94279}"/>
                </a:ext>
                <a:ext uri="{C183D7F6-B498-43B3-948B-1728B52AA6E4}">
                  <adec:decorative xmlns:adec="http://schemas.microsoft.com/office/drawing/2017/decorative" val="1"/>
                </a:ext>
              </a:extLst>
            </p:cNvPr>
            <p:cNvSpPr/>
            <p:nvPr/>
          </p:nvSpPr>
          <p:spPr bwMode="auto">
            <a:xfrm flipH="1">
              <a:off x="10284859" y="3340502"/>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51" name="Straight Connector 350">
              <a:extLst>
                <a:ext uri="{FF2B5EF4-FFF2-40B4-BE49-F238E27FC236}">
                  <a16:creationId xmlns:a16="http://schemas.microsoft.com/office/drawing/2014/main" id="{2293AD82-308E-4E71-B3BF-2C4491CDCE0C}"/>
                </a:ext>
                <a:ext uri="{C183D7F6-B498-43B3-948B-1728B52AA6E4}">
                  <adec:decorative xmlns:adec="http://schemas.microsoft.com/office/drawing/2017/decorative" val="1"/>
                </a:ext>
              </a:extLst>
            </p:cNvPr>
            <p:cNvCxnSpPr/>
            <p:nvPr/>
          </p:nvCxnSpPr>
          <p:spPr>
            <a:xfrm>
              <a:off x="10177366" y="3348993"/>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2" name="Rectangle 351">
              <a:extLst>
                <a:ext uri="{FF2B5EF4-FFF2-40B4-BE49-F238E27FC236}">
                  <a16:creationId xmlns:a16="http://schemas.microsoft.com/office/drawing/2014/main" id="{2B8A9041-D2E1-4678-B90E-1E7E7C8DDCBD}"/>
                </a:ext>
                <a:ext uri="{C183D7F6-B498-43B3-948B-1728B52AA6E4}">
                  <adec:decorative xmlns:adec="http://schemas.microsoft.com/office/drawing/2017/decorative" val="1"/>
                </a:ext>
              </a:extLst>
            </p:cNvPr>
            <p:cNvSpPr/>
            <p:nvPr/>
          </p:nvSpPr>
          <p:spPr bwMode="auto">
            <a:xfrm>
              <a:off x="10153364" y="3224753"/>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3" name="Oval 352">
              <a:extLst>
                <a:ext uri="{FF2B5EF4-FFF2-40B4-BE49-F238E27FC236}">
                  <a16:creationId xmlns:a16="http://schemas.microsoft.com/office/drawing/2014/main" id="{D93168F1-ED49-47BA-AB62-8D7486FC738B}"/>
                </a:ext>
                <a:ext uri="{C183D7F6-B498-43B3-948B-1728B52AA6E4}">
                  <adec:decorative xmlns:adec="http://schemas.microsoft.com/office/drawing/2017/decorative" val="1"/>
                </a:ext>
              </a:extLst>
            </p:cNvPr>
            <p:cNvSpPr/>
            <p:nvPr/>
          </p:nvSpPr>
          <p:spPr bwMode="auto">
            <a:xfrm flipH="1">
              <a:off x="10284859" y="3240509"/>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54" name="Straight Connector 353">
              <a:extLst>
                <a:ext uri="{FF2B5EF4-FFF2-40B4-BE49-F238E27FC236}">
                  <a16:creationId xmlns:a16="http://schemas.microsoft.com/office/drawing/2014/main" id="{901CC1B9-1501-4AEF-872E-95DF40C08B95}"/>
                </a:ext>
                <a:ext uri="{C183D7F6-B498-43B3-948B-1728B52AA6E4}">
                  <adec:decorative xmlns:adec="http://schemas.microsoft.com/office/drawing/2017/decorative" val="1"/>
                </a:ext>
              </a:extLst>
            </p:cNvPr>
            <p:cNvCxnSpPr/>
            <p:nvPr/>
          </p:nvCxnSpPr>
          <p:spPr>
            <a:xfrm>
              <a:off x="10177366" y="3249001"/>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5" name="Rectangle 354">
              <a:extLst>
                <a:ext uri="{FF2B5EF4-FFF2-40B4-BE49-F238E27FC236}">
                  <a16:creationId xmlns:a16="http://schemas.microsoft.com/office/drawing/2014/main" id="{EFE7930D-7475-4221-BBE9-687D8A1E0EB3}"/>
                </a:ext>
                <a:ext uri="{C183D7F6-B498-43B3-948B-1728B52AA6E4}">
                  <adec:decorative xmlns:adec="http://schemas.microsoft.com/office/drawing/2017/decorative" val="1"/>
                </a:ext>
              </a:extLst>
            </p:cNvPr>
            <p:cNvSpPr/>
            <p:nvPr/>
          </p:nvSpPr>
          <p:spPr bwMode="auto">
            <a:xfrm>
              <a:off x="10153364" y="3124760"/>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6" name="Oval 355">
              <a:extLst>
                <a:ext uri="{FF2B5EF4-FFF2-40B4-BE49-F238E27FC236}">
                  <a16:creationId xmlns:a16="http://schemas.microsoft.com/office/drawing/2014/main" id="{870C5C1F-83BC-43C7-A525-36CE5C3F5CA6}"/>
                </a:ext>
                <a:ext uri="{C183D7F6-B498-43B3-948B-1728B52AA6E4}">
                  <adec:decorative xmlns:adec="http://schemas.microsoft.com/office/drawing/2017/decorative" val="1"/>
                </a:ext>
              </a:extLst>
            </p:cNvPr>
            <p:cNvSpPr/>
            <p:nvPr/>
          </p:nvSpPr>
          <p:spPr bwMode="auto">
            <a:xfrm flipH="1">
              <a:off x="10284859" y="3140516"/>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57" name="Straight Connector 356">
              <a:extLst>
                <a:ext uri="{FF2B5EF4-FFF2-40B4-BE49-F238E27FC236}">
                  <a16:creationId xmlns:a16="http://schemas.microsoft.com/office/drawing/2014/main" id="{3F3183CD-AB53-4199-9ABD-ADB2A6903E0D}"/>
                </a:ext>
                <a:ext uri="{C183D7F6-B498-43B3-948B-1728B52AA6E4}">
                  <adec:decorative xmlns:adec="http://schemas.microsoft.com/office/drawing/2017/decorative" val="1"/>
                </a:ext>
              </a:extLst>
            </p:cNvPr>
            <p:cNvCxnSpPr/>
            <p:nvPr/>
          </p:nvCxnSpPr>
          <p:spPr>
            <a:xfrm>
              <a:off x="10177366" y="3149008"/>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8" name="Rectangle 357">
              <a:extLst>
                <a:ext uri="{FF2B5EF4-FFF2-40B4-BE49-F238E27FC236}">
                  <a16:creationId xmlns:a16="http://schemas.microsoft.com/office/drawing/2014/main" id="{FD9724E0-349F-4C59-BB30-804D35D2312B}"/>
                </a:ext>
                <a:ext uri="{C183D7F6-B498-43B3-948B-1728B52AA6E4}">
                  <adec:decorative xmlns:adec="http://schemas.microsoft.com/office/drawing/2017/decorative" val="1"/>
                </a:ext>
              </a:extLst>
            </p:cNvPr>
            <p:cNvSpPr/>
            <p:nvPr/>
          </p:nvSpPr>
          <p:spPr bwMode="auto">
            <a:xfrm>
              <a:off x="10153364" y="3174757"/>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9" name="Oval 358">
              <a:extLst>
                <a:ext uri="{FF2B5EF4-FFF2-40B4-BE49-F238E27FC236}">
                  <a16:creationId xmlns:a16="http://schemas.microsoft.com/office/drawing/2014/main" id="{F182D52A-6471-40C8-B9EE-5F123F15BFA7}"/>
                </a:ext>
                <a:ext uri="{C183D7F6-B498-43B3-948B-1728B52AA6E4}">
                  <adec:decorative xmlns:adec="http://schemas.microsoft.com/office/drawing/2017/decorative" val="1"/>
                </a:ext>
              </a:extLst>
            </p:cNvPr>
            <p:cNvSpPr/>
            <p:nvPr/>
          </p:nvSpPr>
          <p:spPr bwMode="auto">
            <a:xfrm flipH="1">
              <a:off x="10284859" y="3190512"/>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60" name="Straight Connector 359">
              <a:extLst>
                <a:ext uri="{FF2B5EF4-FFF2-40B4-BE49-F238E27FC236}">
                  <a16:creationId xmlns:a16="http://schemas.microsoft.com/office/drawing/2014/main" id="{9EC5F2E6-82DC-4753-8E40-E15FC6212BAD}"/>
                </a:ext>
                <a:ext uri="{C183D7F6-B498-43B3-948B-1728B52AA6E4}">
                  <adec:decorative xmlns:adec="http://schemas.microsoft.com/office/drawing/2017/decorative" val="1"/>
                </a:ext>
              </a:extLst>
            </p:cNvPr>
            <p:cNvCxnSpPr/>
            <p:nvPr/>
          </p:nvCxnSpPr>
          <p:spPr>
            <a:xfrm>
              <a:off x="10177366" y="3199004"/>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1" name="Rectangle 360">
              <a:extLst>
                <a:ext uri="{FF2B5EF4-FFF2-40B4-BE49-F238E27FC236}">
                  <a16:creationId xmlns:a16="http://schemas.microsoft.com/office/drawing/2014/main" id="{59F3B2EF-6126-4C4A-94E8-4DCC7F905D88}"/>
                </a:ext>
                <a:ext uri="{C183D7F6-B498-43B3-948B-1728B52AA6E4}">
                  <adec:decorative xmlns:adec="http://schemas.microsoft.com/office/drawing/2017/decorative" val="1"/>
                </a:ext>
              </a:extLst>
            </p:cNvPr>
            <p:cNvSpPr/>
            <p:nvPr/>
          </p:nvSpPr>
          <p:spPr bwMode="auto">
            <a:xfrm>
              <a:off x="10153364" y="3074764"/>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2" name="Oval 361">
              <a:extLst>
                <a:ext uri="{FF2B5EF4-FFF2-40B4-BE49-F238E27FC236}">
                  <a16:creationId xmlns:a16="http://schemas.microsoft.com/office/drawing/2014/main" id="{40A40269-5A74-453B-B644-77D123CB5919}"/>
                </a:ext>
                <a:ext uri="{C183D7F6-B498-43B3-948B-1728B52AA6E4}">
                  <adec:decorative xmlns:adec="http://schemas.microsoft.com/office/drawing/2017/decorative" val="1"/>
                </a:ext>
              </a:extLst>
            </p:cNvPr>
            <p:cNvSpPr/>
            <p:nvPr/>
          </p:nvSpPr>
          <p:spPr bwMode="auto">
            <a:xfrm flipH="1">
              <a:off x="10284859" y="3090520"/>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63" name="Straight Connector 362">
              <a:extLst>
                <a:ext uri="{FF2B5EF4-FFF2-40B4-BE49-F238E27FC236}">
                  <a16:creationId xmlns:a16="http://schemas.microsoft.com/office/drawing/2014/main" id="{BBB0FBE8-C2DF-40B0-94B1-F88F06552F7A}"/>
                </a:ext>
                <a:ext uri="{C183D7F6-B498-43B3-948B-1728B52AA6E4}">
                  <adec:decorative xmlns:adec="http://schemas.microsoft.com/office/drawing/2017/decorative" val="1"/>
                </a:ext>
              </a:extLst>
            </p:cNvPr>
            <p:cNvCxnSpPr/>
            <p:nvPr/>
          </p:nvCxnSpPr>
          <p:spPr>
            <a:xfrm>
              <a:off x="10177366" y="3099012"/>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4" name="Flowchart: Direct Access Storage 333">
              <a:extLst>
                <a:ext uri="{FF2B5EF4-FFF2-40B4-BE49-F238E27FC236}">
                  <a16:creationId xmlns:a16="http://schemas.microsoft.com/office/drawing/2014/main" id="{92A7F465-6835-4ABB-A6BB-F0BB46FE3C59}"/>
                </a:ext>
                <a:ext uri="{C183D7F6-B498-43B3-948B-1728B52AA6E4}">
                  <adec:decorative xmlns:adec="http://schemas.microsoft.com/office/drawing/2017/decorative" val="1"/>
                </a:ext>
              </a:extLst>
            </p:cNvPr>
            <p:cNvSpPr/>
            <p:nvPr/>
          </p:nvSpPr>
          <p:spPr bwMode="auto">
            <a:xfrm>
              <a:off x="10402941" y="3074764"/>
              <a:ext cx="113954" cy="299596"/>
            </a:xfrm>
            <a:prstGeom prst="flowChartMagneticDrum">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336" name="Rectangle 5">
              <a:extLst>
                <a:ext uri="{FF2B5EF4-FFF2-40B4-BE49-F238E27FC236}">
                  <a16:creationId xmlns:a16="http://schemas.microsoft.com/office/drawing/2014/main" id="{7C8827A4-B1CE-4EDB-B08D-E029C61862F8}"/>
                </a:ext>
                <a:ext uri="{C183D7F6-B498-43B3-948B-1728B52AA6E4}">
                  <adec:decorative xmlns:adec="http://schemas.microsoft.com/office/drawing/2017/decorative" val="1"/>
                </a:ext>
              </a:extLst>
            </p:cNvPr>
            <p:cNvSpPr>
              <a:spLocks noChangeArrowheads="1"/>
            </p:cNvSpPr>
            <p:nvPr/>
          </p:nvSpPr>
          <p:spPr bwMode="auto">
            <a:xfrm>
              <a:off x="9874808" y="3072801"/>
              <a:ext cx="191148" cy="299597"/>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37" name="Freeform 6">
              <a:extLst>
                <a:ext uri="{FF2B5EF4-FFF2-40B4-BE49-F238E27FC236}">
                  <a16:creationId xmlns:a16="http://schemas.microsoft.com/office/drawing/2014/main" id="{85FB347A-8F08-4BB6-9DE3-3D8A65D75677}"/>
                </a:ext>
                <a:ext uri="{C183D7F6-B498-43B3-948B-1728B52AA6E4}">
                  <adec:decorative xmlns:adec="http://schemas.microsoft.com/office/drawing/2017/decorative" val="1"/>
                </a:ext>
              </a:extLst>
            </p:cNvPr>
            <p:cNvSpPr>
              <a:spLocks/>
            </p:cNvSpPr>
            <p:nvPr/>
          </p:nvSpPr>
          <p:spPr bwMode="auto">
            <a:xfrm>
              <a:off x="9895281" y="3107813"/>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38" name="Freeform 7">
              <a:extLst>
                <a:ext uri="{FF2B5EF4-FFF2-40B4-BE49-F238E27FC236}">
                  <a16:creationId xmlns:a16="http://schemas.microsoft.com/office/drawing/2014/main" id="{52303A0B-7B81-4861-9258-EE8937F17484}"/>
                </a:ext>
                <a:ext uri="{C183D7F6-B498-43B3-948B-1728B52AA6E4}">
                  <adec:decorative xmlns:adec="http://schemas.microsoft.com/office/drawing/2017/decorative" val="1"/>
                </a:ext>
              </a:extLst>
            </p:cNvPr>
            <p:cNvSpPr>
              <a:spLocks/>
            </p:cNvSpPr>
            <p:nvPr/>
          </p:nvSpPr>
          <p:spPr bwMode="auto">
            <a:xfrm>
              <a:off x="9895281" y="3161882"/>
              <a:ext cx="150201" cy="30580"/>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39" name="Freeform 8">
              <a:extLst>
                <a:ext uri="{FF2B5EF4-FFF2-40B4-BE49-F238E27FC236}">
                  <a16:creationId xmlns:a16="http://schemas.microsoft.com/office/drawing/2014/main" id="{63711E57-4741-41F8-9FAB-80DE73D01466}"/>
                </a:ext>
                <a:ext uri="{C183D7F6-B498-43B3-948B-1728B52AA6E4}">
                  <adec:decorative xmlns:adec="http://schemas.microsoft.com/office/drawing/2017/decorative" val="1"/>
                </a:ext>
              </a:extLst>
            </p:cNvPr>
            <p:cNvSpPr>
              <a:spLocks/>
            </p:cNvSpPr>
            <p:nvPr/>
          </p:nvSpPr>
          <p:spPr bwMode="auto">
            <a:xfrm>
              <a:off x="9895281" y="3215509"/>
              <a:ext cx="150201" cy="3058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40" name="Freeform 9">
              <a:extLst>
                <a:ext uri="{FF2B5EF4-FFF2-40B4-BE49-F238E27FC236}">
                  <a16:creationId xmlns:a16="http://schemas.microsoft.com/office/drawing/2014/main" id="{8D232C16-CF54-4CD5-BE0F-A82120FE1BBE}"/>
                </a:ext>
                <a:ext uri="{C183D7F6-B498-43B3-948B-1728B52AA6E4}">
                  <adec:decorative xmlns:adec="http://schemas.microsoft.com/office/drawing/2017/decorative" val="1"/>
                </a:ext>
              </a:extLst>
            </p:cNvPr>
            <p:cNvSpPr>
              <a:spLocks/>
            </p:cNvSpPr>
            <p:nvPr/>
          </p:nvSpPr>
          <p:spPr bwMode="auto">
            <a:xfrm>
              <a:off x="9895281" y="3269578"/>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42" name="Oval 14">
              <a:extLst>
                <a:ext uri="{FF2B5EF4-FFF2-40B4-BE49-F238E27FC236}">
                  <a16:creationId xmlns:a16="http://schemas.microsoft.com/office/drawing/2014/main" id="{C50BBCAE-7FE5-4F04-A611-7CCB2459AFA0}"/>
                </a:ext>
                <a:ext uri="{C183D7F6-B498-43B3-948B-1728B52AA6E4}">
                  <adec:decorative xmlns:adec="http://schemas.microsoft.com/office/drawing/2017/decorative" val="1"/>
                </a:ext>
              </a:extLst>
            </p:cNvPr>
            <p:cNvSpPr>
              <a:spLocks noChangeArrowheads="1"/>
            </p:cNvSpPr>
            <p:nvPr/>
          </p:nvSpPr>
          <p:spPr bwMode="auto">
            <a:xfrm>
              <a:off x="10019248" y="3114240"/>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43" name="Oval 15">
              <a:extLst>
                <a:ext uri="{FF2B5EF4-FFF2-40B4-BE49-F238E27FC236}">
                  <a16:creationId xmlns:a16="http://schemas.microsoft.com/office/drawing/2014/main" id="{6210A5C0-FB88-49E6-8C74-7897D7D5ED55}"/>
                </a:ext>
                <a:ext uri="{C183D7F6-B498-43B3-948B-1728B52AA6E4}">
                  <adec:decorative xmlns:adec="http://schemas.microsoft.com/office/drawing/2017/decorative" val="1"/>
                </a:ext>
              </a:extLst>
            </p:cNvPr>
            <p:cNvSpPr>
              <a:spLocks noChangeArrowheads="1"/>
            </p:cNvSpPr>
            <p:nvPr/>
          </p:nvSpPr>
          <p:spPr bwMode="auto">
            <a:xfrm>
              <a:off x="10019248" y="3168309"/>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44" name="Oval 16">
              <a:extLst>
                <a:ext uri="{FF2B5EF4-FFF2-40B4-BE49-F238E27FC236}">
                  <a16:creationId xmlns:a16="http://schemas.microsoft.com/office/drawing/2014/main" id="{F1D963F7-A4B3-4AC9-ADF9-7F2D50912DEF}"/>
                </a:ext>
                <a:ext uri="{C183D7F6-B498-43B3-948B-1728B52AA6E4}">
                  <adec:decorative xmlns:adec="http://schemas.microsoft.com/office/drawing/2017/decorative" val="1"/>
                </a:ext>
              </a:extLst>
            </p:cNvPr>
            <p:cNvSpPr>
              <a:spLocks noChangeArrowheads="1"/>
            </p:cNvSpPr>
            <p:nvPr/>
          </p:nvSpPr>
          <p:spPr bwMode="auto">
            <a:xfrm>
              <a:off x="10019248" y="3222378"/>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45" name="Oval 17">
              <a:extLst>
                <a:ext uri="{FF2B5EF4-FFF2-40B4-BE49-F238E27FC236}">
                  <a16:creationId xmlns:a16="http://schemas.microsoft.com/office/drawing/2014/main" id="{44AC84B7-E28B-4B49-95C7-16E647210861}"/>
                </a:ext>
                <a:ext uri="{C183D7F6-B498-43B3-948B-1728B52AA6E4}">
                  <adec:decorative xmlns:adec="http://schemas.microsoft.com/office/drawing/2017/decorative" val="1"/>
                </a:ext>
              </a:extLst>
            </p:cNvPr>
            <p:cNvSpPr>
              <a:spLocks noChangeArrowheads="1"/>
            </p:cNvSpPr>
            <p:nvPr/>
          </p:nvSpPr>
          <p:spPr bwMode="auto">
            <a:xfrm>
              <a:off x="10019248" y="3276448"/>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31" name="Rectangle 430">
              <a:extLst>
                <a:ext uri="{FF2B5EF4-FFF2-40B4-BE49-F238E27FC236}">
                  <a16:creationId xmlns:a16="http://schemas.microsoft.com/office/drawing/2014/main" id="{D5DD543D-1BB9-4D60-BA73-62D191911A1C}"/>
                </a:ext>
                <a:ext uri="{C183D7F6-B498-43B3-948B-1728B52AA6E4}">
                  <adec:decorative xmlns:adec="http://schemas.microsoft.com/office/drawing/2017/decorative" val="1"/>
                </a:ext>
              </a:extLst>
            </p:cNvPr>
            <p:cNvSpPr/>
            <p:nvPr/>
          </p:nvSpPr>
          <p:spPr bwMode="auto">
            <a:xfrm>
              <a:off x="9778278" y="3806676"/>
              <a:ext cx="851793" cy="476453"/>
            </a:xfrm>
            <a:prstGeom prst="rect">
              <a:avLst/>
            </a:prstGeom>
            <a:solidFill>
              <a:schemeClr val="bg1">
                <a:lumMod val="95000"/>
              </a:schemeClr>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5" name="Rectangle 444">
              <a:extLst>
                <a:ext uri="{FF2B5EF4-FFF2-40B4-BE49-F238E27FC236}">
                  <a16:creationId xmlns:a16="http://schemas.microsoft.com/office/drawing/2014/main" id="{2B5ECB64-5D98-45BC-BF3F-7BE618146480}"/>
                </a:ext>
                <a:ext uri="{C183D7F6-B498-43B3-948B-1728B52AA6E4}">
                  <adec:decorative xmlns:adec="http://schemas.microsoft.com/office/drawing/2017/decorative" val="1"/>
                </a:ext>
              </a:extLst>
            </p:cNvPr>
            <p:cNvSpPr/>
            <p:nvPr/>
          </p:nvSpPr>
          <p:spPr bwMode="auto">
            <a:xfrm>
              <a:off x="10153364" y="4090551"/>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6" name="Oval 445">
              <a:extLst>
                <a:ext uri="{FF2B5EF4-FFF2-40B4-BE49-F238E27FC236}">
                  <a16:creationId xmlns:a16="http://schemas.microsoft.com/office/drawing/2014/main" id="{FDCEEB32-8A30-45A4-94C8-B7813C22E24F}"/>
                </a:ext>
                <a:ext uri="{C183D7F6-B498-43B3-948B-1728B52AA6E4}">
                  <adec:decorative xmlns:adec="http://schemas.microsoft.com/office/drawing/2017/decorative" val="1"/>
                </a:ext>
              </a:extLst>
            </p:cNvPr>
            <p:cNvSpPr/>
            <p:nvPr/>
          </p:nvSpPr>
          <p:spPr bwMode="auto">
            <a:xfrm flipH="1">
              <a:off x="10284859" y="4106307"/>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47" name="Straight Connector 446">
              <a:extLst>
                <a:ext uri="{FF2B5EF4-FFF2-40B4-BE49-F238E27FC236}">
                  <a16:creationId xmlns:a16="http://schemas.microsoft.com/office/drawing/2014/main" id="{025EBC56-C87B-4983-8746-C526CC3C162D}"/>
                </a:ext>
                <a:ext uri="{C183D7F6-B498-43B3-948B-1728B52AA6E4}">
                  <adec:decorative xmlns:adec="http://schemas.microsoft.com/office/drawing/2017/decorative" val="1"/>
                </a:ext>
              </a:extLst>
            </p:cNvPr>
            <p:cNvCxnSpPr/>
            <p:nvPr/>
          </p:nvCxnSpPr>
          <p:spPr>
            <a:xfrm>
              <a:off x="10177366" y="4114799"/>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8" name="Rectangle 447">
              <a:extLst>
                <a:ext uri="{FF2B5EF4-FFF2-40B4-BE49-F238E27FC236}">
                  <a16:creationId xmlns:a16="http://schemas.microsoft.com/office/drawing/2014/main" id="{9ED4E7FC-05F9-4E21-8109-FB14304BBB76}"/>
                </a:ext>
                <a:ext uri="{C183D7F6-B498-43B3-948B-1728B52AA6E4}">
                  <adec:decorative xmlns:adec="http://schemas.microsoft.com/office/drawing/2017/decorative" val="1"/>
                </a:ext>
              </a:extLst>
            </p:cNvPr>
            <p:cNvSpPr/>
            <p:nvPr/>
          </p:nvSpPr>
          <p:spPr bwMode="auto">
            <a:xfrm>
              <a:off x="10153364" y="4140548"/>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9" name="Oval 448">
              <a:extLst>
                <a:ext uri="{FF2B5EF4-FFF2-40B4-BE49-F238E27FC236}">
                  <a16:creationId xmlns:a16="http://schemas.microsoft.com/office/drawing/2014/main" id="{9DADB5A5-21B3-4C38-91BE-B3EC990CFE48}"/>
                </a:ext>
                <a:ext uri="{C183D7F6-B498-43B3-948B-1728B52AA6E4}">
                  <adec:decorative xmlns:adec="http://schemas.microsoft.com/office/drawing/2017/decorative" val="1"/>
                </a:ext>
              </a:extLst>
            </p:cNvPr>
            <p:cNvSpPr/>
            <p:nvPr/>
          </p:nvSpPr>
          <p:spPr bwMode="auto">
            <a:xfrm flipH="1">
              <a:off x="10284859" y="4156304"/>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50" name="Straight Connector 449">
              <a:extLst>
                <a:ext uri="{FF2B5EF4-FFF2-40B4-BE49-F238E27FC236}">
                  <a16:creationId xmlns:a16="http://schemas.microsoft.com/office/drawing/2014/main" id="{ADA672DA-68F7-4E40-81D3-F83131C0C01B}"/>
                </a:ext>
                <a:ext uri="{C183D7F6-B498-43B3-948B-1728B52AA6E4}">
                  <adec:decorative xmlns:adec="http://schemas.microsoft.com/office/drawing/2017/decorative" val="1"/>
                </a:ext>
              </a:extLst>
            </p:cNvPr>
            <p:cNvCxnSpPr/>
            <p:nvPr/>
          </p:nvCxnSpPr>
          <p:spPr>
            <a:xfrm>
              <a:off x="10177366" y="4164795"/>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1" name="Rectangle 450">
              <a:extLst>
                <a:ext uri="{FF2B5EF4-FFF2-40B4-BE49-F238E27FC236}">
                  <a16:creationId xmlns:a16="http://schemas.microsoft.com/office/drawing/2014/main" id="{F9D29E23-1699-4440-A734-A0F738BEE02A}"/>
                </a:ext>
                <a:ext uri="{C183D7F6-B498-43B3-948B-1728B52AA6E4}">
                  <adec:decorative xmlns:adec="http://schemas.microsoft.com/office/drawing/2017/decorative" val="1"/>
                </a:ext>
              </a:extLst>
            </p:cNvPr>
            <p:cNvSpPr/>
            <p:nvPr/>
          </p:nvSpPr>
          <p:spPr bwMode="auto">
            <a:xfrm>
              <a:off x="10153364" y="4040555"/>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2" name="Oval 451">
              <a:extLst>
                <a:ext uri="{FF2B5EF4-FFF2-40B4-BE49-F238E27FC236}">
                  <a16:creationId xmlns:a16="http://schemas.microsoft.com/office/drawing/2014/main" id="{3257D4A0-D8A7-4B4E-AAC3-2E285C08D9FE}"/>
                </a:ext>
                <a:ext uri="{C183D7F6-B498-43B3-948B-1728B52AA6E4}">
                  <adec:decorative xmlns:adec="http://schemas.microsoft.com/office/drawing/2017/decorative" val="1"/>
                </a:ext>
              </a:extLst>
            </p:cNvPr>
            <p:cNvSpPr/>
            <p:nvPr/>
          </p:nvSpPr>
          <p:spPr bwMode="auto">
            <a:xfrm flipH="1">
              <a:off x="10284859" y="4056311"/>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53" name="Straight Connector 452">
              <a:extLst>
                <a:ext uri="{FF2B5EF4-FFF2-40B4-BE49-F238E27FC236}">
                  <a16:creationId xmlns:a16="http://schemas.microsoft.com/office/drawing/2014/main" id="{AC7B0639-A201-45D0-BE4F-D73A8F3D65D1}"/>
                </a:ext>
                <a:ext uri="{C183D7F6-B498-43B3-948B-1728B52AA6E4}">
                  <adec:decorative xmlns:adec="http://schemas.microsoft.com/office/drawing/2017/decorative" val="1"/>
                </a:ext>
              </a:extLst>
            </p:cNvPr>
            <p:cNvCxnSpPr/>
            <p:nvPr/>
          </p:nvCxnSpPr>
          <p:spPr>
            <a:xfrm>
              <a:off x="10177366" y="4064803"/>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4" name="Rectangle 453">
              <a:extLst>
                <a:ext uri="{FF2B5EF4-FFF2-40B4-BE49-F238E27FC236}">
                  <a16:creationId xmlns:a16="http://schemas.microsoft.com/office/drawing/2014/main" id="{6C50E144-E173-43F8-9890-8695502F51D4}"/>
                </a:ext>
                <a:ext uri="{C183D7F6-B498-43B3-948B-1728B52AA6E4}">
                  <adec:decorative xmlns:adec="http://schemas.microsoft.com/office/drawing/2017/decorative" val="1"/>
                </a:ext>
              </a:extLst>
            </p:cNvPr>
            <p:cNvSpPr/>
            <p:nvPr/>
          </p:nvSpPr>
          <p:spPr bwMode="auto">
            <a:xfrm>
              <a:off x="10153364" y="3940562"/>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5" name="Oval 454">
              <a:extLst>
                <a:ext uri="{FF2B5EF4-FFF2-40B4-BE49-F238E27FC236}">
                  <a16:creationId xmlns:a16="http://schemas.microsoft.com/office/drawing/2014/main" id="{BBD79B70-F830-47BE-97A0-4F9DF2B10A08}"/>
                </a:ext>
                <a:ext uri="{C183D7F6-B498-43B3-948B-1728B52AA6E4}">
                  <adec:decorative xmlns:adec="http://schemas.microsoft.com/office/drawing/2017/decorative" val="1"/>
                </a:ext>
              </a:extLst>
            </p:cNvPr>
            <p:cNvSpPr/>
            <p:nvPr/>
          </p:nvSpPr>
          <p:spPr bwMode="auto">
            <a:xfrm flipH="1">
              <a:off x="10284859" y="3956318"/>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56" name="Straight Connector 455">
              <a:extLst>
                <a:ext uri="{FF2B5EF4-FFF2-40B4-BE49-F238E27FC236}">
                  <a16:creationId xmlns:a16="http://schemas.microsoft.com/office/drawing/2014/main" id="{2870FC04-24CA-485E-AF7C-46723099A302}"/>
                </a:ext>
                <a:ext uri="{C183D7F6-B498-43B3-948B-1728B52AA6E4}">
                  <adec:decorative xmlns:adec="http://schemas.microsoft.com/office/drawing/2017/decorative" val="1"/>
                </a:ext>
              </a:extLst>
            </p:cNvPr>
            <p:cNvCxnSpPr/>
            <p:nvPr/>
          </p:nvCxnSpPr>
          <p:spPr>
            <a:xfrm>
              <a:off x="10177366" y="3964810"/>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7" name="Rectangle 456">
              <a:extLst>
                <a:ext uri="{FF2B5EF4-FFF2-40B4-BE49-F238E27FC236}">
                  <a16:creationId xmlns:a16="http://schemas.microsoft.com/office/drawing/2014/main" id="{6FBE66FC-02C9-4841-8926-7075682F2EC6}"/>
                </a:ext>
                <a:ext uri="{C183D7F6-B498-43B3-948B-1728B52AA6E4}">
                  <adec:decorative xmlns:adec="http://schemas.microsoft.com/office/drawing/2017/decorative" val="1"/>
                </a:ext>
              </a:extLst>
            </p:cNvPr>
            <p:cNvSpPr/>
            <p:nvPr/>
          </p:nvSpPr>
          <p:spPr bwMode="auto">
            <a:xfrm>
              <a:off x="10153364" y="3990559"/>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8" name="Oval 457">
              <a:extLst>
                <a:ext uri="{FF2B5EF4-FFF2-40B4-BE49-F238E27FC236}">
                  <a16:creationId xmlns:a16="http://schemas.microsoft.com/office/drawing/2014/main" id="{C3B9180E-5FEC-4D56-B215-DD09D5749776}"/>
                </a:ext>
                <a:ext uri="{C183D7F6-B498-43B3-948B-1728B52AA6E4}">
                  <adec:decorative xmlns:adec="http://schemas.microsoft.com/office/drawing/2017/decorative" val="1"/>
                </a:ext>
              </a:extLst>
            </p:cNvPr>
            <p:cNvSpPr/>
            <p:nvPr/>
          </p:nvSpPr>
          <p:spPr bwMode="auto">
            <a:xfrm flipH="1">
              <a:off x="10284859" y="4006314"/>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59" name="Straight Connector 458">
              <a:extLst>
                <a:ext uri="{FF2B5EF4-FFF2-40B4-BE49-F238E27FC236}">
                  <a16:creationId xmlns:a16="http://schemas.microsoft.com/office/drawing/2014/main" id="{AB8F3AF8-67D2-4A2D-90E1-12DDD88F9814}"/>
                </a:ext>
                <a:ext uri="{C183D7F6-B498-43B3-948B-1728B52AA6E4}">
                  <adec:decorative xmlns:adec="http://schemas.microsoft.com/office/drawing/2017/decorative" val="1"/>
                </a:ext>
              </a:extLst>
            </p:cNvPr>
            <p:cNvCxnSpPr/>
            <p:nvPr/>
          </p:nvCxnSpPr>
          <p:spPr>
            <a:xfrm>
              <a:off x="10177366" y="4014806"/>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0" name="Rectangle 459">
              <a:extLst>
                <a:ext uri="{FF2B5EF4-FFF2-40B4-BE49-F238E27FC236}">
                  <a16:creationId xmlns:a16="http://schemas.microsoft.com/office/drawing/2014/main" id="{B3620863-690A-4D5C-A406-750DF5D76396}"/>
                </a:ext>
                <a:ext uri="{C183D7F6-B498-43B3-948B-1728B52AA6E4}">
                  <adec:decorative xmlns:adec="http://schemas.microsoft.com/office/drawing/2017/decorative" val="1"/>
                </a:ext>
              </a:extLst>
            </p:cNvPr>
            <p:cNvSpPr/>
            <p:nvPr/>
          </p:nvSpPr>
          <p:spPr bwMode="auto">
            <a:xfrm>
              <a:off x="10153364" y="3890566"/>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1" name="Oval 460">
              <a:extLst>
                <a:ext uri="{FF2B5EF4-FFF2-40B4-BE49-F238E27FC236}">
                  <a16:creationId xmlns:a16="http://schemas.microsoft.com/office/drawing/2014/main" id="{C8E8FBBF-BF6D-4EF0-B4B7-C9CAD30DCF46}"/>
                </a:ext>
                <a:ext uri="{C183D7F6-B498-43B3-948B-1728B52AA6E4}">
                  <adec:decorative xmlns:adec="http://schemas.microsoft.com/office/drawing/2017/decorative" val="1"/>
                </a:ext>
              </a:extLst>
            </p:cNvPr>
            <p:cNvSpPr/>
            <p:nvPr/>
          </p:nvSpPr>
          <p:spPr bwMode="auto">
            <a:xfrm flipH="1">
              <a:off x="10284859" y="3906322"/>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62" name="Straight Connector 461">
              <a:extLst>
                <a:ext uri="{FF2B5EF4-FFF2-40B4-BE49-F238E27FC236}">
                  <a16:creationId xmlns:a16="http://schemas.microsoft.com/office/drawing/2014/main" id="{2ECACA0C-53D6-4595-9EF7-7411CAAFDA3F}"/>
                </a:ext>
                <a:ext uri="{C183D7F6-B498-43B3-948B-1728B52AA6E4}">
                  <adec:decorative xmlns:adec="http://schemas.microsoft.com/office/drawing/2017/decorative" val="1"/>
                </a:ext>
              </a:extLst>
            </p:cNvPr>
            <p:cNvCxnSpPr/>
            <p:nvPr/>
          </p:nvCxnSpPr>
          <p:spPr>
            <a:xfrm>
              <a:off x="10177366" y="3914814"/>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3" name="Flowchart: Direct Access Storage 432">
              <a:extLst>
                <a:ext uri="{FF2B5EF4-FFF2-40B4-BE49-F238E27FC236}">
                  <a16:creationId xmlns:a16="http://schemas.microsoft.com/office/drawing/2014/main" id="{616F678B-FA48-4A58-86BC-03D72FBEB12C}"/>
                </a:ext>
                <a:ext uri="{C183D7F6-B498-43B3-948B-1728B52AA6E4}">
                  <adec:decorative xmlns:adec="http://schemas.microsoft.com/office/drawing/2017/decorative" val="1"/>
                </a:ext>
              </a:extLst>
            </p:cNvPr>
            <p:cNvSpPr/>
            <p:nvPr/>
          </p:nvSpPr>
          <p:spPr bwMode="auto">
            <a:xfrm>
              <a:off x="10402941" y="3890566"/>
              <a:ext cx="113954" cy="299596"/>
            </a:xfrm>
            <a:prstGeom prst="flowChartMagneticDrum">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435" name="Rectangle 5">
              <a:extLst>
                <a:ext uri="{FF2B5EF4-FFF2-40B4-BE49-F238E27FC236}">
                  <a16:creationId xmlns:a16="http://schemas.microsoft.com/office/drawing/2014/main" id="{A7115372-20C4-4804-B4C0-48A7D1823106}"/>
                </a:ext>
                <a:ext uri="{C183D7F6-B498-43B3-948B-1728B52AA6E4}">
                  <adec:decorative xmlns:adec="http://schemas.microsoft.com/office/drawing/2017/decorative" val="1"/>
                </a:ext>
              </a:extLst>
            </p:cNvPr>
            <p:cNvSpPr>
              <a:spLocks noChangeArrowheads="1"/>
            </p:cNvSpPr>
            <p:nvPr/>
          </p:nvSpPr>
          <p:spPr bwMode="auto">
            <a:xfrm>
              <a:off x="9874808" y="3888603"/>
              <a:ext cx="191148" cy="299597"/>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36" name="Freeform 6">
              <a:extLst>
                <a:ext uri="{FF2B5EF4-FFF2-40B4-BE49-F238E27FC236}">
                  <a16:creationId xmlns:a16="http://schemas.microsoft.com/office/drawing/2014/main" id="{C1EDA47E-77C9-4835-90A2-D9C936AA49AC}"/>
                </a:ext>
                <a:ext uri="{C183D7F6-B498-43B3-948B-1728B52AA6E4}">
                  <adec:decorative xmlns:adec="http://schemas.microsoft.com/office/drawing/2017/decorative" val="1"/>
                </a:ext>
              </a:extLst>
            </p:cNvPr>
            <p:cNvSpPr>
              <a:spLocks/>
            </p:cNvSpPr>
            <p:nvPr/>
          </p:nvSpPr>
          <p:spPr bwMode="auto">
            <a:xfrm>
              <a:off x="9895281" y="3923615"/>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37" name="Freeform 7">
              <a:extLst>
                <a:ext uri="{FF2B5EF4-FFF2-40B4-BE49-F238E27FC236}">
                  <a16:creationId xmlns:a16="http://schemas.microsoft.com/office/drawing/2014/main" id="{25830079-E844-4FCB-B3BE-B3B9DC6F0A97}"/>
                </a:ext>
                <a:ext uri="{C183D7F6-B498-43B3-948B-1728B52AA6E4}">
                  <adec:decorative xmlns:adec="http://schemas.microsoft.com/office/drawing/2017/decorative" val="1"/>
                </a:ext>
              </a:extLst>
            </p:cNvPr>
            <p:cNvSpPr>
              <a:spLocks/>
            </p:cNvSpPr>
            <p:nvPr/>
          </p:nvSpPr>
          <p:spPr bwMode="auto">
            <a:xfrm>
              <a:off x="9895281" y="3977684"/>
              <a:ext cx="150201" cy="30580"/>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38" name="Freeform 8">
              <a:extLst>
                <a:ext uri="{FF2B5EF4-FFF2-40B4-BE49-F238E27FC236}">
                  <a16:creationId xmlns:a16="http://schemas.microsoft.com/office/drawing/2014/main" id="{5560A450-4E05-4D97-A2F1-DB6A4B8A1B75}"/>
                </a:ext>
                <a:ext uri="{C183D7F6-B498-43B3-948B-1728B52AA6E4}">
                  <adec:decorative xmlns:adec="http://schemas.microsoft.com/office/drawing/2017/decorative" val="1"/>
                </a:ext>
              </a:extLst>
            </p:cNvPr>
            <p:cNvSpPr>
              <a:spLocks/>
            </p:cNvSpPr>
            <p:nvPr/>
          </p:nvSpPr>
          <p:spPr bwMode="auto">
            <a:xfrm>
              <a:off x="9895281" y="4031311"/>
              <a:ext cx="150201" cy="3058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39" name="Freeform 9">
              <a:extLst>
                <a:ext uri="{FF2B5EF4-FFF2-40B4-BE49-F238E27FC236}">
                  <a16:creationId xmlns:a16="http://schemas.microsoft.com/office/drawing/2014/main" id="{66EE30C0-E92E-4C6D-8E12-D932C75D030B}"/>
                </a:ext>
                <a:ext uri="{C183D7F6-B498-43B3-948B-1728B52AA6E4}">
                  <adec:decorative xmlns:adec="http://schemas.microsoft.com/office/drawing/2017/decorative" val="1"/>
                </a:ext>
              </a:extLst>
            </p:cNvPr>
            <p:cNvSpPr>
              <a:spLocks/>
            </p:cNvSpPr>
            <p:nvPr/>
          </p:nvSpPr>
          <p:spPr bwMode="auto">
            <a:xfrm>
              <a:off x="9895281" y="4085380"/>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41" name="Oval 14">
              <a:extLst>
                <a:ext uri="{FF2B5EF4-FFF2-40B4-BE49-F238E27FC236}">
                  <a16:creationId xmlns:a16="http://schemas.microsoft.com/office/drawing/2014/main" id="{1E368193-2283-4710-B5DA-7D5986A1FEAD}"/>
                </a:ext>
                <a:ext uri="{C183D7F6-B498-43B3-948B-1728B52AA6E4}">
                  <adec:decorative xmlns:adec="http://schemas.microsoft.com/office/drawing/2017/decorative" val="1"/>
                </a:ext>
              </a:extLst>
            </p:cNvPr>
            <p:cNvSpPr>
              <a:spLocks noChangeArrowheads="1"/>
            </p:cNvSpPr>
            <p:nvPr/>
          </p:nvSpPr>
          <p:spPr bwMode="auto">
            <a:xfrm>
              <a:off x="10019248" y="3930042"/>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42" name="Oval 15">
              <a:extLst>
                <a:ext uri="{FF2B5EF4-FFF2-40B4-BE49-F238E27FC236}">
                  <a16:creationId xmlns:a16="http://schemas.microsoft.com/office/drawing/2014/main" id="{9FC2CD0D-E71F-401F-B13F-E363B71BD60A}"/>
                </a:ext>
                <a:ext uri="{C183D7F6-B498-43B3-948B-1728B52AA6E4}">
                  <adec:decorative xmlns:adec="http://schemas.microsoft.com/office/drawing/2017/decorative" val="1"/>
                </a:ext>
              </a:extLst>
            </p:cNvPr>
            <p:cNvSpPr>
              <a:spLocks noChangeArrowheads="1"/>
            </p:cNvSpPr>
            <p:nvPr/>
          </p:nvSpPr>
          <p:spPr bwMode="auto">
            <a:xfrm>
              <a:off x="10019248" y="3984111"/>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43" name="Oval 16">
              <a:extLst>
                <a:ext uri="{FF2B5EF4-FFF2-40B4-BE49-F238E27FC236}">
                  <a16:creationId xmlns:a16="http://schemas.microsoft.com/office/drawing/2014/main" id="{1FF0D83D-D360-4904-8269-4FAFE58326FC}"/>
                </a:ext>
                <a:ext uri="{C183D7F6-B498-43B3-948B-1728B52AA6E4}">
                  <adec:decorative xmlns:adec="http://schemas.microsoft.com/office/drawing/2017/decorative" val="1"/>
                </a:ext>
              </a:extLst>
            </p:cNvPr>
            <p:cNvSpPr>
              <a:spLocks noChangeArrowheads="1"/>
            </p:cNvSpPr>
            <p:nvPr/>
          </p:nvSpPr>
          <p:spPr bwMode="auto">
            <a:xfrm>
              <a:off x="10019248" y="4038180"/>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44" name="Oval 17">
              <a:extLst>
                <a:ext uri="{FF2B5EF4-FFF2-40B4-BE49-F238E27FC236}">
                  <a16:creationId xmlns:a16="http://schemas.microsoft.com/office/drawing/2014/main" id="{E25ECA7E-0FE6-4F51-A661-80067201FF08}"/>
                </a:ext>
                <a:ext uri="{C183D7F6-B498-43B3-948B-1728B52AA6E4}">
                  <adec:decorative xmlns:adec="http://schemas.microsoft.com/office/drawing/2017/decorative" val="1"/>
                </a:ext>
              </a:extLst>
            </p:cNvPr>
            <p:cNvSpPr>
              <a:spLocks noChangeArrowheads="1"/>
            </p:cNvSpPr>
            <p:nvPr/>
          </p:nvSpPr>
          <p:spPr bwMode="auto">
            <a:xfrm>
              <a:off x="10019248" y="4092250"/>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99" name="Rectangle 398">
              <a:extLst>
                <a:ext uri="{FF2B5EF4-FFF2-40B4-BE49-F238E27FC236}">
                  <a16:creationId xmlns:a16="http://schemas.microsoft.com/office/drawing/2014/main" id="{D3201B5A-1A3F-4368-94EB-D876CB759D34}"/>
                </a:ext>
                <a:ext uri="{C183D7F6-B498-43B3-948B-1728B52AA6E4}">
                  <adec:decorative xmlns:adec="http://schemas.microsoft.com/office/drawing/2017/decorative" val="1"/>
                </a:ext>
              </a:extLst>
            </p:cNvPr>
            <p:cNvSpPr/>
            <p:nvPr/>
          </p:nvSpPr>
          <p:spPr bwMode="auto">
            <a:xfrm>
              <a:off x="9778278" y="4352923"/>
              <a:ext cx="851793" cy="476453"/>
            </a:xfrm>
            <a:prstGeom prst="rect">
              <a:avLst/>
            </a:prstGeom>
            <a:solidFill>
              <a:schemeClr val="bg1">
                <a:lumMod val="95000"/>
              </a:schemeClr>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3" name="Rectangle 412">
              <a:extLst>
                <a:ext uri="{FF2B5EF4-FFF2-40B4-BE49-F238E27FC236}">
                  <a16:creationId xmlns:a16="http://schemas.microsoft.com/office/drawing/2014/main" id="{1C187F19-071F-4422-8C96-68C0F69E5351}"/>
                </a:ext>
                <a:ext uri="{C183D7F6-B498-43B3-948B-1728B52AA6E4}">
                  <adec:decorative xmlns:adec="http://schemas.microsoft.com/office/drawing/2017/decorative" val="1"/>
                </a:ext>
              </a:extLst>
            </p:cNvPr>
            <p:cNvSpPr/>
            <p:nvPr/>
          </p:nvSpPr>
          <p:spPr bwMode="auto">
            <a:xfrm>
              <a:off x="10153364" y="4636798"/>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4" name="Oval 413">
              <a:extLst>
                <a:ext uri="{FF2B5EF4-FFF2-40B4-BE49-F238E27FC236}">
                  <a16:creationId xmlns:a16="http://schemas.microsoft.com/office/drawing/2014/main" id="{20665CB0-3252-49C3-A622-A790DBEE475A}"/>
                </a:ext>
                <a:ext uri="{C183D7F6-B498-43B3-948B-1728B52AA6E4}">
                  <adec:decorative xmlns:adec="http://schemas.microsoft.com/office/drawing/2017/decorative" val="1"/>
                </a:ext>
              </a:extLst>
            </p:cNvPr>
            <p:cNvSpPr/>
            <p:nvPr/>
          </p:nvSpPr>
          <p:spPr bwMode="auto">
            <a:xfrm flipH="1">
              <a:off x="10284859" y="4652554"/>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15" name="Straight Connector 414">
              <a:extLst>
                <a:ext uri="{FF2B5EF4-FFF2-40B4-BE49-F238E27FC236}">
                  <a16:creationId xmlns:a16="http://schemas.microsoft.com/office/drawing/2014/main" id="{3CD22B4E-1586-4A6D-9137-11277A30DD71}"/>
                </a:ext>
                <a:ext uri="{C183D7F6-B498-43B3-948B-1728B52AA6E4}">
                  <adec:decorative xmlns:adec="http://schemas.microsoft.com/office/drawing/2017/decorative" val="1"/>
                </a:ext>
              </a:extLst>
            </p:cNvPr>
            <p:cNvCxnSpPr/>
            <p:nvPr/>
          </p:nvCxnSpPr>
          <p:spPr>
            <a:xfrm>
              <a:off x="10177366" y="4661046"/>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6" name="Rectangle 415">
              <a:extLst>
                <a:ext uri="{FF2B5EF4-FFF2-40B4-BE49-F238E27FC236}">
                  <a16:creationId xmlns:a16="http://schemas.microsoft.com/office/drawing/2014/main" id="{4CB882E6-4D5E-497D-966D-44E0AC27C157}"/>
                </a:ext>
                <a:ext uri="{C183D7F6-B498-43B3-948B-1728B52AA6E4}">
                  <adec:decorative xmlns:adec="http://schemas.microsoft.com/office/drawing/2017/decorative" val="1"/>
                </a:ext>
              </a:extLst>
            </p:cNvPr>
            <p:cNvSpPr/>
            <p:nvPr/>
          </p:nvSpPr>
          <p:spPr bwMode="auto">
            <a:xfrm>
              <a:off x="10153364" y="4686795"/>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7" name="Oval 416">
              <a:extLst>
                <a:ext uri="{FF2B5EF4-FFF2-40B4-BE49-F238E27FC236}">
                  <a16:creationId xmlns:a16="http://schemas.microsoft.com/office/drawing/2014/main" id="{C3A27D31-6309-48F9-8D71-2F6FC2C7CF2B}"/>
                </a:ext>
                <a:ext uri="{C183D7F6-B498-43B3-948B-1728B52AA6E4}">
                  <adec:decorative xmlns:adec="http://schemas.microsoft.com/office/drawing/2017/decorative" val="1"/>
                </a:ext>
              </a:extLst>
            </p:cNvPr>
            <p:cNvSpPr/>
            <p:nvPr/>
          </p:nvSpPr>
          <p:spPr bwMode="auto">
            <a:xfrm flipH="1">
              <a:off x="10284859" y="4702551"/>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18" name="Straight Connector 417">
              <a:extLst>
                <a:ext uri="{FF2B5EF4-FFF2-40B4-BE49-F238E27FC236}">
                  <a16:creationId xmlns:a16="http://schemas.microsoft.com/office/drawing/2014/main" id="{92D06DB8-D9B1-4E52-A03A-45EBE94E4ACC}"/>
                </a:ext>
                <a:ext uri="{C183D7F6-B498-43B3-948B-1728B52AA6E4}">
                  <adec:decorative xmlns:adec="http://schemas.microsoft.com/office/drawing/2017/decorative" val="1"/>
                </a:ext>
              </a:extLst>
            </p:cNvPr>
            <p:cNvCxnSpPr/>
            <p:nvPr/>
          </p:nvCxnSpPr>
          <p:spPr>
            <a:xfrm>
              <a:off x="10177366" y="4711042"/>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9" name="Rectangle 418">
              <a:extLst>
                <a:ext uri="{FF2B5EF4-FFF2-40B4-BE49-F238E27FC236}">
                  <a16:creationId xmlns:a16="http://schemas.microsoft.com/office/drawing/2014/main" id="{4FA77552-CB4F-4BDE-AAB8-EB386236DBFA}"/>
                </a:ext>
                <a:ext uri="{C183D7F6-B498-43B3-948B-1728B52AA6E4}">
                  <adec:decorative xmlns:adec="http://schemas.microsoft.com/office/drawing/2017/decorative" val="1"/>
                </a:ext>
              </a:extLst>
            </p:cNvPr>
            <p:cNvSpPr/>
            <p:nvPr/>
          </p:nvSpPr>
          <p:spPr bwMode="auto">
            <a:xfrm>
              <a:off x="10153364" y="4586802"/>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0" name="Oval 419">
              <a:extLst>
                <a:ext uri="{FF2B5EF4-FFF2-40B4-BE49-F238E27FC236}">
                  <a16:creationId xmlns:a16="http://schemas.microsoft.com/office/drawing/2014/main" id="{9D3AA409-6737-4A29-9925-D41DF82E564C}"/>
                </a:ext>
                <a:ext uri="{C183D7F6-B498-43B3-948B-1728B52AA6E4}">
                  <adec:decorative xmlns:adec="http://schemas.microsoft.com/office/drawing/2017/decorative" val="1"/>
                </a:ext>
              </a:extLst>
            </p:cNvPr>
            <p:cNvSpPr/>
            <p:nvPr/>
          </p:nvSpPr>
          <p:spPr bwMode="auto">
            <a:xfrm flipH="1">
              <a:off x="10284859" y="4602558"/>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21" name="Straight Connector 420">
              <a:extLst>
                <a:ext uri="{FF2B5EF4-FFF2-40B4-BE49-F238E27FC236}">
                  <a16:creationId xmlns:a16="http://schemas.microsoft.com/office/drawing/2014/main" id="{E44D59B1-5216-4F84-AAE0-BDE24EC8F1A6}"/>
                </a:ext>
                <a:ext uri="{C183D7F6-B498-43B3-948B-1728B52AA6E4}">
                  <adec:decorative xmlns:adec="http://schemas.microsoft.com/office/drawing/2017/decorative" val="1"/>
                </a:ext>
              </a:extLst>
            </p:cNvPr>
            <p:cNvCxnSpPr/>
            <p:nvPr/>
          </p:nvCxnSpPr>
          <p:spPr>
            <a:xfrm>
              <a:off x="10177366" y="4611050"/>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2" name="Rectangle 421">
              <a:extLst>
                <a:ext uri="{FF2B5EF4-FFF2-40B4-BE49-F238E27FC236}">
                  <a16:creationId xmlns:a16="http://schemas.microsoft.com/office/drawing/2014/main" id="{42EBD4B6-6410-4378-A613-F1017DC4DBF3}"/>
                </a:ext>
                <a:ext uri="{C183D7F6-B498-43B3-948B-1728B52AA6E4}">
                  <adec:decorative xmlns:adec="http://schemas.microsoft.com/office/drawing/2017/decorative" val="1"/>
                </a:ext>
              </a:extLst>
            </p:cNvPr>
            <p:cNvSpPr/>
            <p:nvPr/>
          </p:nvSpPr>
          <p:spPr bwMode="auto">
            <a:xfrm>
              <a:off x="10153364" y="4486809"/>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3" name="Oval 422">
              <a:extLst>
                <a:ext uri="{FF2B5EF4-FFF2-40B4-BE49-F238E27FC236}">
                  <a16:creationId xmlns:a16="http://schemas.microsoft.com/office/drawing/2014/main" id="{6EC2F1BF-B6F6-4CD5-9ADF-FDE2F340C2B2}"/>
                </a:ext>
                <a:ext uri="{C183D7F6-B498-43B3-948B-1728B52AA6E4}">
                  <adec:decorative xmlns:adec="http://schemas.microsoft.com/office/drawing/2017/decorative" val="1"/>
                </a:ext>
              </a:extLst>
            </p:cNvPr>
            <p:cNvSpPr/>
            <p:nvPr/>
          </p:nvSpPr>
          <p:spPr bwMode="auto">
            <a:xfrm flipH="1">
              <a:off x="10284859" y="4502565"/>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24" name="Straight Connector 423">
              <a:extLst>
                <a:ext uri="{FF2B5EF4-FFF2-40B4-BE49-F238E27FC236}">
                  <a16:creationId xmlns:a16="http://schemas.microsoft.com/office/drawing/2014/main" id="{47C07106-5D12-4550-8F7D-F2A742170AF4}"/>
                </a:ext>
                <a:ext uri="{C183D7F6-B498-43B3-948B-1728B52AA6E4}">
                  <adec:decorative xmlns:adec="http://schemas.microsoft.com/office/drawing/2017/decorative" val="1"/>
                </a:ext>
              </a:extLst>
            </p:cNvPr>
            <p:cNvCxnSpPr/>
            <p:nvPr/>
          </p:nvCxnSpPr>
          <p:spPr>
            <a:xfrm>
              <a:off x="10177366" y="4511057"/>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5" name="Rectangle 424">
              <a:extLst>
                <a:ext uri="{FF2B5EF4-FFF2-40B4-BE49-F238E27FC236}">
                  <a16:creationId xmlns:a16="http://schemas.microsoft.com/office/drawing/2014/main" id="{87807279-0A32-4156-8CC1-F1028A3B5D53}"/>
                </a:ext>
                <a:ext uri="{C183D7F6-B498-43B3-948B-1728B52AA6E4}">
                  <adec:decorative xmlns:adec="http://schemas.microsoft.com/office/drawing/2017/decorative" val="1"/>
                </a:ext>
              </a:extLst>
            </p:cNvPr>
            <p:cNvSpPr/>
            <p:nvPr/>
          </p:nvSpPr>
          <p:spPr bwMode="auto">
            <a:xfrm>
              <a:off x="10153364" y="4536806"/>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6" name="Oval 425">
              <a:extLst>
                <a:ext uri="{FF2B5EF4-FFF2-40B4-BE49-F238E27FC236}">
                  <a16:creationId xmlns:a16="http://schemas.microsoft.com/office/drawing/2014/main" id="{299E3B8F-B0A0-42DF-8B3C-AA97F793CC92}"/>
                </a:ext>
                <a:ext uri="{C183D7F6-B498-43B3-948B-1728B52AA6E4}">
                  <adec:decorative xmlns:adec="http://schemas.microsoft.com/office/drawing/2017/decorative" val="1"/>
                </a:ext>
              </a:extLst>
            </p:cNvPr>
            <p:cNvSpPr/>
            <p:nvPr/>
          </p:nvSpPr>
          <p:spPr bwMode="auto">
            <a:xfrm flipH="1">
              <a:off x="10284859" y="4552561"/>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27" name="Straight Connector 426">
              <a:extLst>
                <a:ext uri="{FF2B5EF4-FFF2-40B4-BE49-F238E27FC236}">
                  <a16:creationId xmlns:a16="http://schemas.microsoft.com/office/drawing/2014/main" id="{F2A960A3-6DF7-4178-BA2D-115D00349B8E}"/>
                </a:ext>
                <a:ext uri="{C183D7F6-B498-43B3-948B-1728B52AA6E4}">
                  <adec:decorative xmlns:adec="http://schemas.microsoft.com/office/drawing/2017/decorative" val="1"/>
                </a:ext>
              </a:extLst>
            </p:cNvPr>
            <p:cNvCxnSpPr/>
            <p:nvPr/>
          </p:nvCxnSpPr>
          <p:spPr>
            <a:xfrm>
              <a:off x="10177366" y="4561053"/>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8" name="Rectangle 427">
              <a:extLst>
                <a:ext uri="{FF2B5EF4-FFF2-40B4-BE49-F238E27FC236}">
                  <a16:creationId xmlns:a16="http://schemas.microsoft.com/office/drawing/2014/main" id="{71C632DC-16A2-4322-8AC2-1CC66B18E950}"/>
                </a:ext>
                <a:ext uri="{C183D7F6-B498-43B3-948B-1728B52AA6E4}">
                  <adec:decorative xmlns:adec="http://schemas.microsoft.com/office/drawing/2017/decorative" val="1"/>
                </a:ext>
              </a:extLst>
            </p:cNvPr>
            <p:cNvSpPr/>
            <p:nvPr/>
          </p:nvSpPr>
          <p:spPr bwMode="auto">
            <a:xfrm>
              <a:off x="10153364" y="4436813"/>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9" name="Oval 428">
              <a:extLst>
                <a:ext uri="{FF2B5EF4-FFF2-40B4-BE49-F238E27FC236}">
                  <a16:creationId xmlns:a16="http://schemas.microsoft.com/office/drawing/2014/main" id="{332C2EA9-5F11-40D5-AD6E-EF597F752947}"/>
                </a:ext>
                <a:ext uri="{C183D7F6-B498-43B3-948B-1728B52AA6E4}">
                  <adec:decorative xmlns:adec="http://schemas.microsoft.com/office/drawing/2017/decorative" val="1"/>
                </a:ext>
              </a:extLst>
            </p:cNvPr>
            <p:cNvSpPr/>
            <p:nvPr/>
          </p:nvSpPr>
          <p:spPr bwMode="auto">
            <a:xfrm flipH="1">
              <a:off x="10284859" y="4452569"/>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30" name="Straight Connector 429">
              <a:extLst>
                <a:ext uri="{FF2B5EF4-FFF2-40B4-BE49-F238E27FC236}">
                  <a16:creationId xmlns:a16="http://schemas.microsoft.com/office/drawing/2014/main" id="{414E7365-A6C1-4F20-88A1-10B6E68332BA}"/>
                </a:ext>
                <a:ext uri="{C183D7F6-B498-43B3-948B-1728B52AA6E4}">
                  <adec:decorative xmlns:adec="http://schemas.microsoft.com/office/drawing/2017/decorative" val="1"/>
                </a:ext>
              </a:extLst>
            </p:cNvPr>
            <p:cNvCxnSpPr/>
            <p:nvPr/>
          </p:nvCxnSpPr>
          <p:spPr>
            <a:xfrm>
              <a:off x="10177366" y="4461061"/>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1" name="Flowchart: Direct Access Storage 400">
              <a:extLst>
                <a:ext uri="{FF2B5EF4-FFF2-40B4-BE49-F238E27FC236}">
                  <a16:creationId xmlns:a16="http://schemas.microsoft.com/office/drawing/2014/main" id="{A289FB41-FC54-4052-9661-780647528B8D}"/>
                </a:ext>
                <a:ext uri="{C183D7F6-B498-43B3-948B-1728B52AA6E4}">
                  <adec:decorative xmlns:adec="http://schemas.microsoft.com/office/drawing/2017/decorative" val="1"/>
                </a:ext>
              </a:extLst>
            </p:cNvPr>
            <p:cNvSpPr/>
            <p:nvPr/>
          </p:nvSpPr>
          <p:spPr bwMode="auto">
            <a:xfrm>
              <a:off x="10402941" y="4436813"/>
              <a:ext cx="113954" cy="299596"/>
            </a:xfrm>
            <a:prstGeom prst="flowChartMagneticDrum">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403" name="Rectangle 5">
              <a:extLst>
                <a:ext uri="{FF2B5EF4-FFF2-40B4-BE49-F238E27FC236}">
                  <a16:creationId xmlns:a16="http://schemas.microsoft.com/office/drawing/2014/main" id="{57BC62AB-A59C-4E0F-9209-CE71B656CDE1}"/>
                </a:ext>
                <a:ext uri="{C183D7F6-B498-43B3-948B-1728B52AA6E4}">
                  <adec:decorative xmlns:adec="http://schemas.microsoft.com/office/drawing/2017/decorative" val="1"/>
                </a:ext>
              </a:extLst>
            </p:cNvPr>
            <p:cNvSpPr>
              <a:spLocks noChangeArrowheads="1"/>
            </p:cNvSpPr>
            <p:nvPr/>
          </p:nvSpPr>
          <p:spPr bwMode="auto">
            <a:xfrm>
              <a:off x="9874808" y="4434850"/>
              <a:ext cx="191148" cy="299597"/>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4" name="Freeform 6">
              <a:extLst>
                <a:ext uri="{FF2B5EF4-FFF2-40B4-BE49-F238E27FC236}">
                  <a16:creationId xmlns:a16="http://schemas.microsoft.com/office/drawing/2014/main" id="{E7EEDEDC-41BA-4B2D-8BEB-87556C924E8A}"/>
                </a:ext>
                <a:ext uri="{C183D7F6-B498-43B3-948B-1728B52AA6E4}">
                  <adec:decorative xmlns:adec="http://schemas.microsoft.com/office/drawing/2017/decorative" val="1"/>
                </a:ext>
              </a:extLst>
            </p:cNvPr>
            <p:cNvSpPr>
              <a:spLocks/>
            </p:cNvSpPr>
            <p:nvPr/>
          </p:nvSpPr>
          <p:spPr bwMode="auto">
            <a:xfrm>
              <a:off x="9895281" y="4469862"/>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5" name="Freeform 7">
              <a:extLst>
                <a:ext uri="{FF2B5EF4-FFF2-40B4-BE49-F238E27FC236}">
                  <a16:creationId xmlns:a16="http://schemas.microsoft.com/office/drawing/2014/main" id="{69102DEB-31A7-4326-9C78-D825E5BD2E56}"/>
                </a:ext>
                <a:ext uri="{C183D7F6-B498-43B3-948B-1728B52AA6E4}">
                  <adec:decorative xmlns:adec="http://schemas.microsoft.com/office/drawing/2017/decorative" val="1"/>
                </a:ext>
              </a:extLst>
            </p:cNvPr>
            <p:cNvSpPr>
              <a:spLocks/>
            </p:cNvSpPr>
            <p:nvPr/>
          </p:nvSpPr>
          <p:spPr bwMode="auto">
            <a:xfrm>
              <a:off x="9895281" y="4523931"/>
              <a:ext cx="150201" cy="30580"/>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6" name="Freeform 8">
              <a:extLst>
                <a:ext uri="{FF2B5EF4-FFF2-40B4-BE49-F238E27FC236}">
                  <a16:creationId xmlns:a16="http://schemas.microsoft.com/office/drawing/2014/main" id="{8814034C-696E-4FFF-BF19-93AE811AA419}"/>
                </a:ext>
                <a:ext uri="{C183D7F6-B498-43B3-948B-1728B52AA6E4}">
                  <adec:decorative xmlns:adec="http://schemas.microsoft.com/office/drawing/2017/decorative" val="1"/>
                </a:ext>
              </a:extLst>
            </p:cNvPr>
            <p:cNvSpPr>
              <a:spLocks/>
            </p:cNvSpPr>
            <p:nvPr/>
          </p:nvSpPr>
          <p:spPr bwMode="auto">
            <a:xfrm>
              <a:off x="9895281" y="4577558"/>
              <a:ext cx="150201" cy="3058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7" name="Freeform 9">
              <a:extLst>
                <a:ext uri="{FF2B5EF4-FFF2-40B4-BE49-F238E27FC236}">
                  <a16:creationId xmlns:a16="http://schemas.microsoft.com/office/drawing/2014/main" id="{E4947AB6-5517-4508-82D5-81D381847F45}"/>
                </a:ext>
                <a:ext uri="{C183D7F6-B498-43B3-948B-1728B52AA6E4}">
                  <adec:decorative xmlns:adec="http://schemas.microsoft.com/office/drawing/2017/decorative" val="1"/>
                </a:ext>
              </a:extLst>
            </p:cNvPr>
            <p:cNvSpPr>
              <a:spLocks/>
            </p:cNvSpPr>
            <p:nvPr/>
          </p:nvSpPr>
          <p:spPr bwMode="auto">
            <a:xfrm>
              <a:off x="9895281" y="4631627"/>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9" name="Oval 14">
              <a:extLst>
                <a:ext uri="{FF2B5EF4-FFF2-40B4-BE49-F238E27FC236}">
                  <a16:creationId xmlns:a16="http://schemas.microsoft.com/office/drawing/2014/main" id="{F13CCEE2-91B2-4B5B-B934-88637B641ACF}"/>
                </a:ext>
                <a:ext uri="{C183D7F6-B498-43B3-948B-1728B52AA6E4}">
                  <adec:decorative xmlns:adec="http://schemas.microsoft.com/office/drawing/2017/decorative" val="1"/>
                </a:ext>
              </a:extLst>
            </p:cNvPr>
            <p:cNvSpPr>
              <a:spLocks noChangeArrowheads="1"/>
            </p:cNvSpPr>
            <p:nvPr/>
          </p:nvSpPr>
          <p:spPr bwMode="auto">
            <a:xfrm>
              <a:off x="10019248" y="4476289"/>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10" name="Oval 15">
              <a:extLst>
                <a:ext uri="{FF2B5EF4-FFF2-40B4-BE49-F238E27FC236}">
                  <a16:creationId xmlns:a16="http://schemas.microsoft.com/office/drawing/2014/main" id="{1B2C2BC0-C412-4C7C-83D0-A5A2A47D2222}"/>
                </a:ext>
                <a:ext uri="{C183D7F6-B498-43B3-948B-1728B52AA6E4}">
                  <adec:decorative xmlns:adec="http://schemas.microsoft.com/office/drawing/2017/decorative" val="1"/>
                </a:ext>
              </a:extLst>
            </p:cNvPr>
            <p:cNvSpPr>
              <a:spLocks noChangeArrowheads="1"/>
            </p:cNvSpPr>
            <p:nvPr/>
          </p:nvSpPr>
          <p:spPr bwMode="auto">
            <a:xfrm>
              <a:off x="10019248" y="4530358"/>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11" name="Oval 16">
              <a:extLst>
                <a:ext uri="{FF2B5EF4-FFF2-40B4-BE49-F238E27FC236}">
                  <a16:creationId xmlns:a16="http://schemas.microsoft.com/office/drawing/2014/main" id="{85D1A0BF-F321-4778-97DB-13384FCBF3C4}"/>
                </a:ext>
                <a:ext uri="{C183D7F6-B498-43B3-948B-1728B52AA6E4}">
                  <adec:decorative xmlns:adec="http://schemas.microsoft.com/office/drawing/2017/decorative" val="1"/>
                </a:ext>
              </a:extLst>
            </p:cNvPr>
            <p:cNvSpPr>
              <a:spLocks noChangeArrowheads="1"/>
            </p:cNvSpPr>
            <p:nvPr/>
          </p:nvSpPr>
          <p:spPr bwMode="auto">
            <a:xfrm>
              <a:off x="10019248" y="4584427"/>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12" name="Oval 17">
              <a:extLst>
                <a:ext uri="{FF2B5EF4-FFF2-40B4-BE49-F238E27FC236}">
                  <a16:creationId xmlns:a16="http://schemas.microsoft.com/office/drawing/2014/main" id="{A3EC60C7-ED2B-4648-9C2E-F95C4001E9F4}"/>
                </a:ext>
                <a:ext uri="{C183D7F6-B498-43B3-948B-1728B52AA6E4}">
                  <adec:decorative xmlns:adec="http://schemas.microsoft.com/office/drawing/2017/decorative" val="1"/>
                </a:ext>
              </a:extLst>
            </p:cNvPr>
            <p:cNvSpPr>
              <a:spLocks noChangeArrowheads="1"/>
            </p:cNvSpPr>
            <p:nvPr/>
          </p:nvSpPr>
          <p:spPr bwMode="auto">
            <a:xfrm>
              <a:off x="10019248" y="4638497"/>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37" name="Rectangle 836">
              <a:extLst>
                <a:ext uri="{FF2B5EF4-FFF2-40B4-BE49-F238E27FC236}">
                  <a16:creationId xmlns:a16="http://schemas.microsoft.com/office/drawing/2014/main" id="{010246B5-37C6-4DD6-BE6E-1F4D1CBB165A}"/>
                </a:ext>
                <a:ext uri="{C183D7F6-B498-43B3-948B-1728B52AA6E4}">
                  <adec:decorative xmlns:adec="http://schemas.microsoft.com/office/drawing/2017/decorative" val="1"/>
                </a:ext>
              </a:extLst>
            </p:cNvPr>
            <p:cNvSpPr/>
            <p:nvPr/>
          </p:nvSpPr>
          <p:spPr bwMode="auto">
            <a:xfrm>
              <a:off x="9966338" y="5168725"/>
              <a:ext cx="851793" cy="476453"/>
            </a:xfrm>
            <a:prstGeom prst="rect">
              <a:avLst/>
            </a:prstGeom>
            <a:solidFill>
              <a:schemeClr val="bg1">
                <a:lumMod val="95000"/>
              </a:schemeClr>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1" name="Rectangle 850">
              <a:extLst>
                <a:ext uri="{FF2B5EF4-FFF2-40B4-BE49-F238E27FC236}">
                  <a16:creationId xmlns:a16="http://schemas.microsoft.com/office/drawing/2014/main" id="{0E236FC2-4896-45BB-8CA1-F714A892EBF3}"/>
                </a:ext>
                <a:ext uri="{C183D7F6-B498-43B3-948B-1728B52AA6E4}">
                  <adec:decorative xmlns:adec="http://schemas.microsoft.com/office/drawing/2017/decorative" val="1"/>
                </a:ext>
              </a:extLst>
            </p:cNvPr>
            <p:cNvSpPr/>
            <p:nvPr/>
          </p:nvSpPr>
          <p:spPr bwMode="auto">
            <a:xfrm>
              <a:off x="10341424" y="5452600"/>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2" name="Oval 851">
              <a:extLst>
                <a:ext uri="{FF2B5EF4-FFF2-40B4-BE49-F238E27FC236}">
                  <a16:creationId xmlns:a16="http://schemas.microsoft.com/office/drawing/2014/main" id="{4852F28F-86CB-4300-B4E3-07C1844455AA}"/>
                </a:ext>
                <a:ext uri="{C183D7F6-B498-43B3-948B-1728B52AA6E4}">
                  <adec:decorative xmlns:adec="http://schemas.microsoft.com/office/drawing/2017/decorative" val="1"/>
                </a:ext>
              </a:extLst>
            </p:cNvPr>
            <p:cNvSpPr/>
            <p:nvPr/>
          </p:nvSpPr>
          <p:spPr bwMode="auto">
            <a:xfrm flipH="1">
              <a:off x="10472919" y="5468356"/>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53" name="Straight Connector 852">
              <a:extLst>
                <a:ext uri="{FF2B5EF4-FFF2-40B4-BE49-F238E27FC236}">
                  <a16:creationId xmlns:a16="http://schemas.microsoft.com/office/drawing/2014/main" id="{57B37934-3D47-46DC-A0B0-38EB9C2CBABB}"/>
                </a:ext>
                <a:ext uri="{C183D7F6-B498-43B3-948B-1728B52AA6E4}">
                  <adec:decorative xmlns:adec="http://schemas.microsoft.com/office/drawing/2017/decorative" val="1"/>
                </a:ext>
              </a:extLst>
            </p:cNvPr>
            <p:cNvCxnSpPr/>
            <p:nvPr/>
          </p:nvCxnSpPr>
          <p:spPr>
            <a:xfrm>
              <a:off x="10365426" y="5476848"/>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54" name="Rectangle 853">
              <a:extLst>
                <a:ext uri="{FF2B5EF4-FFF2-40B4-BE49-F238E27FC236}">
                  <a16:creationId xmlns:a16="http://schemas.microsoft.com/office/drawing/2014/main" id="{DC1FEAB3-061B-4CC0-9EFA-EDF8483E0ED0}"/>
                </a:ext>
                <a:ext uri="{C183D7F6-B498-43B3-948B-1728B52AA6E4}">
                  <adec:decorative xmlns:adec="http://schemas.microsoft.com/office/drawing/2017/decorative" val="1"/>
                </a:ext>
              </a:extLst>
            </p:cNvPr>
            <p:cNvSpPr/>
            <p:nvPr/>
          </p:nvSpPr>
          <p:spPr bwMode="auto">
            <a:xfrm>
              <a:off x="10341424" y="5502597"/>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5" name="Oval 854">
              <a:extLst>
                <a:ext uri="{FF2B5EF4-FFF2-40B4-BE49-F238E27FC236}">
                  <a16:creationId xmlns:a16="http://schemas.microsoft.com/office/drawing/2014/main" id="{305A3BA4-0137-4EB9-B0B1-C3EDF2E5667A}"/>
                </a:ext>
                <a:ext uri="{C183D7F6-B498-43B3-948B-1728B52AA6E4}">
                  <adec:decorative xmlns:adec="http://schemas.microsoft.com/office/drawing/2017/decorative" val="1"/>
                </a:ext>
              </a:extLst>
            </p:cNvPr>
            <p:cNvSpPr/>
            <p:nvPr/>
          </p:nvSpPr>
          <p:spPr bwMode="auto">
            <a:xfrm flipH="1">
              <a:off x="10472919" y="5518353"/>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56" name="Straight Connector 855">
              <a:extLst>
                <a:ext uri="{FF2B5EF4-FFF2-40B4-BE49-F238E27FC236}">
                  <a16:creationId xmlns:a16="http://schemas.microsoft.com/office/drawing/2014/main" id="{DC4F3248-BF63-4C39-B40E-3B717515717A}"/>
                </a:ext>
                <a:ext uri="{C183D7F6-B498-43B3-948B-1728B52AA6E4}">
                  <adec:decorative xmlns:adec="http://schemas.microsoft.com/office/drawing/2017/decorative" val="1"/>
                </a:ext>
              </a:extLst>
            </p:cNvPr>
            <p:cNvCxnSpPr/>
            <p:nvPr/>
          </p:nvCxnSpPr>
          <p:spPr>
            <a:xfrm>
              <a:off x="10365426" y="5526844"/>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57" name="Rectangle 856">
              <a:extLst>
                <a:ext uri="{FF2B5EF4-FFF2-40B4-BE49-F238E27FC236}">
                  <a16:creationId xmlns:a16="http://schemas.microsoft.com/office/drawing/2014/main" id="{AA881971-062E-4153-90A3-0BD799A3B667}"/>
                </a:ext>
                <a:ext uri="{C183D7F6-B498-43B3-948B-1728B52AA6E4}">
                  <adec:decorative xmlns:adec="http://schemas.microsoft.com/office/drawing/2017/decorative" val="1"/>
                </a:ext>
              </a:extLst>
            </p:cNvPr>
            <p:cNvSpPr/>
            <p:nvPr/>
          </p:nvSpPr>
          <p:spPr bwMode="auto">
            <a:xfrm>
              <a:off x="10341424" y="5402604"/>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8" name="Oval 857">
              <a:extLst>
                <a:ext uri="{FF2B5EF4-FFF2-40B4-BE49-F238E27FC236}">
                  <a16:creationId xmlns:a16="http://schemas.microsoft.com/office/drawing/2014/main" id="{A2E417C9-C6CF-497B-AE97-256BAB68CCC3}"/>
                </a:ext>
                <a:ext uri="{C183D7F6-B498-43B3-948B-1728B52AA6E4}">
                  <adec:decorative xmlns:adec="http://schemas.microsoft.com/office/drawing/2017/decorative" val="1"/>
                </a:ext>
              </a:extLst>
            </p:cNvPr>
            <p:cNvSpPr/>
            <p:nvPr/>
          </p:nvSpPr>
          <p:spPr bwMode="auto">
            <a:xfrm flipH="1">
              <a:off x="10472919" y="5418360"/>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59" name="Straight Connector 858">
              <a:extLst>
                <a:ext uri="{FF2B5EF4-FFF2-40B4-BE49-F238E27FC236}">
                  <a16:creationId xmlns:a16="http://schemas.microsoft.com/office/drawing/2014/main" id="{74598E56-3090-4EEE-8801-09EDA9CC7B61}"/>
                </a:ext>
                <a:ext uri="{C183D7F6-B498-43B3-948B-1728B52AA6E4}">
                  <adec:decorative xmlns:adec="http://schemas.microsoft.com/office/drawing/2017/decorative" val="1"/>
                </a:ext>
              </a:extLst>
            </p:cNvPr>
            <p:cNvCxnSpPr/>
            <p:nvPr/>
          </p:nvCxnSpPr>
          <p:spPr>
            <a:xfrm>
              <a:off x="10365426" y="5426852"/>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60" name="Rectangle 859">
              <a:extLst>
                <a:ext uri="{FF2B5EF4-FFF2-40B4-BE49-F238E27FC236}">
                  <a16:creationId xmlns:a16="http://schemas.microsoft.com/office/drawing/2014/main" id="{C7D67509-AC65-4C65-8EF8-8FE001ADA2F0}"/>
                </a:ext>
                <a:ext uri="{C183D7F6-B498-43B3-948B-1728B52AA6E4}">
                  <adec:decorative xmlns:adec="http://schemas.microsoft.com/office/drawing/2017/decorative" val="1"/>
                </a:ext>
              </a:extLst>
            </p:cNvPr>
            <p:cNvSpPr/>
            <p:nvPr/>
          </p:nvSpPr>
          <p:spPr bwMode="auto">
            <a:xfrm>
              <a:off x="10341424" y="5302611"/>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1" name="Oval 860">
              <a:extLst>
                <a:ext uri="{FF2B5EF4-FFF2-40B4-BE49-F238E27FC236}">
                  <a16:creationId xmlns:a16="http://schemas.microsoft.com/office/drawing/2014/main" id="{3104D37D-B528-4828-BCFB-AD5E989FE0BD}"/>
                </a:ext>
                <a:ext uri="{C183D7F6-B498-43B3-948B-1728B52AA6E4}">
                  <adec:decorative xmlns:adec="http://schemas.microsoft.com/office/drawing/2017/decorative" val="1"/>
                </a:ext>
              </a:extLst>
            </p:cNvPr>
            <p:cNvSpPr/>
            <p:nvPr/>
          </p:nvSpPr>
          <p:spPr bwMode="auto">
            <a:xfrm flipH="1">
              <a:off x="10472919" y="5318367"/>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62" name="Straight Connector 861">
              <a:extLst>
                <a:ext uri="{FF2B5EF4-FFF2-40B4-BE49-F238E27FC236}">
                  <a16:creationId xmlns:a16="http://schemas.microsoft.com/office/drawing/2014/main" id="{F3BFE241-69F8-42F0-9746-F6B73707755D}"/>
                </a:ext>
                <a:ext uri="{C183D7F6-B498-43B3-948B-1728B52AA6E4}">
                  <adec:decorative xmlns:adec="http://schemas.microsoft.com/office/drawing/2017/decorative" val="1"/>
                </a:ext>
              </a:extLst>
            </p:cNvPr>
            <p:cNvCxnSpPr/>
            <p:nvPr/>
          </p:nvCxnSpPr>
          <p:spPr>
            <a:xfrm>
              <a:off x="10365426" y="5326859"/>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63" name="Rectangle 862">
              <a:extLst>
                <a:ext uri="{FF2B5EF4-FFF2-40B4-BE49-F238E27FC236}">
                  <a16:creationId xmlns:a16="http://schemas.microsoft.com/office/drawing/2014/main" id="{75ABE318-0A03-4AEE-9704-4A4CABE2B029}"/>
                </a:ext>
                <a:ext uri="{C183D7F6-B498-43B3-948B-1728B52AA6E4}">
                  <adec:decorative xmlns:adec="http://schemas.microsoft.com/office/drawing/2017/decorative" val="1"/>
                </a:ext>
              </a:extLst>
            </p:cNvPr>
            <p:cNvSpPr/>
            <p:nvPr/>
          </p:nvSpPr>
          <p:spPr bwMode="auto">
            <a:xfrm>
              <a:off x="10341424" y="5352608"/>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4" name="Oval 863">
              <a:extLst>
                <a:ext uri="{FF2B5EF4-FFF2-40B4-BE49-F238E27FC236}">
                  <a16:creationId xmlns:a16="http://schemas.microsoft.com/office/drawing/2014/main" id="{B8AFD2F4-B31D-4439-8B5A-A2B8C5A1F8C2}"/>
                </a:ext>
                <a:ext uri="{C183D7F6-B498-43B3-948B-1728B52AA6E4}">
                  <adec:decorative xmlns:adec="http://schemas.microsoft.com/office/drawing/2017/decorative" val="1"/>
                </a:ext>
              </a:extLst>
            </p:cNvPr>
            <p:cNvSpPr/>
            <p:nvPr/>
          </p:nvSpPr>
          <p:spPr bwMode="auto">
            <a:xfrm flipH="1">
              <a:off x="10472919" y="5368363"/>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65" name="Straight Connector 864">
              <a:extLst>
                <a:ext uri="{FF2B5EF4-FFF2-40B4-BE49-F238E27FC236}">
                  <a16:creationId xmlns:a16="http://schemas.microsoft.com/office/drawing/2014/main" id="{96398D02-E531-43FF-8F93-3B697C132463}"/>
                </a:ext>
                <a:ext uri="{C183D7F6-B498-43B3-948B-1728B52AA6E4}">
                  <adec:decorative xmlns:adec="http://schemas.microsoft.com/office/drawing/2017/decorative" val="1"/>
                </a:ext>
              </a:extLst>
            </p:cNvPr>
            <p:cNvCxnSpPr/>
            <p:nvPr/>
          </p:nvCxnSpPr>
          <p:spPr>
            <a:xfrm>
              <a:off x="10365426" y="5376855"/>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66" name="Rectangle 865">
              <a:extLst>
                <a:ext uri="{FF2B5EF4-FFF2-40B4-BE49-F238E27FC236}">
                  <a16:creationId xmlns:a16="http://schemas.microsoft.com/office/drawing/2014/main" id="{5D3EA496-E5BF-47B0-8A0D-45B0B0B635B6}"/>
                </a:ext>
                <a:ext uri="{C183D7F6-B498-43B3-948B-1728B52AA6E4}">
                  <adec:decorative xmlns:adec="http://schemas.microsoft.com/office/drawing/2017/decorative" val="1"/>
                </a:ext>
              </a:extLst>
            </p:cNvPr>
            <p:cNvSpPr/>
            <p:nvPr/>
          </p:nvSpPr>
          <p:spPr bwMode="auto">
            <a:xfrm>
              <a:off x="10341424" y="5252615"/>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7" name="Oval 866">
              <a:extLst>
                <a:ext uri="{FF2B5EF4-FFF2-40B4-BE49-F238E27FC236}">
                  <a16:creationId xmlns:a16="http://schemas.microsoft.com/office/drawing/2014/main" id="{BBE10EB5-9B00-4094-BB69-535354F13A1A}"/>
                </a:ext>
                <a:ext uri="{C183D7F6-B498-43B3-948B-1728B52AA6E4}">
                  <adec:decorative xmlns:adec="http://schemas.microsoft.com/office/drawing/2017/decorative" val="1"/>
                </a:ext>
              </a:extLst>
            </p:cNvPr>
            <p:cNvSpPr/>
            <p:nvPr/>
          </p:nvSpPr>
          <p:spPr bwMode="auto">
            <a:xfrm flipH="1">
              <a:off x="10472919" y="5268371"/>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68" name="Straight Connector 867">
              <a:extLst>
                <a:ext uri="{FF2B5EF4-FFF2-40B4-BE49-F238E27FC236}">
                  <a16:creationId xmlns:a16="http://schemas.microsoft.com/office/drawing/2014/main" id="{3D7DE25D-D5DA-4489-88E1-EE5944415426}"/>
                </a:ext>
                <a:ext uri="{C183D7F6-B498-43B3-948B-1728B52AA6E4}">
                  <adec:decorative xmlns:adec="http://schemas.microsoft.com/office/drawing/2017/decorative" val="1"/>
                </a:ext>
              </a:extLst>
            </p:cNvPr>
            <p:cNvCxnSpPr/>
            <p:nvPr/>
          </p:nvCxnSpPr>
          <p:spPr>
            <a:xfrm>
              <a:off x="10365426" y="5276863"/>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9" name="Flowchart: Direct Access Storage 838">
              <a:extLst>
                <a:ext uri="{FF2B5EF4-FFF2-40B4-BE49-F238E27FC236}">
                  <a16:creationId xmlns:a16="http://schemas.microsoft.com/office/drawing/2014/main" id="{A387470C-DC01-46D1-9B06-3EE2331944C4}"/>
                </a:ext>
                <a:ext uri="{C183D7F6-B498-43B3-948B-1728B52AA6E4}">
                  <adec:decorative xmlns:adec="http://schemas.microsoft.com/office/drawing/2017/decorative" val="1"/>
                </a:ext>
              </a:extLst>
            </p:cNvPr>
            <p:cNvSpPr/>
            <p:nvPr/>
          </p:nvSpPr>
          <p:spPr bwMode="auto">
            <a:xfrm>
              <a:off x="10591001" y="5252615"/>
              <a:ext cx="113954" cy="299596"/>
            </a:xfrm>
            <a:prstGeom prst="flowChartMagneticDrum">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841" name="Rectangle 5">
              <a:extLst>
                <a:ext uri="{FF2B5EF4-FFF2-40B4-BE49-F238E27FC236}">
                  <a16:creationId xmlns:a16="http://schemas.microsoft.com/office/drawing/2014/main" id="{58F3B458-54EC-4496-9C34-0747EFBBF463}"/>
                </a:ext>
                <a:ext uri="{C183D7F6-B498-43B3-948B-1728B52AA6E4}">
                  <adec:decorative xmlns:adec="http://schemas.microsoft.com/office/drawing/2017/decorative" val="1"/>
                </a:ext>
              </a:extLst>
            </p:cNvPr>
            <p:cNvSpPr>
              <a:spLocks noChangeArrowheads="1"/>
            </p:cNvSpPr>
            <p:nvPr/>
          </p:nvSpPr>
          <p:spPr bwMode="auto">
            <a:xfrm>
              <a:off x="10062868" y="5250652"/>
              <a:ext cx="191148" cy="299597"/>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42" name="Freeform 6">
              <a:extLst>
                <a:ext uri="{FF2B5EF4-FFF2-40B4-BE49-F238E27FC236}">
                  <a16:creationId xmlns:a16="http://schemas.microsoft.com/office/drawing/2014/main" id="{C4B42228-97D4-46E8-9E87-AB7D0206B35A}"/>
                </a:ext>
                <a:ext uri="{C183D7F6-B498-43B3-948B-1728B52AA6E4}">
                  <adec:decorative xmlns:adec="http://schemas.microsoft.com/office/drawing/2017/decorative" val="1"/>
                </a:ext>
              </a:extLst>
            </p:cNvPr>
            <p:cNvSpPr>
              <a:spLocks/>
            </p:cNvSpPr>
            <p:nvPr/>
          </p:nvSpPr>
          <p:spPr bwMode="auto">
            <a:xfrm>
              <a:off x="10083341" y="5285664"/>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43" name="Freeform 7">
              <a:extLst>
                <a:ext uri="{FF2B5EF4-FFF2-40B4-BE49-F238E27FC236}">
                  <a16:creationId xmlns:a16="http://schemas.microsoft.com/office/drawing/2014/main" id="{57B88D36-DC2C-4B67-BFF0-077DA02502D7}"/>
                </a:ext>
                <a:ext uri="{C183D7F6-B498-43B3-948B-1728B52AA6E4}">
                  <adec:decorative xmlns:adec="http://schemas.microsoft.com/office/drawing/2017/decorative" val="1"/>
                </a:ext>
              </a:extLst>
            </p:cNvPr>
            <p:cNvSpPr>
              <a:spLocks/>
            </p:cNvSpPr>
            <p:nvPr/>
          </p:nvSpPr>
          <p:spPr bwMode="auto">
            <a:xfrm>
              <a:off x="10083341" y="5339733"/>
              <a:ext cx="150201" cy="30580"/>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44" name="Freeform 8">
              <a:extLst>
                <a:ext uri="{FF2B5EF4-FFF2-40B4-BE49-F238E27FC236}">
                  <a16:creationId xmlns:a16="http://schemas.microsoft.com/office/drawing/2014/main" id="{E1133AF3-A1F3-4A06-AE6C-789D6D1B29CC}"/>
                </a:ext>
                <a:ext uri="{C183D7F6-B498-43B3-948B-1728B52AA6E4}">
                  <adec:decorative xmlns:adec="http://schemas.microsoft.com/office/drawing/2017/decorative" val="1"/>
                </a:ext>
              </a:extLst>
            </p:cNvPr>
            <p:cNvSpPr>
              <a:spLocks/>
            </p:cNvSpPr>
            <p:nvPr/>
          </p:nvSpPr>
          <p:spPr bwMode="auto">
            <a:xfrm>
              <a:off x="10083341" y="5393360"/>
              <a:ext cx="150201" cy="3058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45" name="Freeform 9">
              <a:extLst>
                <a:ext uri="{FF2B5EF4-FFF2-40B4-BE49-F238E27FC236}">
                  <a16:creationId xmlns:a16="http://schemas.microsoft.com/office/drawing/2014/main" id="{D3DA99C4-28C1-4973-8EC1-C0D9DEBED9A4}"/>
                </a:ext>
                <a:ext uri="{C183D7F6-B498-43B3-948B-1728B52AA6E4}">
                  <adec:decorative xmlns:adec="http://schemas.microsoft.com/office/drawing/2017/decorative" val="1"/>
                </a:ext>
              </a:extLst>
            </p:cNvPr>
            <p:cNvSpPr>
              <a:spLocks/>
            </p:cNvSpPr>
            <p:nvPr/>
          </p:nvSpPr>
          <p:spPr bwMode="auto">
            <a:xfrm>
              <a:off x="10083341" y="5447429"/>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47" name="Oval 14">
              <a:extLst>
                <a:ext uri="{FF2B5EF4-FFF2-40B4-BE49-F238E27FC236}">
                  <a16:creationId xmlns:a16="http://schemas.microsoft.com/office/drawing/2014/main" id="{C010187C-BD8F-4A8B-85E7-3E7C65E65C80}"/>
                </a:ext>
                <a:ext uri="{C183D7F6-B498-43B3-948B-1728B52AA6E4}">
                  <adec:decorative xmlns:adec="http://schemas.microsoft.com/office/drawing/2017/decorative" val="1"/>
                </a:ext>
              </a:extLst>
            </p:cNvPr>
            <p:cNvSpPr>
              <a:spLocks noChangeArrowheads="1"/>
            </p:cNvSpPr>
            <p:nvPr/>
          </p:nvSpPr>
          <p:spPr bwMode="auto">
            <a:xfrm>
              <a:off x="10207308" y="5292091"/>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48" name="Oval 15">
              <a:extLst>
                <a:ext uri="{FF2B5EF4-FFF2-40B4-BE49-F238E27FC236}">
                  <a16:creationId xmlns:a16="http://schemas.microsoft.com/office/drawing/2014/main" id="{EF36EFD6-0A63-42CE-B95C-1D02BF8B44BC}"/>
                </a:ext>
                <a:ext uri="{C183D7F6-B498-43B3-948B-1728B52AA6E4}">
                  <adec:decorative xmlns:adec="http://schemas.microsoft.com/office/drawing/2017/decorative" val="1"/>
                </a:ext>
              </a:extLst>
            </p:cNvPr>
            <p:cNvSpPr>
              <a:spLocks noChangeArrowheads="1"/>
            </p:cNvSpPr>
            <p:nvPr/>
          </p:nvSpPr>
          <p:spPr bwMode="auto">
            <a:xfrm>
              <a:off x="10207308" y="5346160"/>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49" name="Oval 16">
              <a:extLst>
                <a:ext uri="{FF2B5EF4-FFF2-40B4-BE49-F238E27FC236}">
                  <a16:creationId xmlns:a16="http://schemas.microsoft.com/office/drawing/2014/main" id="{D4CF7CE5-73AC-45C9-B0EB-3762593EA24A}"/>
                </a:ext>
                <a:ext uri="{C183D7F6-B498-43B3-948B-1728B52AA6E4}">
                  <adec:decorative xmlns:adec="http://schemas.microsoft.com/office/drawing/2017/decorative" val="1"/>
                </a:ext>
              </a:extLst>
            </p:cNvPr>
            <p:cNvSpPr>
              <a:spLocks noChangeArrowheads="1"/>
            </p:cNvSpPr>
            <p:nvPr/>
          </p:nvSpPr>
          <p:spPr bwMode="auto">
            <a:xfrm>
              <a:off x="10207308" y="5400229"/>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50" name="Oval 17">
              <a:extLst>
                <a:ext uri="{FF2B5EF4-FFF2-40B4-BE49-F238E27FC236}">
                  <a16:creationId xmlns:a16="http://schemas.microsoft.com/office/drawing/2014/main" id="{AD9FB159-A638-4929-981D-233868CE0BBB}"/>
                </a:ext>
                <a:ext uri="{C183D7F6-B498-43B3-948B-1728B52AA6E4}">
                  <adec:decorative xmlns:adec="http://schemas.microsoft.com/office/drawing/2017/decorative" val="1"/>
                </a:ext>
              </a:extLst>
            </p:cNvPr>
            <p:cNvSpPr>
              <a:spLocks noChangeArrowheads="1"/>
            </p:cNvSpPr>
            <p:nvPr/>
          </p:nvSpPr>
          <p:spPr bwMode="auto">
            <a:xfrm>
              <a:off x="10207308" y="5454299"/>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05" name="Rectangle 804">
              <a:extLst>
                <a:ext uri="{FF2B5EF4-FFF2-40B4-BE49-F238E27FC236}">
                  <a16:creationId xmlns:a16="http://schemas.microsoft.com/office/drawing/2014/main" id="{11EF8B79-058F-4A86-82DD-95B6973ED1A2}"/>
                </a:ext>
                <a:ext uri="{C183D7F6-B498-43B3-948B-1728B52AA6E4}">
                  <adec:decorative xmlns:adec="http://schemas.microsoft.com/office/drawing/2017/decorative" val="1"/>
                </a:ext>
              </a:extLst>
            </p:cNvPr>
            <p:cNvSpPr/>
            <p:nvPr/>
          </p:nvSpPr>
          <p:spPr bwMode="auto">
            <a:xfrm>
              <a:off x="9966338" y="5714972"/>
              <a:ext cx="851793" cy="476453"/>
            </a:xfrm>
            <a:prstGeom prst="rect">
              <a:avLst/>
            </a:prstGeom>
            <a:solidFill>
              <a:schemeClr val="bg1">
                <a:lumMod val="95000"/>
              </a:schemeClr>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9" name="Rectangle 818">
              <a:extLst>
                <a:ext uri="{FF2B5EF4-FFF2-40B4-BE49-F238E27FC236}">
                  <a16:creationId xmlns:a16="http://schemas.microsoft.com/office/drawing/2014/main" id="{249CAB5C-B46D-4A4B-A0D8-D140C8FDC3B0}"/>
                </a:ext>
                <a:ext uri="{C183D7F6-B498-43B3-948B-1728B52AA6E4}">
                  <adec:decorative xmlns:adec="http://schemas.microsoft.com/office/drawing/2017/decorative" val="1"/>
                </a:ext>
              </a:extLst>
            </p:cNvPr>
            <p:cNvSpPr/>
            <p:nvPr/>
          </p:nvSpPr>
          <p:spPr bwMode="auto">
            <a:xfrm>
              <a:off x="10341424" y="5998847"/>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0" name="Oval 819">
              <a:extLst>
                <a:ext uri="{FF2B5EF4-FFF2-40B4-BE49-F238E27FC236}">
                  <a16:creationId xmlns:a16="http://schemas.microsoft.com/office/drawing/2014/main" id="{BD7C4BE7-584C-4EC6-983F-E99BF8A996D3}"/>
                </a:ext>
                <a:ext uri="{C183D7F6-B498-43B3-948B-1728B52AA6E4}">
                  <adec:decorative xmlns:adec="http://schemas.microsoft.com/office/drawing/2017/decorative" val="1"/>
                </a:ext>
              </a:extLst>
            </p:cNvPr>
            <p:cNvSpPr/>
            <p:nvPr/>
          </p:nvSpPr>
          <p:spPr bwMode="auto">
            <a:xfrm flipH="1">
              <a:off x="10472919" y="6014603"/>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21" name="Straight Connector 820">
              <a:extLst>
                <a:ext uri="{FF2B5EF4-FFF2-40B4-BE49-F238E27FC236}">
                  <a16:creationId xmlns:a16="http://schemas.microsoft.com/office/drawing/2014/main" id="{E0D52F5D-AAE0-457E-A81A-BD581B9EBD61}"/>
                </a:ext>
                <a:ext uri="{C183D7F6-B498-43B3-948B-1728B52AA6E4}">
                  <adec:decorative xmlns:adec="http://schemas.microsoft.com/office/drawing/2017/decorative" val="1"/>
                </a:ext>
              </a:extLst>
            </p:cNvPr>
            <p:cNvCxnSpPr/>
            <p:nvPr/>
          </p:nvCxnSpPr>
          <p:spPr>
            <a:xfrm>
              <a:off x="10365426" y="6023095"/>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2" name="Rectangle 821">
              <a:extLst>
                <a:ext uri="{FF2B5EF4-FFF2-40B4-BE49-F238E27FC236}">
                  <a16:creationId xmlns:a16="http://schemas.microsoft.com/office/drawing/2014/main" id="{C2985BB0-00B7-4935-AD17-8FFC54FA4040}"/>
                </a:ext>
                <a:ext uri="{C183D7F6-B498-43B3-948B-1728B52AA6E4}">
                  <adec:decorative xmlns:adec="http://schemas.microsoft.com/office/drawing/2017/decorative" val="1"/>
                </a:ext>
              </a:extLst>
            </p:cNvPr>
            <p:cNvSpPr/>
            <p:nvPr/>
          </p:nvSpPr>
          <p:spPr bwMode="auto">
            <a:xfrm>
              <a:off x="10341424" y="6048844"/>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3" name="Oval 822">
              <a:extLst>
                <a:ext uri="{FF2B5EF4-FFF2-40B4-BE49-F238E27FC236}">
                  <a16:creationId xmlns:a16="http://schemas.microsoft.com/office/drawing/2014/main" id="{E003B185-2439-4E4B-806F-AA2BB4F09248}"/>
                </a:ext>
                <a:ext uri="{C183D7F6-B498-43B3-948B-1728B52AA6E4}">
                  <adec:decorative xmlns:adec="http://schemas.microsoft.com/office/drawing/2017/decorative" val="1"/>
                </a:ext>
              </a:extLst>
            </p:cNvPr>
            <p:cNvSpPr/>
            <p:nvPr/>
          </p:nvSpPr>
          <p:spPr bwMode="auto">
            <a:xfrm flipH="1">
              <a:off x="10472919" y="6064600"/>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24" name="Straight Connector 823">
              <a:extLst>
                <a:ext uri="{FF2B5EF4-FFF2-40B4-BE49-F238E27FC236}">
                  <a16:creationId xmlns:a16="http://schemas.microsoft.com/office/drawing/2014/main" id="{DF2E86A7-25C9-4BDC-99FC-CACFDFA94650}"/>
                </a:ext>
                <a:ext uri="{C183D7F6-B498-43B3-948B-1728B52AA6E4}">
                  <adec:decorative xmlns:adec="http://schemas.microsoft.com/office/drawing/2017/decorative" val="1"/>
                </a:ext>
              </a:extLst>
            </p:cNvPr>
            <p:cNvCxnSpPr/>
            <p:nvPr/>
          </p:nvCxnSpPr>
          <p:spPr>
            <a:xfrm>
              <a:off x="10365426" y="6073091"/>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5" name="Rectangle 824">
              <a:extLst>
                <a:ext uri="{FF2B5EF4-FFF2-40B4-BE49-F238E27FC236}">
                  <a16:creationId xmlns:a16="http://schemas.microsoft.com/office/drawing/2014/main" id="{4FD59AA9-AB8A-4A33-8BC7-633C5BE2D92F}"/>
                </a:ext>
                <a:ext uri="{C183D7F6-B498-43B3-948B-1728B52AA6E4}">
                  <adec:decorative xmlns:adec="http://schemas.microsoft.com/office/drawing/2017/decorative" val="1"/>
                </a:ext>
              </a:extLst>
            </p:cNvPr>
            <p:cNvSpPr/>
            <p:nvPr/>
          </p:nvSpPr>
          <p:spPr bwMode="auto">
            <a:xfrm>
              <a:off x="10341424" y="5948851"/>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6" name="Oval 825">
              <a:extLst>
                <a:ext uri="{FF2B5EF4-FFF2-40B4-BE49-F238E27FC236}">
                  <a16:creationId xmlns:a16="http://schemas.microsoft.com/office/drawing/2014/main" id="{968E21BA-A481-431C-9B7A-689A6D581604}"/>
                </a:ext>
                <a:ext uri="{C183D7F6-B498-43B3-948B-1728B52AA6E4}">
                  <adec:decorative xmlns:adec="http://schemas.microsoft.com/office/drawing/2017/decorative" val="1"/>
                </a:ext>
              </a:extLst>
            </p:cNvPr>
            <p:cNvSpPr/>
            <p:nvPr/>
          </p:nvSpPr>
          <p:spPr bwMode="auto">
            <a:xfrm flipH="1">
              <a:off x="10472919" y="5964607"/>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27" name="Straight Connector 826">
              <a:extLst>
                <a:ext uri="{FF2B5EF4-FFF2-40B4-BE49-F238E27FC236}">
                  <a16:creationId xmlns:a16="http://schemas.microsoft.com/office/drawing/2014/main" id="{A6443ECF-7DEC-4567-A1F1-3396051801E3}"/>
                </a:ext>
                <a:ext uri="{C183D7F6-B498-43B3-948B-1728B52AA6E4}">
                  <adec:decorative xmlns:adec="http://schemas.microsoft.com/office/drawing/2017/decorative" val="1"/>
                </a:ext>
              </a:extLst>
            </p:cNvPr>
            <p:cNvCxnSpPr/>
            <p:nvPr/>
          </p:nvCxnSpPr>
          <p:spPr>
            <a:xfrm>
              <a:off x="10365426" y="5973099"/>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8" name="Rectangle 827">
              <a:extLst>
                <a:ext uri="{FF2B5EF4-FFF2-40B4-BE49-F238E27FC236}">
                  <a16:creationId xmlns:a16="http://schemas.microsoft.com/office/drawing/2014/main" id="{A70AB744-8D59-4A6D-854A-13F9ECCFC93E}"/>
                </a:ext>
                <a:ext uri="{C183D7F6-B498-43B3-948B-1728B52AA6E4}">
                  <adec:decorative xmlns:adec="http://schemas.microsoft.com/office/drawing/2017/decorative" val="1"/>
                </a:ext>
              </a:extLst>
            </p:cNvPr>
            <p:cNvSpPr/>
            <p:nvPr/>
          </p:nvSpPr>
          <p:spPr bwMode="auto">
            <a:xfrm>
              <a:off x="10341424" y="5848858"/>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9" name="Oval 828">
              <a:extLst>
                <a:ext uri="{FF2B5EF4-FFF2-40B4-BE49-F238E27FC236}">
                  <a16:creationId xmlns:a16="http://schemas.microsoft.com/office/drawing/2014/main" id="{0E062938-0655-43F2-AF93-6B54AE9DFBD9}"/>
                </a:ext>
                <a:ext uri="{C183D7F6-B498-43B3-948B-1728B52AA6E4}">
                  <adec:decorative xmlns:adec="http://schemas.microsoft.com/office/drawing/2017/decorative" val="1"/>
                </a:ext>
              </a:extLst>
            </p:cNvPr>
            <p:cNvSpPr/>
            <p:nvPr/>
          </p:nvSpPr>
          <p:spPr bwMode="auto">
            <a:xfrm flipH="1">
              <a:off x="10472919" y="5864614"/>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30" name="Straight Connector 829">
              <a:extLst>
                <a:ext uri="{FF2B5EF4-FFF2-40B4-BE49-F238E27FC236}">
                  <a16:creationId xmlns:a16="http://schemas.microsoft.com/office/drawing/2014/main" id="{6E93CB2D-ECB4-4938-A900-552E5A84EA93}"/>
                </a:ext>
                <a:ext uri="{C183D7F6-B498-43B3-948B-1728B52AA6E4}">
                  <adec:decorative xmlns:adec="http://schemas.microsoft.com/office/drawing/2017/decorative" val="1"/>
                </a:ext>
              </a:extLst>
            </p:cNvPr>
            <p:cNvCxnSpPr/>
            <p:nvPr/>
          </p:nvCxnSpPr>
          <p:spPr>
            <a:xfrm>
              <a:off x="10365426" y="5873106"/>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1" name="Rectangle 830">
              <a:extLst>
                <a:ext uri="{FF2B5EF4-FFF2-40B4-BE49-F238E27FC236}">
                  <a16:creationId xmlns:a16="http://schemas.microsoft.com/office/drawing/2014/main" id="{0CD3E80B-C63D-4A6F-99A6-B9E99A8CCB52}"/>
                </a:ext>
                <a:ext uri="{C183D7F6-B498-43B3-948B-1728B52AA6E4}">
                  <adec:decorative xmlns:adec="http://schemas.microsoft.com/office/drawing/2017/decorative" val="1"/>
                </a:ext>
              </a:extLst>
            </p:cNvPr>
            <p:cNvSpPr/>
            <p:nvPr/>
          </p:nvSpPr>
          <p:spPr bwMode="auto">
            <a:xfrm>
              <a:off x="10341424" y="5898855"/>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2" name="Oval 831">
              <a:extLst>
                <a:ext uri="{FF2B5EF4-FFF2-40B4-BE49-F238E27FC236}">
                  <a16:creationId xmlns:a16="http://schemas.microsoft.com/office/drawing/2014/main" id="{F9A82273-CA49-4D1B-9F81-13D31CDCD9D1}"/>
                </a:ext>
                <a:ext uri="{C183D7F6-B498-43B3-948B-1728B52AA6E4}">
                  <adec:decorative xmlns:adec="http://schemas.microsoft.com/office/drawing/2017/decorative" val="1"/>
                </a:ext>
              </a:extLst>
            </p:cNvPr>
            <p:cNvSpPr/>
            <p:nvPr/>
          </p:nvSpPr>
          <p:spPr bwMode="auto">
            <a:xfrm flipH="1">
              <a:off x="10472919" y="5914610"/>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33" name="Straight Connector 832">
              <a:extLst>
                <a:ext uri="{FF2B5EF4-FFF2-40B4-BE49-F238E27FC236}">
                  <a16:creationId xmlns:a16="http://schemas.microsoft.com/office/drawing/2014/main" id="{1E31EB11-C1EE-48BE-9990-596C05389FEF}"/>
                </a:ext>
                <a:ext uri="{C183D7F6-B498-43B3-948B-1728B52AA6E4}">
                  <adec:decorative xmlns:adec="http://schemas.microsoft.com/office/drawing/2017/decorative" val="1"/>
                </a:ext>
              </a:extLst>
            </p:cNvPr>
            <p:cNvCxnSpPr/>
            <p:nvPr/>
          </p:nvCxnSpPr>
          <p:spPr>
            <a:xfrm>
              <a:off x="10365426" y="5923102"/>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4" name="Rectangle 833">
              <a:extLst>
                <a:ext uri="{FF2B5EF4-FFF2-40B4-BE49-F238E27FC236}">
                  <a16:creationId xmlns:a16="http://schemas.microsoft.com/office/drawing/2014/main" id="{F723F7D7-E385-441D-BCE2-8F07E1C7AB5F}"/>
                </a:ext>
                <a:ext uri="{C183D7F6-B498-43B3-948B-1728B52AA6E4}">
                  <adec:decorative xmlns:adec="http://schemas.microsoft.com/office/drawing/2017/decorative" val="1"/>
                </a:ext>
              </a:extLst>
            </p:cNvPr>
            <p:cNvSpPr/>
            <p:nvPr/>
          </p:nvSpPr>
          <p:spPr bwMode="auto">
            <a:xfrm>
              <a:off x="10341424" y="5798862"/>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5" name="Oval 834">
              <a:extLst>
                <a:ext uri="{FF2B5EF4-FFF2-40B4-BE49-F238E27FC236}">
                  <a16:creationId xmlns:a16="http://schemas.microsoft.com/office/drawing/2014/main" id="{AE6DD27C-8BB4-47AD-9BDA-0451CE64F62C}"/>
                </a:ext>
                <a:ext uri="{C183D7F6-B498-43B3-948B-1728B52AA6E4}">
                  <adec:decorative xmlns:adec="http://schemas.microsoft.com/office/drawing/2017/decorative" val="1"/>
                </a:ext>
              </a:extLst>
            </p:cNvPr>
            <p:cNvSpPr/>
            <p:nvPr/>
          </p:nvSpPr>
          <p:spPr bwMode="auto">
            <a:xfrm flipH="1">
              <a:off x="10472919" y="5814618"/>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36" name="Straight Connector 835">
              <a:extLst>
                <a:ext uri="{FF2B5EF4-FFF2-40B4-BE49-F238E27FC236}">
                  <a16:creationId xmlns:a16="http://schemas.microsoft.com/office/drawing/2014/main" id="{74C91990-16B5-4E10-8286-36B541EE0B73}"/>
                </a:ext>
                <a:ext uri="{C183D7F6-B498-43B3-948B-1728B52AA6E4}">
                  <adec:decorative xmlns:adec="http://schemas.microsoft.com/office/drawing/2017/decorative" val="1"/>
                </a:ext>
              </a:extLst>
            </p:cNvPr>
            <p:cNvCxnSpPr/>
            <p:nvPr/>
          </p:nvCxnSpPr>
          <p:spPr>
            <a:xfrm>
              <a:off x="10365426" y="5823110"/>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7" name="Flowchart: Direct Access Storage 806">
              <a:extLst>
                <a:ext uri="{FF2B5EF4-FFF2-40B4-BE49-F238E27FC236}">
                  <a16:creationId xmlns:a16="http://schemas.microsoft.com/office/drawing/2014/main" id="{19E332FC-ADB4-4C21-8ECD-C8656C77BE77}"/>
                </a:ext>
                <a:ext uri="{C183D7F6-B498-43B3-948B-1728B52AA6E4}">
                  <adec:decorative xmlns:adec="http://schemas.microsoft.com/office/drawing/2017/decorative" val="1"/>
                </a:ext>
              </a:extLst>
            </p:cNvPr>
            <p:cNvSpPr/>
            <p:nvPr/>
          </p:nvSpPr>
          <p:spPr bwMode="auto">
            <a:xfrm>
              <a:off x="10591001" y="5798862"/>
              <a:ext cx="113954" cy="299596"/>
            </a:xfrm>
            <a:prstGeom prst="flowChartMagneticDrum">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809" name="Rectangle 5">
              <a:extLst>
                <a:ext uri="{FF2B5EF4-FFF2-40B4-BE49-F238E27FC236}">
                  <a16:creationId xmlns:a16="http://schemas.microsoft.com/office/drawing/2014/main" id="{DDF12DCA-2DFD-4134-8BD2-B87B4B57D5A8}"/>
                </a:ext>
                <a:ext uri="{C183D7F6-B498-43B3-948B-1728B52AA6E4}">
                  <adec:decorative xmlns:adec="http://schemas.microsoft.com/office/drawing/2017/decorative" val="1"/>
                </a:ext>
              </a:extLst>
            </p:cNvPr>
            <p:cNvSpPr>
              <a:spLocks noChangeArrowheads="1"/>
            </p:cNvSpPr>
            <p:nvPr/>
          </p:nvSpPr>
          <p:spPr bwMode="auto">
            <a:xfrm>
              <a:off x="10062868" y="5796899"/>
              <a:ext cx="191148" cy="299597"/>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10" name="Freeform 6">
              <a:extLst>
                <a:ext uri="{FF2B5EF4-FFF2-40B4-BE49-F238E27FC236}">
                  <a16:creationId xmlns:a16="http://schemas.microsoft.com/office/drawing/2014/main" id="{654AEB05-B4FE-454D-9A4D-271C64729A59}"/>
                </a:ext>
                <a:ext uri="{C183D7F6-B498-43B3-948B-1728B52AA6E4}">
                  <adec:decorative xmlns:adec="http://schemas.microsoft.com/office/drawing/2017/decorative" val="1"/>
                </a:ext>
              </a:extLst>
            </p:cNvPr>
            <p:cNvSpPr>
              <a:spLocks/>
            </p:cNvSpPr>
            <p:nvPr/>
          </p:nvSpPr>
          <p:spPr bwMode="auto">
            <a:xfrm>
              <a:off x="10083341" y="5831911"/>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11" name="Freeform 7">
              <a:extLst>
                <a:ext uri="{FF2B5EF4-FFF2-40B4-BE49-F238E27FC236}">
                  <a16:creationId xmlns:a16="http://schemas.microsoft.com/office/drawing/2014/main" id="{54836308-26C2-4D18-8A4A-A11EA2502D58}"/>
                </a:ext>
                <a:ext uri="{C183D7F6-B498-43B3-948B-1728B52AA6E4}">
                  <adec:decorative xmlns:adec="http://schemas.microsoft.com/office/drawing/2017/decorative" val="1"/>
                </a:ext>
              </a:extLst>
            </p:cNvPr>
            <p:cNvSpPr>
              <a:spLocks/>
            </p:cNvSpPr>
            <p:nvPr/>
          </p:nvSpPr>
          <p:spPr bwMode="auto">
            <a:xfrm>
              <a:off x="10083341" y="5885980"/>
              <a:ext cx="150201" cy="30580"/>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12" name="Freeform 8">
              <a:extLst>
                <a:ext uri="{FF2B5EF4-FFF2-40B4-BE49-F238E27FC236}">
                  <a16:creationId xmlns:a16="http://schemas.microsoft.com/office/drawing/2014/main" id="{95395C86-9D6A-4DA6-A3CC-8CDCC33AF940}"/>
                </a:ext>
                <a:ext uri="{C183D7F6-B498-43B3-948B-1728B52AA6E4}">
                  <adec:decorative xmlns:adec="http://schemas.microsoft.com/office/drawing/2017/decorative" val="1"/>
                </a:ext>
              </a:extLst>
            </p:cNvPr>
            <p:cNvSpPr>
              <a:spLocks/>
            </p:cNvSpPr>
            <p:nvPr/>
          </p:nvSpPr>
          <p:spPr bwMode="auto">
            <a:xfrm>
              <a:off x="10083341" y="5939607"/>
              <a:ext cx="150201" cy="3058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13" name="Freeform 9">
              <a:extLst>
                <a:ext uri="{FF2B5EF4-FFF2-40B4-BE49-F238E27FC236}">
                  <a16:creationId xmlns:a16="http://schemas.microsoft.com/office/drawing/2014/main" id="{924B0ECC-D56B-4EA4-9E7D-E81F40335E1A}"/>
                </a:ext>
                <a:ext uri="{C183D7F6-B498-43B3-948B-1728B52AA6E4}">
                  <adec:decorative xmlns:adec="http://schemas.microsoft.com/office/drawing/2017/decorative" val="1"/>
                </a:ext>
              </a:extLst>
            </p:cNvPr>
            <p:cNvSpPr>
              <a:spLocks/>
            </p:cNvSpPr>
            <p:nvPr/>
          </p:nvSpPr>
          <p:spPr bwMode="auto">
            <a:xfrm>
              <a:off x="10083341" y="5993676"/>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15" name="Oval 14">
              <a:extLst>
                <a:ext uri="{FF2B5EF4-FFF2-40B4-BE49-F238E27FC236}">
                  <a16:creationId xmlns:a16="http://schemas.microsoft.com/office/drawing/2014/main" id="{1AED3A60-88EE-435E-89F2-FCC02B01192E}"/>
                </a:ext>
                <a:ext uri="{C183D7F6-B498-43B3-948B-1728B52AA6E4}">
                  <adec:decorative xmlns:adec="http://schemas.microsoft.com/office/drawing/2017/decorative" val="1"/>
                </a:ext>
              </a:extLst>
            </p:cNvPr>
            <p:cNvSpPr>
              <a:spLocks noChangeArrowheads="1"/>
            </p:cNvSpPr>
            <p:nvPr/>
          </p:nvSpPr>
          <p:spPr bwMode="auto">
            <a:xfrm>
              <a:off x="10207308" y="5838338"/>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16" name="Oval 15">
              <a:extLst>
                <a:ext uri="{FF2B5EF4-FFF2-40B4-BE49-F238E27FC236}">
                  <a16:creationId xmlns:a16="http://schemas.microsoft.com/office/drawing/2014/main" id="{097402BD-E424-4A41-A382-485EC52F64BA}"/>
                </a:ext>
                <a:ext uri="{C183D7F6-B498-43B3-948B-1728B52AA6E4}">
                  <adec:decorative xmlns:adec="http://schemas.microsoft.com/office/drawing/2017/decorative" val="1"/>
                </a:ext>
              </a:extLst>
            </p:cNvPr>
            <p:cNvSpPr>
              <a:spLocks noChangeArrowheads="1"/>
            </p:cNvSpPr>
            <p:nvPr/>
          </p:nvSpPr>
          <p:spPr bwMode="auto">
            <a:xfrm>
              <a:off x="10207308" y="5892407"/>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17" name="Oval 16">
              <a:extLst>
                <a:ext uri="{FF2B5EF4-FFF2-40B4-BE49-F238E27FC236}">
                  <a16:creationId xmlns:a16="http://schemas.microsoft.com/office/drawing/2014/main" id="{EEDBCFF7-8304-439A-80C2-C38EFE640E74}"/>
                </a:ext>
                <a:ext uri="{C183D7F6-B498-43B3-948B-1728B52AA6E4}">
                  <adec:decorative xmlns:adec="http://schemas.microsoft.com/office/drawing/2017/decorative" val="1"/>
                </a:ext>
              </a:extLst>
            </p:cNvPr>
            <p:cNvSpPr>
              <a:spLocks noChangeArrowheads="1"/>
            </p:cNvSpPr>
            <p:nvPr/>
          </p:nvSpPr>
          <p:spPr bwMode="auto">
            <a:xfrm>
              <a:off x="10207308" y="5946476"/>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18" name="Oval 17">
              <a:extLst>
                <a:ext uri="{FF2B5EF4-FFF2-40B4-BE49-F238E27FC236}">
                  <a16:creationId xmlns:a16="http://schemas.microsoft.com/office/drawing/2014/main" id="{125D8898-82A1-4A7E-A5DA-8C5AFEAB3E93}"/>
                </a:ext>
                <a:ext uri="{C183D7F6-B498-43B3-948B-1728B52AA6E4}">
                  <adec:decorative xmlns:adec="http://schemas.microsoft.com/office/drawing/2017/decorative" val="1"/>
                </a:ext>
              </a:extLst>
            </p:cNvPr>
            <p:cNvSpPr>
              <a:spLocks noChangeArrowheads="1"/>
            </p:cNvSpPr>
            <p:nvPr/>
          </p:nvSpPr>
          <p:spPr bwMode="auto">
            <a:xfrm>
              <a:off x="10207308" y="6000546"/>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47" name="Rectangle 646">
              <a:extLst>
                <a:ext uri="{FF2B5EF4-FFF2-40B4-BE49-F238E27FC236}">
                  <a16:creationId xmlns:a16="http://schemas.microsoft.com/office/drawing/2014/main" id="{1F191583-E9DF-4965-B2BC-FCCF0BE1817E}"/>
                </a:ext>
                <a:ext uri="{C183D7F6-B498-43B3-948B-1728B52AA6E4}">
                  <adec:decorative xmlns:adec="http://schemas.microsoft.com/office/drawing/2017/decorative" val="1"/>
                </a:ext>
              </a:extLst>
            </p:cNvPr>
            <p:cNvSpPr/>
            <p:nvPr/>
          </p:nvSpPr>
          <p:spPr bwMode="auto">
            <a:xfrm>
              <a:off x="9781411" y="5308932"/>
              <a:ext cx="851793" cy="476453"/>
            </a:xfrm>
            <a:prstGeom prst="rect">
              <a:avLst/>
            </a:prstGeom>
            <a:solidFill>
              <a:schemeClr val="bg1">
                <a:lumMod val="95000"/>
              </a:schemeClr>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9" name="Rectangle 778">
              <a:extLst>
                <a:ext uri="{FF2B5EF4-FFF2-40B4-BE49-F238E27FC236}">
                  <a16:creationId xmlns:a16="http://schemas.microsoft.com/office/drawing/2014/main" id="{9CF55CC3-2475-4C5F-9081-2BCE05C0DB95}"/>
                </a:ext>
                <a:ext uri="{C183D7F6-B498-43B3-948B-1728B52AA6E4}">
                  <adec:decorative xmlns:adec="http://schemas.microsoft.com/office/drawing/2017/decorative" val="1"/>
                </a:ext>
              </a:extLst>
            </p:cNvPr>
            <p:cNvSpPr/>
            <p:nvPr/>
          </p:nvSpPr>
          <p:spPr bwMode="auto">
            <a:xfrm>
              <a:off x="10156497" y="5592807"/>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0" name="Oval 779">
              <a:extLst>
                <a:ext uri="{FF2B5EF4-FFF2-40B4-BE49-F238E27FC236}">
                  <a16:creationId xmlns:a16="http://schemas.microsoft.com/office/drawing/2014/main" id="{9E1F64FF-05D0-4673-8669-DEFFA3B3CFB9}"/>
                </a:ext>
                <a:ext uri="{C183D7F6-B498-43B3-948B-1728B52AA6E4}">
                  <adec:decorative xmlns:adec="http://schemas.microsoft.com/office/drawing/2017/decorative" val="1"/>
                </a:ext>
              </a:extLst>
            </p:cNvPr>
            <p:cNvSpPr/>
            <p:nvPr/>
          </p:nvSpPr>
          <p:spPr bwMode="auto">
            <a:xfrm flipH="1">
              <a:off x="10287992" y="5608563"/>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81" name="Straight Connector 780">
              <a:extLst>
                <a:ext uri="{FF2B5EF4-FFF2-40B4-BE49-F238E27FC236}">
                  <a16:creationId xmlns:a16="http://schemas.microsoft.com/office/drawing/2014/main" id="{C7358AE4-0D55-4944-8423-65B9C8608150}"/>
                </a:ext>
                <a:ext uri="{C183D7F6-B498-43B3-948B-1728B52AA6E4}">
                  <adec:decorative xmlns:adec="http://schemas.microsoft.com/office/drawing/2017/decorative" val="1"/>
                </a:ext>
              </a:extLst>
            </p:cNvPr>
            <p:cNvCxnSpPr/>
            <p:nvPr/>
          </p:nvCxnSpPr>
          <p:spPr>
            <a:xfrm>
              <a:off x="10180499" y="5617055"/>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2" name="Rectangle 781">
              <a:extLst>
                <a:ext uri="{FF2B5EF4-FFF2-40B4-BE49-F238E27FC236}">
                  <a16:creationId xmlns:a16="http://schemas.microsoft.com/office/drawing/2014/main" id="{7F7D3F00-AEE4-4A43-8589-26B18BA76D63}"/>
                </a:ext>
                <a:ext uri="{C183D7F6-B498-43B3-948B-1728B52AA6E4}">
                  <adec:decorative xmlns:adec="http://schemas.microsoft.com/office/drawing/2017/decorative" val="1"/>
                </a:ext>
              </a:extLst>
            </p:cNvPr>
            <p:cNvSpPr/>
            <p:nvPr/>
          </p:nvSpPr>
          <p:spPr bwMode="auto">
            <a:xfrm>
              <a:off x="10156497" y="5642804"/>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3" name="Oval 782">
              <a:extLst>
                <a:ext uri="{FF2B5EF4-FFF2-40B4-BE49-F238E27FC236}">
                  <a16:creationId xmlns:a16="http://schemas.microsoft.com/office/drawing/2014/main" id="{253E4F24-6886-4AAD-BCC7-0E320AA87640}"/>
                </a:ext>
                <a:ext uri="{C183D7F6-B498-43B3-948B-1728B52AA6E4}">
                  <adec:decorative xmlns:adec="http://schemas.microsoft.com/office/drawing/2017/decorative" val="1"/>
                </a:ext>
              </a:extLst>
            </p:cNvPr>
            <p:cNvSpPr/>
            <p:nvPr/>
          </p:nvSpPr>
          <p:spPr bwMode="auto">
            <a:xfrm flipH="1">
              <a:off x="10287992" y="5658560"/>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84" name="Straight Connector 783">
              <a:extLst>
                <a:ext uri="{FF2B5EF4-FFF2-40B4-BE49-F238E27FC236}">
                  <a16:creationId xmlns:a16="http://schemas.microsoft.com/office/drawing/2014/main" id="{C565A8F1-2827-449A-AA95-405553926323}"/>
                </a:ext>
                <a:ext uri="{C183D7F6-B498-43B3-948B-1728B52AA6E4}">
                  <adec:decorative xmlns:adec="http://schemas.microsoft.com/office/drawing/2017/decorative" val="1"/>
                </a:ext>
              </a:extLst>
            </p:cNvPr>
            <p:cNvCxnSpPr/>
            <p:nvPr/>
          </p:nvCxnSpPr>
          <p:spPr>
            <a:xfrm>
              <a:off x="10180499" y="5667051"/>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5" name="Rectangle 784">
              <a:extLst>
                <a:ext uri="{FF2B5EF4-FFF2-40B4-BE49-F238E27FC236}">
                  <a16:creationId xmlns:a16="http://schemas.microsoft.com/office/drawing/2014/main" id="{8F0B5283-D7D7-4213-8CCE-2990E158F6DA}"/>
                </a:ext>
                <a:ext uri="{C183D7F6-B498-43B3-948B-1728B52AA6E4}">
                  <adec:decorative xmlns:adec="http://schemas.microsoft.com/office/drawing/2017/decorative" val="1"/>
                </a:ext>
              </a:extLst>
            </p:cNvPr>
            <p:cNvSpPr/>
            <p:nvPr/>
          </p:nvSpPr>
          <p:spPr bwMode="auto">
            <a:xfrm>
              <a:off x="10156497" y="5542811"/>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6" name="Oval 785">
              <a:extLst>
                <a:ext uri="{FF2B5EF4-FFF2-40B4-BE49-F238E27FC236}">
                  <a16:creationId xmlns:a16="http://schemas.microsoft.com/office/drawing/2014/main" id="{2F20CE16-E70B-42C6-9711-5D6F499EEB35}"/>
                </a:ext>
                <a:ext uri="{C183D7F6-B498-43B3-948B-1728B52AA6E4}">
                  <adec:decorative xmlns:adec="http://schemas.microsoft.com/office/drawing/2017/decorative" val="1"/>
                </a:ext>
              </a:extLst>
            </p:cNvPr>
            <p:cNvSpPr/>
            <p:nvPr/>
          </p:nvSpPr>
          <p:spPr bwMode="auto">
            <a:xfrm flipH="1">
              <a:off x="10287992" y="5558567"/>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88" name="Straight Connector 787">
              <a:extLst>
                <a:ext uri="{FF2B5EF4-FFF2-40B4-BE49-F238E27FC236}">
                  <a16:creationId xmlns:a16="http://schemas.microsoft.com/office/drawing/2014/main" id="{29F14EDA-95C9-4FB7-BA84-89B16BA68B4C}"/>
                </a:ext>
                <a:ext uri="{C183D7F6-B498-43B3-948B-1728B52AA6E4}">
                  <adec:decorative xmlns:adec="http://schemas.microsoft.com/office/drawing/2017/decorative" val="1"/>
                </a:ext>
              </a:extLst>
            </p:cNvPr>
            <p:cNvCxnSpPr/>
            <p:nvPr/>
          </p:nvCxnSpPr>
          <p:spPr>
            <a:xfrm>
              <a:off x="10180499" y="5567059"/>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9" name="Rectangle 788">
              <a:extLst>
                <a:ext uri="{FF2B5EF4-FFF2-40B4-BE49-F238E27FC236}">
                  <a16:creationId xmlns:a16="http://schemas.microsoft.com/office/drawing/2014/main" id="{AEA86B2D-1872-4398-A22F-CB9C70596B80}"/>
                </a:ext>
                <a:ext uri="{C183D7F6-B498-43B3-948B-1728B52AA6E4}">
                  <adec:decorative xmlns:adec="http://schemas.microsoft.com/office/drawing/2017/decorative" val="1"/>
                </a:ext>
              </a:extLst>
            </p:cNvPr>
            <p:cNvSpPr/>
            <p:nvPr/>
          </p:nvSpPr>
          <p:spPr bwMode="auto">
            <a:xfrm>
              <a:off x="10156497" y="5442818"/>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2" name="Oval 791">
              <a:extLst>
                <a:ext uri="{FF2B5EF4-FFF2-40B4-BE49-F238E27FC236}">
                  <a16:creationId xmlns:a16="http://schemas.microsoft.com/office/drawing/2014/main" id="{3BDDF3A1-2357-43EE-9704-C25DC77A30EE}"/>
                </a:ext>
                <a:ext uri="{C183D7F6-B498-43B3-948B-1728B52AA6E4}">
                  <adec:decorative xmlns:adec="http://schemas.microsoft.com/office/drawing/2017/decorative" val="1"/>
                </a:ext>
              </a:extLst>
            </p:cNvPr>
            <p:cNvSpPr/>
            <p:nvPr/>
          </p:nvSpPr>
          <p:spPr bwMode="auto">
            <a:xfrm flipH="1">
              <a:off x="10287992" y="5458574"/>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95" name="Straight Connector 794">
              <a:extLst>
                <a:ext uri="{FF2B5EF4-FFF2-40B4-BE49-F238E27FC236}">
                  <a16:creationId xmlns:a16="http://schemas.microsoft.com/office/drawing/2014/main" id="{F4FBA5BD-3B74-44E9-B461-CA168CFCB161}"/>
                </a:ext>
                <a:ext uri="{C183D7F6-B498-43B3-948B-1728B52AA6E4}">
                  <adec:decorative xmlns:adec="http://schemas.microsoft.com/office/drawing/2017/decorative" val="1"/>
                </a:ext>
              </a:extLst>
            </p:cNvPr>
            <p:cNvCxnSpPr/>
            <p:nvPr/>
          </p:nvCxnSpPr>
          <p:spPr>
            <a:xfrm>
              <a:off x="10180499" y="5467066"/>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96" name="Rectangle 795">
              <a:extLst>
                <a:ext uri="{FF2B5EF4-FFF2-40B4-BE49-F238E27FC236}">
                  <a16:creationId xmlns:a16="http://schemas.microsoft.com/office/drawing/2014/main" id="{8185F451-CB70-4FF1-8909-A28F1F407DD1}"/>
                </a:ext>
                <a:ext uri="{C183D7F6-B498-43B3-948B-1728B52AA6E4}">
                  <adec:decorative xmlns:adec="http://schemas.microsoft.com/office/drawing/2017/decorative" val="1"/>
                </a:ext>
              </a:extLst>
            </p:cNvPr>
            <p:cNvSpPr/>
            <p:nvPr/>
          </p:nvSpPr>
          <p:spPr bwMode="auto">
            <a:xfrm>
              <a:off x="10156497" y="5492815"/>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7" name="Oval 796">
              <a:extLst>
                <a:ext uri="{FF2B5EF4-FFF2-40B4-BE49-F238E27FC236}">
                  <a16:creationId xmlns:a16="http://schemas.microsoft.com/office/drawing/2014/main" id="{D5A1FF33-9DAD-4393-A7C2-364A1FA550B3}"/>
                </a:ext>
                <a:ext uri="{C183D7F6-B498-43B3-948B-1728B52AA6E4}">
                  <adec:decorative xmlns:adec="http://schemas.microsoft.com/office/drawing/2017/decorative" val="1"/>
                </a:ext>
              </a:extLst>
            </p:cNvPr>
            <p:cNvSpPr/>
            <p:nvPr/>
          </p:nvSpPr>
          <p:spPr bwMode="auto">
            <a:xfrm flipH="1">
              <a:off x="10287992" y="5508570"/>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98" name="Straight Connector 797">
              <a:extLst>
                <a:ext uri="{FF2B5EF4-FFF2-40B4-BE49-F238E27FC236}">
                  <a16:creationId xmlns:a16="http://schemas.microsoft.com/office/drawing/2014/main" id="{61575907-890C-4BB6-AEE6-EC24E01201E3}"/>
                </a:ext>
                <a:ext uri="{C183D7F6-B498-43B3-948B-1728B52AA6E4}">
                  <adec:decorative xmlns:adec="http://schemas.microsoft.com/office/drawing/2017/decorative" val="1"/>
                </a:ext>
              </a:extLst>
            </p:cNvPr>
            <p:cNvCxnSpPr/>
            <p:nvPr/>
          </p:nvCxnSpPr>
          <p:spPr>
            <a:xfrm>
              <a:off x="10180499" y="5517062"/>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2" name="Rectangle 801">
              <a:extLst>
                <a:ext uri="{FF2B5EF4-FFF2-40B4-BE49-F238E27FC236}">
                  <a16:creationId xmlns:a16="http://schemas.microsoft.com/office/drawing/2014/main" id="{0A39408E-F750-4719-9B67-DF0E75E5154F}"/>
                </a:ext>
                <a:ext uri="{C183D7F6-B498-43B3-948B-1728B52AA6E4}">
                  <adec:decorative xmlns:adec="http://schemas.microsoft.com/office/drawing/2017/decorative" val="1"/>
                </a:ext>
              </a:extLst>
            </p:cNvPr>
            <p:cNvSpPr/>
            <p:nvPr/>
          </p:nvSpPr>
          <p:spPr bwMode="auto">
            <a:xfrm>
              <a:off x="10156497" y="5392822"/>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3" name="Oval 802">
              <a:extLst>
                <a:ext uri="{FF2B5EF4-FFF2-40B4-BE49-F238E27FC236}">
                  <a16:creationId xmlns:a16="http://schemas.microsoft.com/office/drawing/2014/main" id="{5B30AB21-A9F2-4FA2-8268-E082F233E480}"/>
                </a:ext>
                <a:ext uri="{C183D7F6-B498-43B3-948B-1728B52AA6E4}">
                  <adec:decorative xmlns:adec="http://schemas.microsoft.com/office/drawing/2017/decorative" val="1"/>
                </a:ext>
              </a:extLst>
            </p:cNvPr>
            <p:cNvSpPr/>
            <p:nvPr/>
          </p:nvSpPr>
          <p:spPr bwMode="auto">
            <a:xfrm flipH="1">
              <a:off x="10287992" y="5408578"/>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804" name="Straight Connector 803">
              <a:extLst>
                <a:ext uri="{FF2B5EF4-FFF2-40B4-BE49-F238E27FC236}">
                  <a16:creationId xmlns:a16="http://schemas.microsoft.com/office/drawing/2014/main" id="{63544FAF-12CC-4F4A-9D6C-BC2AC1D621DC}"/>
                </a:ext>
                <a:ext uri="{C183D7F6-B498-43B3-948B-1728B52AA6E4}">
                  <adec:decorative xmlns:adec="http://schemas.microsoft.com/office/drawing/2017/decorative" val="1"/>
                </a:ext>
              </a:extLst>
            </p:cNvPr>
            <p:cNvCxnSpPr/>
            <p:nvPr/>
          </p:nvCxnSpPr>
          <p:spPr>
            <a:xfrm>
              <a:off x="10180499" y="5417070"/>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6" name="Flowchart: Direct Access Storage 675">
              <a:extLst>
                <a:ext uri="{FF2B5EF4-FFF2-40B4-BE49-F238E27FC236}">
                  <a16:creationId xmlns:a16="http://schemas.microsoft.com/office/drawing/2014/main" id="{1160BAA4-EC7B-41E9-8A14-0EB9AC3C09C0}"/>
                </a:ext>
                <a:ext uri="{C183D7F6-B498-43B3-948B-1728B52AA6E4}">
                  <adec:decorative xmlns:adec="http://schemas.microsoft.com/office/drawing/2017/decorative" val="1"/>
                </a:ext>
              </a:extLst>
            </p:cNvPr>
            <p:cNvSpPr/>
            <p:nvPr/>
          </p:nvSpPr>
          <p:spPr bwMode="auto">
            <a:xfrm>
              <a:off x="10406074" y="5392822"/>
              <a:ext cx="113954" cy="299596"/>
            </a:xfrm>
            <a:prstGeom prst="flowChartMagneticDrum">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680" name="Rectangle 5">
              <a:extLst>
                <a:ext uri="{FF2B5EF4-FFF2-40B4-BE49-F238E27FC236}">
                  <a16:creationId xmlns:a16="http://schemas.microsoft.com/office/drawing/2014/main" id="{0063EB93-3D91-43D3-A436-9A815B046E28}"/>
                </a:ext>
                <a:ext uri="{C183D7F6-B498-43B3-948B-1728B52AA6E4}">
                  <adec:decorative xmlns:adec="http://schemas.microsoft.com/office/drawing/2017/decorative" val="1"/>
                </a:ext>
              </a:extLst>
            </p:cNvPr>
            <p:cNvSpPr>
              <a:spLocks noChangeArrowheads="1"/>
            </p:cNvSpPr>
            <p:nvPr/>
          </p:nvSpPr>
          <p:spPr bwMode="auto">
            <a:xfrm>
              <a:off x="9877941" y="5390859"/>
              <a:ext cx="191148" cy="299597"/>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86" name="Freeform 6">
              <a:extLst>
                <a:ext uri="{FF2B5EF4-FFF2-40B4-BE49-F238E27FC236}">
                  <a16:creationId xmlns:a16="http://schemas.microsoft.com/office/drawing/2014/main" id="{B594D200-416F-4997-837A-AEB2D0789FE9}"/>
                </a:ext>
                <a:ext uri="{C183D7F6-B498-43B3-948B-1728B52AA6E4}">
                  <adec:decorative xmlns:adec="http://schemas.microsoft.com/office/drawing/2017/decorative" val="1"/>
                </a:ext>
              </a:extLst>
            </p:cNvPr>
            <p:cNvSpPr>
              <a:spLocks/>
            </p:cNvSpPr>
            <p:nvPr/>
          </p:nvSpPr>
          <p:spPr bwMode="auto">
            <a:xfrm>
              <a:off x="9898414" y="5425871"/>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09" name="Freeform 7">
              <a:extLst>
                <a:ext uri="{FF2B5EF4-FFF2-40B4-BE49-F238E27FC236}">
                  <a16:creationId xmlns:a16="http://schemas.microsoft.com/office/drawing/2014/main" id="{5DBCC660-C9A3-4F04-99AA-8D1E23F04BB7}"/>
                </a:ext>
                <a:ext uri="{C183D7F6-B498-43B3-948B-1728B52AA6E4}">
                  <adec:decorative xmlns:adec="http://schemas.microsoft.com/office/drawing/2017/decorative" val="1"/>
                </a:ext>
              </a:extLst>
            </p:cNvPr>
            <p:cNvSpPr>
              <a:spLocks/>
            </p:cNvSpPr>
            <p:nvPr/>
          </p:nvSpPr>
          <p:spPr bwMode="auto">
            <a:xfrm>
              <a:off x="9898414" y="5479940"/>
              <a:ext cx="150201" cy="30580"/>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11" name="Freeform 8">
              <a:extLst>
                <a:ext uri="{FF2B5EF4-FFF2-40B4-BE49-F238E27FC236}">
                  <a16:creationId xmlns:a16="http://schemas.microsoft.com/office/drawing/2014/main" id="{CD2CB1EA-2A3B-4BC5-AF61-C5FCB652C0EB}"/>
                </a:ext>
                <a:ext uri="{C183D7F6-B498-43B3-948B-1728B52AA6E4}">
                  <adec:decorative xmlns:adec="http://schemas.microsoft.com/office/drawing/2017/decorative" val="1"/>
                </a:ext>
              </a:extLst>
            </p:cNvPr>
            <p:cNvSpPr>
              <a:spLocks/>
            </p:cNvSpPr>
            <p:nvPr/>
          </p:nvSpPr>
          <p:spPr bwMode="auto">
            <a:xfrm>
              <a:off x="9898414" y="5533567"/>
              <a:ext cx="150201" cy="3058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13" name="Freeform 9">
              <a:extLst>
                <a:ext uri="{FF2B5EF4-FFF2-40B4-BE49-F238E27FC236}">
                  <a16:creationId xmlns:a16="http://schemas.microsoft.com/office/drawing/2014/main" id="{FABEB698-6C85-4FC4-952C-55E71754D17E}"/>
                </a:ext>
                <a:ext uri="{C183D7F6-B498-43B3-948B-1728B52AA6E4}">
                  <adec:decorative xmlns:adec="http://schemas.microsoft.com/office/drawing/2017/decorative" val="1"/>
                </a:ext>
              </a:extLst>
            </p:cNvPr>
            <p:cNvSpPr>
              <a:spLocks/>
            </p:cNvSpPr>
            <p:nvPr/>
          </p:nvSpPr>
          <p:spPr bwMode="auto">
            <a:xfrm>
              <a:off x="9898414" y="5587636"/>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42" name="Oval 14">
              <a:extLst>
                <a:ext uri="{FF2B5EF4-FFF2-40B4-BE49-F238E27FC236}">
                  <a16:creationId xmlns:a16="http://schemas.microsoft.com/office/drawing/2014/main" id="{A504E1FC-68A3-453B-85D6-D0EC1D98615D}"/>
                </a:ext>
                <a:ext uri="{C183D7F6-B498-43B3-948B-1728B52AA6E4}">
                  <adec:decorative xmlns:adec="http://schemas.microsoft.com/office/drawing/2017/decorative" val="1"/>
                </a:ext>
              </a:extLst>
            </p:cNvPr>
            <p:cNvSpPr>
              <a:spLocks noChangeArrowheads="1"/>
            </p:cNvSpPr>
            <p:nvPr/>
          </p:nvSpPr>
          <p:spPr bwMode="auto">
            <a:xfrm>
              <a:off x="10022381" y="5432298"/>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44" name="Oval 15">
              <a:extLst>
                <a:ext uri="{FF2B5EF4-FFF2-40B4-BE49-F238E27FC236}">
                  <a16:creationId xmlns:a16="http://schemas.microsoft.com/office/drawing/2014/main" id="{9908C692-5E7E-4FF7-B4ED-219F379A0EE8}"/>
                </a:ext>
                <a:ext uri="{C183D7F6-B498-43B3-948B-1728B52AA6E4}">
                  <adec:decorative xmlns:adec="http://schemas.microsoft.com/office/drawing/2017/decorative" val="1"/>
                </a:ext>
              </a:extLst>
            </p:cNvPr>
            <p:cNvSpPr>
              <a:spLocks noChangeArrowheads="1"/>
            </p:cNvSpPr>
            <p:nvPr/>
          </p:nvSpPr>
          <p:spPr bwMode="auto">
            <a:xfrm>
              <a:off x="10022381" y="5486367"/>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46" name="Oval 16">
              <a:extLst>
                <a:ext uri="{FF2B5EF4-FFF2-40B4-BE49-F238E27FC236}">
                  <a16:creationId xmlns:a16="http://schemas.microsoft.com/office/drawing/2014/main" id="{D59E3BF5-D1BE-4872-984E-C6FCCECFDBD5}"/>
                </a:ext>
                <a:ext uri="{C183D7F6-B498-43B3-948B-1728B52AA6E4}">
                  <adec:decorative xmlns:adec="http://schemas.microsoft.com/office/drawing/2017/decorative" val="1"/>
                </a:ext>
              </a:extLst>
            </p:cNvPr>
            <p:cNvSpPr>
              <a:spLocks noChangeArrowheads="1"/>
            </p:cNvSpPr>
            <p:nvPr/>
          </p:nvSpPr>
          <p:spPr bwMode="auto">
            <a:xfrm>
              <a:off x="10022381" y="5540436"/>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52" name="Oval 17">
              <a:extLst>
                <a:ext uri="{FF2B5EF4-FFF2-40B4-BE49-F238E27FC236}">
                  <a16:creationId xmlns:a16="http://schemas.microsoft.com/office/drawing/2014/main" id="{995EC89D-57DF-4533-9EB3-65F3D581A4BF}"/>
                </a:ext>
                <a:ext uri="{C183D7F6-B498-43B3-948B-1728B52AA6E4}">
                  <adec:decorative xmlns:adec="http://schemas.microsoft.com/office/drawing/2017/decorative" val="1"/>
                </a:ext>
              </a:extLst>
            </p:cNvPr>
            <p:cNvSpPr>
              <a:spLocks noChangeArrowheads="1"/>
            </p:cNvSpPr>
            <p:nvPr/>
          </p:nvSpPr>
          <p:spPr bwMode="auto">
            <a:xfrm>
              <a:off x="10022381" y="5594506"/>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68" name="Rectangle 467">
              <a:extLst>
                <a:ext uri="{FF2B5EF4-FFF2-40B4-BE49-F238E27FC236}">
                  <a16:creationId xmlns:a16="http://schemas.microsoft.com/office/drawing/2014/main" id="{EEE96E8D-A3A7-4BCA-BFA1-B4BF140E388E}"/>
                </a:ext>
                <a:ext uri="{C183D7F6-B498-43B3-948B-1728B52AA6E4}">
                  <adec:decorative xmlns:adec="http://schemas.microsoft.com/office/drawing/2017/decorative" val="1"/>
                </a:ext>
              </a:extLst>
            </p:cNvPr>
            <p:cNvSpPr/>
            <p:nvPr/>
          </p:nvSpPr>
          <p:spPr bwMode="auto">
            <a:xfrm>
              <a:off x="9781411" y="5855179"/>
              <a:ext cx="851793" cy="476453"/>
            </a:xfrm>
            <a:prstGeom prst="rect">
              <a:avLst/>
            </a:prstGeom>
            <a:solidFill>
              <a:schemeClr val="bg1">
                <a:lumMod val="95000"/>
              </a:schemeClr>
            </a:solidFill>
            <a:ln w="1905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1" name="Rectangle 510">
              <a:extLst>
                <a:ext uri="{FF2B5EF4-FFF2-40B4-BE49-F238E27FC236}">
                  <a16:creationId xmlns:a16="http://schemas.microsoft.com/office/drawing/2014/main" id="{4F34FD0B-E481-4BDA-B9FE-36E1AE56E2B3}"/>
                </a:ext>
                <a:ext uri="{C183D7F6-B498-43B3-948B-1728B52AA6E4}">
                  <adec:decorative xmlns:adec="http://schemas.microsoft.com/office/drawing/2017/decorative" val="1"/>
                </a:ext>
              </a:extLst>
            </p:cNvPr>
            <p:cNvSpPr/>
            <p:nvPr/>
          </p:nvSpPr>
          <p:spPr bwMode="auto">
            <a:xfrm>
              <a:off x="10156497" y="6139054"/>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3" name="Oval 512">
              <a:extLst>
                <a:ext uri="{FF2B5EF4-FFF2-40B4-BE49-F238E27FC236}">
                  <a16:creationId xmlns:a16="http://schemas.microsoft.com/office/drawing/2014/main" id="{142CFAA9-EADF-429B-8D4E-12597130F068}"/>
                </a:ext>
                <a:ext uri="{C183D7F6-B498-43B3-948B-1728B52AA6E4}">
                  <adec:decorative xmlns:adec="http://schemas.microsoft.com/office/drawing/2017/decorative" val="1"/>
                </a:ext>
              </a:extLst>
            </p:cNvPr>
            <p:cNvSpPr/>
            <p:nvPr/>
          </p:nvSpPr>
          <p:spPr bwMode="auto">
            <a:xfrm flipH="1">
              <a:off x="10287992" y="6154810"/>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15" name="Straight Connector 514">
              <a:extLst>
                <a:ext uri="{FF2B5EF4-FFF2-40B4-BE49-F238E27FC236}">
                  <a16:creationId xmlns:a16="http://schemas.microsoft.com/office/drawing/2014/main" id="{94841011-B81C-451C-A9B5-D3107EBCE660}"/>
                </a:ext>
                <a:ext uri="{C183D7F6-B498-43B3-948B-1728B52AA6E4}">
                  <adec:decorative xmlns:adec="http://schemas.microsoft.com/office/drawing/2017/decorative" val="1"/>
                </a:ext>
              </a:extLst>
            </p:cNvPr>
            <p:cNvCxnSpPr/>
            <p:nvPr/>
          </p:nvCxnSpPr>
          <p:spPr>
            <a:xfrm>
              <a:off x="10180499" y="6163302"/>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1" name="Rectangle 520">
              <a:extLst>
                <a:ext uri="{FF2B5EF4-FFF2-40B4-BE49-F238E27FC236}">
                  <a16:creationId xmlns:a16="http://schemas.microsoft.com/office/drawing/2014/main" id="{6830A21C-6E9D-4E5C-82E5-206577E95B90}"/>
                </a:ext>
                <a:ext uri="{C183D7F6-B498-43B3-948B-1728B52AA6E4}">
                  <adec:decorative xmlns:adec="http://schemas.microsoft.com/office/drawing/2017/decorative" val="1"/>
                </a:ext>
              </a:extLst>
            </p:cNvPr>
            <p:cNvSpPr/>
            <p:nvPr/>
          </p:nvSpPr>
          <p:spPr bwMode="auto">
            <a:xfrm>
              <a:off x="10156497" y="6189051"/>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B50EE9B2-00C8-461F-9911-558C581C58D0}"/>
                </a:ext>
                <a:ext uri="{C183D7F6-B498-43B3-948B-1728B52AA6E4}">
                  <adec:decorative xmlns:adec="http://schemas.microsoft.com/office/drawing/2017/decorative" val="1"/>
                </a:ext>
              </a:extLst>
            </p:cNvPr>
            <p:cNvSpPr/>
            <p:nvPr/>
          </p:nvSpPr>
          <p:spPr bwMode="auto">
            <a:xfrm flipH="1">
              <a:off x="10287992" y="6204807"/>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46" name="Straight Connector 545">
              <a:extLst>
                <a:ext uri="{FF2B5EF4-FFF2-40B4-BE49-F238E27FC236}">
                  <a16:creationId xmlns:a16="http://schemas.microsoft.com/office/drawing/2014/main" id="{3CA59EC0-C2B1-464C-BA2B-927B5EAFE889}"/>
                </a:ext>
                <a:ext uri="{C183D7F6-B498-43B3-948B-1728B52AA6E4}">
                  <adec:decorative xmlns:adec="http://schemas.microsoft.com/office/drawing/2017/decorative" val="1"/>
                </a:ext>
              </a:extLst>
            </p:cNvPr>
            <p:cNvCxnSpPr/>
            <p:nvPr/>
          </p:nvCxnSpPr>
          <p:spPr>
            <a:xfrm>
              <a:off x="10180499" y="6213298"/>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8" name="Rectangle 547">
              <a:extLst>
                <a:ext uri="{FF2B5EF4-FFF2-40B4-BE49-F238E27FC236}">
                  <a16:creationId xmlns:a16="http://schemas.microsoft.com/office/drawing/2014/main" id="{5BB95ABC-05F0-40A1-963C-5A93C65EA60E}"/>
                </a:ext>
                <a:ext uri="{C183D7F6-B498-43B3-948B-1728B52AA6E4}">
                  <adec:decorative xmlns:adec="http://schemas.microsoft.com/office/drawing/2017/decorative" val="1"/>
                </a:ext>
              </a:extLst>
            </p:cNvPr>
            <p:cNvSpPr/>
            <p:nvPr/>
          </p:nvSpPr>
          <p:spPr bwMode="auto">
            <a:xfrm>
              <a:off x="10156497" y="6089058"/>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76D80018-F6E1-4AC6-98D3-08B9052B3773}"/>
                </a:ext>
                <a:ext uri="{C183D7F6-B498-43B3-948B-1728B52AA6E4}">
                  <adec:decorative xmlns:adec="http://schemas.microsoft.com/office/drawing/2017/decorative" val="1"/>
                </a:ext>
              </a:extLst>
            </p:cNvPr>
            <p:cNvSpPr/>
            <p:nvPr/>
          </p:nvSpPr>
          <p:spPr bwMode="auto">
            <a:xfrm flipH="1">
              <a:off x="10287992" y="6104814"/>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77" name="Straight Connector 576">
              <a:extLst>
                <a:ext uri="{FF2B5EF4-FFF2-40B4-BE49-F238E27FC236}">
                  <a16:creationId xmlns:a16="http://schemas.microsoft.com/office/drawing/2014/main" id="{9078844E-7BBA-4452-94E3-9845BDF3A006}"/>
                </a:ext>
                <a:ext uri="{C183D7F6-B498-43B3-948B-1728B52AA6E4}">
                  <adec:decorative xmlns:adec="http://schemas.microsoft.com/office/drawing/2017/decorative" val="1"/>
                </a:ext>
              </a:extLst>
            </p:cNvPr>
            <p:cNvCxnSpPr/>
            <p:nvPr/>
          </p:nvCxnSpPr>
          <p:spPr>
            <a:xfrm>
              <a:off x="10180499" y="6113306"/>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9" name="Rectangle 578">
              <a:extLst>
                <a:ext uri="{FF2B5EF4-FFF2-40B4-BE49-F238E27FC236}">
                  <a16:creationId xmlns:a16="http://schemas.microsoft.com/office/drawing/2014/main" id="{A8053608-D663-46A5-9545-EC4601B998EF}"/>
                </a:ext>
                <a:ext uri="{C183D7F6-B498-43B3-948B-1728B52AA6E4}">
                  <adec:decorative xmlns:adec="http://schemas.microsoft.com/office/drawing/2017/decorative" val="1"/>
                </a:ext>
              </a:extLst>
            </p:cNvPr>
            <p:cNvSpPr/>
            <p:nvPr/>
          </p:nvSpPr>
          <p:spPr bwMode="auto">
            <a:xfrm>
              <a:off x="10156497" y="5989065"/>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81" name="Oval 580">
              <a:extLst>
                <a:ext uri="{FF2B5EF4-FFF2-40B4-BE49-F238E27FC236}">
                  <a16:creationId xmlns:a16="http://schemas.microsoft.com/office/drawing/2014/main" id="{CC8CD931-88E3-408E-A193-01ADE1E4A224}"/>
                </a:ext>
                <a:ext uri="{C183D7F6-B498-43B3-948B-1728B52AA6E4}">
                  <adec:decorative xmlns:adec="http://schemas.microsoft.com/office/drawing/2017/decorative" val="1"/>
                </a:ext>
              </a:extLst>
            </p:cNvPr>
            <p:cNvSpPr/>
            <p:nvPr/>
          </p:nvSpPr>
          <p:spPr bwMode="auto">
            <a:xfrm flipH="1">
              <a:off x="10287992" y="6004821"/>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87" name="Straight Connector 586">
              <a:extLst>
                <a:ext uri="{FF2B5EF4-FFF2-40B4-BE49-F238E27FC236}">
                  <a16:creationId xmlns:a16="http://schemas.microsoft.com/office/drawing/2014/main" id="{4E172903-445A-4C7E-97E7-47ECA396571D}"/>
                </a:ext>
                <a:ext uri="{C183D7F6-B498-43B3-948B-1728B52AA6E4}">
                  <adec:decorative xmlns:adec="http://schemas.microsoft.com/office/drawing/2017/decorative" val="1"/>
                </a:ext>
              </a:extLst>
            </p:cNvPr>
            <p:cNvCxnSpPr/>
            <p:nvPr/>
          </p:nvCxnSpPr>
          <p:spPr>
            <a:xfrm>
              <a:off x="10180499" y="6013313"/>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0" name="Rectangle 609">
              <a:extLst>
                <a:ext uri="{FF2B5EF4-FFF2-40B4-BE49-F238E27FC236}">
                  <a16:creationId xmlns:a16="http://schemas.microsoft.com/office/drawing/2014/main" id="{A2063291-77A5-44C8-A279-8429B5A34827}"/>
                </a:ext>
                <a:ext uri="{C183D7F6-B498-43B3-948B-1728B52AA6E4}">
                  <adec:decorative xmlns:adec="http://schemas.microsoft.com/office/drawing/2017/decorative" val="1"/>
                </a:ext>
              </a:extLst>
            </p:cNvPr>
            <p:cNvSpPr/>
            <p:nvPr/>
          </p:nvSpPr>
          <p:spPr bwMode="auto">
            <a:xfrm>
              <a:off x="10156497" y="6039062"/>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2" name="Oval 611">
              <a:extLst>
                <a:ext uri="{FF2B5EF4-FFF2-40B4-BE49-F238E27FC236}">
                  <a16:creationId xmlns:a16="http://schemas.microsoft.com/office/drawing/2014/main" id="{BE164BD4-2C1B-403F-ACE4-C3693F9EA234}"/>
                </a:ext>
                <a:ext uri="{C183D7F6-B498-43B3-948B-1728B52AA6E4}">
                  <adec:decorative xmlns:adec="http://schemas.microsoft.com/office/drawing/2017/decorative" val="1"/>
                </a:ext>
              </a:extLst>
            </p:cNvPr>
            <p:cNvSpPr/>
            <p:nvPr/>
          </p:nvSpPr>
          <p:spPr bwMode="auto">
            <a:xfrm flipH="1">
              <a:off x="10287992" y="6054817"/>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14" name="Straight Connector 613">
              <a:extLst>
                <a:ext uri="{FF2B5EF4-FFF2-40B4-BE49-F238E27FC236}">
                  <a16:creationId xmlns:a16="http://schemas.microsoft.com/office/drawing/2014/main" id="{1DAEF624-528E-4ABB-9F5B-E4E789E29F05}"/>
                </a:ext>
                <a:ext uri="{C183D7F6-B498-43B3-948B-1728B52AA6E4}">
                  <adec:decorative xmlns:adec="http://schemas.microsoft.com/office/drawing/2017/decorative" val="1"/>
                </a:ext>
              </a:extLst>
            </p:cNvPr>
            <p:cNvCxnSpPr/>
            <p:nvPr/>
          </p:nvCxnSpPr>
          <p:spPr>
            <a:xfrm>
              <a:off x="10180499" y="6063309"/>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0" name="Rectangle 619">
              <a:extLst>
                <a:ext uri="{FF2B5EF4-FFF2-40B4-BE49-F238E27FC236}">
                  <a16:creationId xmlns:a16="http://schemas.microsoft.com/office/drawing/2014/main" id="{087B68BC-2B7D-4A41-BE79-B0F680C314CF}"/>
                </a:ext>
                <a:ext uri="{C183D7F6-B498-43B3-948B-1728B52AA6E4}">
                  <adec:decorative xmlns:adec="http://schemas.microsoft.com/office/drawing/2017/decorative" val="1"/>
                </a:ext>
              </a:extLst>
            </p:cNvPr>
            <p:cNvSpPr/>
            <p:nvPr/>
          </p:nvSpPr>
          <p:spPr bwMode="auto">
            <a:xfrm>
              <a:off x="10156497" y="5939069"/>
              <a:ext cx="165889" cy="49414"/>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3" name="Oval 642">
              <a:extLst>
                <a:ext uri="{FF2B5EF4-FFF2-40B4-BE49-F238E27FC236}">
                  <a16:creationId xmlns:a16="http://schemas.microsoft.com/office/drawing/2014/main" id="{4444317E-F164-4F14-B361-601F032B21C0}"/>
                </a:ext>
                <a:ext uri="{C183D7F6-B498-43B3-948B-1728B52AA6E4}">
                  <adec:decorative xmlns:adec="http://schemas.microsoft.com/office/drawing/2017/decorative" val="1"/>
                </a:ext>
              </a:extLst>
            </p:cNvPr>
            <p:cNvSpPr/>
            <p:nvPr/>
          </p:nvSpPr>
          <p:spPr bwMode="auto">
            <a:xfrm flipH="1">
              <a:off x="10287992" y="5954825"/>
              <a:ext cx="14912" cy="14912"/>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645" name="Straight Connector 644">
              <a:extLst>
                <a:ext uri="{FF2B5EF4-FFF2-40B4-BE49-F238E27FC236}">
                  <a16:creationId xmlns:a16="http://schemas.microsoft.com/office/drawing/2014/main" id="{1EB307B3-DD81-439B-B5B8-790F5412089A}"/>
                </a:ext>
                <a:ext uri="{C183D7F6-B498-43B3-948B-1728B52AA6E4}">
                  <adec:decorative xmlns:adec="http://schemas.microsoft.com/office/drawing/2017/decorative" val="1"/>
                </a:ext>
              </a:extLst>
            </p:cNvPr>
            <p:cNvCxnSpPr/>
            <p:nvPr/>
          </p:nvCxnSpPr>
          <p:spPr>
            <a:xfrm>
              <a:off x="10180499" y="5963317"/>
              <a:ext cx="77668" cy="0"/>
            </a:xfrm>
            <a:prstGeom prst="line">
              <a:avLst/>
            </a:prstGeom>
            <a:no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1" name="Flowchart: Direct Access Storage 470">
              <a:extLst>
                <a:ext uri="{FF2B5EF4-FFF2-40B4-BE49-F238E27FC236}">
                  <a16:creationId xmlns:a16="http://schemas.microsoft.com/office/drawing/2014/main" id="{07AC0149-1FB0-41C3-9A0E-2DE22934AF45}"/>
                </a:ext>
                <a:ext uri="{C183D7F6-B498-43B3-948B-1728B52AA6E4}">
                  <adec:decorative xmlns:adec="http://schemas.microsoft.com/office/drawing/2017/decorative" val="1"/>
                </a:ext>
              </a:extLst>
            </p:cNvPr>
            <p:cNvSpPr/>
            <p:nvPr/>
          </p:nvSpPr>
          <p:spPr bwMode="auto">
            <a:xfrm>
              <a:off x="10406074" y="5939069"/>
              <a:ext cx="113954" cy="299596"/>
            </a:xfrm>
            <a:prstGeom prst="flowChartMagneticDrum">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474" name="Rectangle 5">
              <a:extLst>
                <a:ext uri="{FF2B5EF4-FFF2-40B4-BE49-F238E27FC236}">
                  <a16:creationId xmlns:a16="http://schemas.microsoft.com/office/drawing/2014/main" id="{A0EB9A12-24F9-4F8E-93B7-F5AF7D0B936E}"/>
                </a:ext>
                <a:ext uri="{C183D7F6-B498-43B3-948B-1728B52AA6E4}">
                  <adec:decorative xmlns:adec="http://schemas.microsoft.com/office/drawing/2017/decorative" val="1"/>
                </a:ext>
              </a:extLst>
            </p:cNvPr>
            <p:cNvSpPr>
              <a:spLocks noChangeArrowheads="1"/>
            </p:cNvSpPr>
            <p:nvPr/>
          </p:nvSpPr>
          <p:spPr bwMode="auto">
            <a:xfrm>
              <a:off x="9877941" y="5937106"/>
              <a:ext cx="191148" cy="299597"/>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75" name="Freeform 6">
              <a:extLst>
                <a:ext uri="{FF2B5EF4-FFF2-40B4-BE49-F238E27FC236}">
                  <a16:creationId xmlns:a16="http://schemas.microsoft.com/office/drawing/2014/main" id="{5E06A243-E050-4D1E-ACC2-80EA4609EAD1}"/>
                </a:ext>
                <a:ext uri="{C183D7F6-B498-43B3-948B-1728B52AA6E4}">
                  <adec:decorative xmlns:adec="http://schemas.microsoft.com/office/drawing/2017/decorative" val="1"/>
                </a:ext>
              </a:extLst>
            </p:cNvPr>
            <p:cNvSpPr>
              <a:spLocks/>
            </p:cNvSpPr>
            <p:nvPr/>
          </p:nvSpPr>
          <p:spPr bwMode="auto">
            <a:xfrm>
              <a:off x="9898414" y="5972118"/>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76" name="Freeform 7">
              <a:extLst>
                <a:ext uri="{FF2B5EF4-FFF2-40B4-BE49-F238E27FC236}">
                  <a16:creationId xmlns:a16="http://schemas.microsoft.com/office/drawing/2014/main" id="{7526BC99-6A99-4920-9142-2FA3AFD40B13}"/>
                </a:ext>
                <a:ext uri="{C183D7F6-B498-43B3-948B-1728B52AA6E4}">
                  <adec:decorative xmlns:adec="http://schemas.microsoft.com/office/drawing/2017/decorative" val="1"/>
                </a:ext>
              </a:extLst>
            </p:cNvPr>
            <p:cNvSpPr>
              <a:spLocks/>
            </p:cNvSpPr>
            <p:nvPr/>
          </p:nvSpPr>
          <p:spPr bwMode="auto">
            <a:xfrm>
              <a:off x="9898414" y="6026187"/>
              <a:ext cx="150201" cy="30580"/>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82" name="Freeform 8">
              <a:extLst>
                <a:ext uri="{FF2B5EF4-FFF2-40B4-BE49-F238E27FC236}">
                  <a16:creationId xmlns:a16="http://schemas.microsoft.com/office/drawing/2014/main" id="{02A55BD5-2210-49AC-90B8-94EEDC8CB8A1}"/>
                </a:ext>
                <a:ext uri="{C183D7F6-B498-43B3-948B-1728B52AA6E4}">
                  <adec:decorative xmlns:adec="http://schemas.microsoft.com/office/drawing/2017/decorative" val="1"/>
                </a:ext>
              </a:extLst>
            </p:cNvPr>
            <p:cNvSpPr>
              <a:spLocks/>
            </p:cNvSpPr>
            <p:nvPr/>
          </p:nvSpPr>
          <p:spPr bwMode="auto">
            <a:xfrm>
              <a:off x="9898414" y="6079814"/>
              <a:ext cx="150201" cy="30580"/>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87" name="Freeform 9">
              <a:extLst>
                <a:ext uri="{FF2B5EF4-FFF2-40B4-BE49-F238E27FC236}">
                  <a16:creationId xmlns:a16="http://schemas.microsoft.com/office/drawing/2014/main" id="{D5301837-502D-4C8C-8619-CC8F240C2E89}"/>
                </a:ext>
                <a:ext uri="{C183D7F6-B498-43B3-948B-1728B52AA6E4}">
                  <adec:decorative xmlns:adec="http://schemas.microsoft.com/office/drawing/2017/decorative" val="1"/>
                </a:ext>
              </a:extLst>
            </p:cNvPr>
            <p:cNvSpPr>
              <a:spLocks/>
            </p:cNvSpPr>
            <p:nvPr/>
          </p:nvSpPr>
          <p:spPr bwMode="auto">
            <a:xfrm>
              <a:off x="9898414" y="6133883"/>
              <a:ext cx="150201" cy="30580"/>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89" name="Oval 14">
              <a:extLst>
                <a:ext uri="{FF2B5EF4-FFF2-40B4-BE49-F238E27FC236}">
                  <a16:creationId xmlns:a16="http://schemas.microsoft.com/office/drawing/2014/main" id="{9AB9B8D3-386D-4F32-A276-1D946F17A280}"/>
                </a:ext>
                <a:ext uri="{C183D7F6-B498-43B3-948B-1728B52AA6E4}">
                  <adec:decorative xmlns:adec="http://schemas.microsoft.com/office/drawing/2017/decorative" val="1"/>
                </a:ext>
              </a:extLst>
            </p:cNvPr>
            <p:cNvSpPr>
              <a:spLocks noChangeArrowheads="1"/>
            </p:cNvSpPr>
            <p:nvPr/>
          </p:nvSpPr>
          <p:spPr bwMode="auto">
            <a:xfrm>
              <a:off x="10022381" y="5978545"/>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90" name="Oval 15">
              <a:extLst>
                <a:ext uri="{FF2B5EF4-FFF2-40B4-BE49-F238E27FC236}">
                  <a16:creationId xmlns:a16="http://schemas.microsoft.com/office/drawing/2014/main" id="{F1C4C0F4-372A-4B35-8A64-71D5B4225089}"/>
                </a:ext>
                <a:ext uri="{C183D7F6-B498-43B3-948B-1728B52AA6E4}">
                  <adec:decorative xmlns:adec="http://schemas.microsoft.com/office/drawing/2017/decorative" val="1"/>
                </a:ext>
              </a:extLst>
            </p:cNvPr>
            <p:cNvSpPr>
              <a:spLocks noChangeArrowheads="1"/>
            </p:cNvSpPr>
            <p:nvPr/>
          </p:nvSpPr>
          <p:spPr bwMode="auto">
            <a:xfrm>
              <a:off x="10022381" y="6032614"/>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91" name="Oval 16">
              <a:extLst>
                <a:ext uri="{FF2B5EF4-FFF2-40B4-BE49-F238E27FC236}">
                  <a16:creationId xmlns:a16="http://schemas.microsoft.com/office/drawing/2014/main" id="{AE25214C-DD06-44D9-A0BD-38ADD82A548A}"/>
                </a:ext>
                <a:ext uri="{C183D7F6-B498-43B3-948B-1728B52AA6E4}">
                  <adec:decorative xmlns:adec="http://schemas.microsoft.com/office/drawing/2017/decorative" val="1"/>
                </a:ext>
              </a:extLst>
            </p:cNvPr>
            <p:cNvSpPr>
              <a:spLocks noChangeArrowheads="1"/>
            </p:cNvSpPr>
            <p:nvPr/>
          </p:nvSpPr>
          <p:spPr bwMode="auto">
            <a:xfrm>
              <a:off x="10022381" y="6086683"/>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92" name="Oval 17">
              <a:extLst>
                <a:ext uri="{FF2B5EF4-FFF2-40B4-BE49-F238E27FC236}">
                  <a16:creationId xmlns:a16="http://schemas.microsoft.com/office/drawing/2014/main" id="{22615C12-10D0-4948-B491-810E66692282}"/>
                </a:ext>
                <a:ext uri="{C183D7F6-B498-43B3-948B-1728B52AA6E4}">
                  <adec:decorative xmlns:adec="http://schemas.microsoft.com/office/drawing/2017/decorative" val="1"/>
                </a:ext>
              </a:extLst>
            </p:cNvPr>
            <p:cNvSpPr>
              <a:spLocks noChangeArrowheads="1"/>
            </p:cNvSpPr>
            <p:nvPr/>
          </p:nvSpPr>
          <p:spPr bwMode="auto">
            <a:xfrm>
              <a:off x="10022381" y="6140753"/>
              <a:ext cx="16821" cy="16841"/>
            </a:xfrm>
            <a:prstGeom prst="ellipse">
              <a:avLst/>
            </a:prstGeom>
            <a:solidFill>
              <a:schemeClr val="tx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69" name="TextBox 868">
              <a:extLst>
                <a:ext uri="{FF2B5EF4-FFF2-40B4-BE49-F238E27FC236}">
                  <a16:creationId xmlns:a16="http://schemas.microsoft.com/office/drawing/2014/main" id="{E19789AF-6E0F-4E14-A1D9-8A642FDD7990}"/>
                </a:ext>
                <a:ext uri="{C183D7F6-B498-43B3-948B-1728B52AA6E4}">
                  <adec:decorative xmlns:adec="http://schemas.microsoft.com/office/drawing/2017/decorative" val="1"/>
                </a:ext>
              </a:extLst>
            </p:cNvPr>
            <p:cNvSpPr txBox="1"/>
            <p:nvPr/>
          </p:nvSpPr>
          <p:spPr>
            <a:xfrm>
              <a:off x="9363355" y="1700852"/>
              <a:ext cx="205184" cy="3323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light"/>
                  <a:ea typeface="+mn-ea"/>
                  <a:cs typeface="+mn-cs"/>
                </a:rPr>
                <a:t>=</a:t>
              </a:r>
            </a:p>
          </p:txBody>
        </p:sp>
        <p:sp>
          <p:nvSpPr>
            <p:cNvPr id="870" name="TextBox 869">
              <a:extLst>
                <a:ext uri="{FF2B5EF4-FFF2-40B4-BE49-F238E27FC236}">
                  <a16:creationId xmlns:a16="http://schemas.microsoft.com/office/drawing/2014/main" id="{FF5B435C-4398-4AB0-81BB-7E5364421468}"/>
                </a:ext>
                <a:ext uri="{C183D7F6-B498-43B3-948B-1728B52AA6E4}">
                  <adec:decorative xmlns:adec="http://schemas.microsoft.com/office/drawing/2017/decorative" val="1"/>
                </a:ext>
              </a:extLst>
            </p:cNvPr>
            <p:cNvSpPr txBox="1"/>
            <p:nvPr/>
          </p:nvSpPr>
          <p:spPr>
            <a:xfrm>
              <a:off x="9363355" y="2789778"/>
              <a:ext cx="205184" cy="3323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light"/>
                  <a:ea typeface="+mn-ea"/>
                  <a:cs typeface="+mn-cs"/>
                </a:rPr>
                <a:t>=</a:t>
              </a:r>
            </a:p>
          </p:txBody>
        </p:sp>
        <p:sp>
          <p:nvSpPr>
            <p:cNvPr id="871" name="TextBox 870">
              <a:extLst>
                <a:ext uri="{FF2B5EF4-FFF2-40B4-BE49-F238E27FC236}">
                  <a16:creationId xmlns:a16="http://schemas.microsoft.com/office/drawing/2014/main" id="{31D00C5C-B4A9-463F-B390-EFA5F976C67B}"/>
                </a:ext>
                <a:ext uri="{C183D7F6-B498-43B3-948B-1728B52AA6E4}">
                  <adec:decorative xmlns:adec="http://schemas.microsoft.com/office/drawing/2017/decorative" val="1"/>
                </a:ext>
              </a:extLst>
            </p:cNvPr>
            <p:cNvSpPr txBox="1"/>
            <p:nvPr/>
          </p:nvSpPr>
          <p:spPr>
            <a:xfrm>
              <a:off x="9363355" y="4151827"/>
              <a:ext cx="205184" cy="3323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light"/>
                  <a:ea typeface="+mn-ea"/>
                  <a:cs typeface="+mn-cs"/>
                </a:rPr>
                <a:t>=</a:t>
              </a:r>
            </a:p>
          </p:txBody>
        </p:sp>
        <p:sp>
          <p:nvSpPr>
            <p:cNvPr id="872" name="TextBox 871">
              <a:extLst>
                <a:ext uri="{FF2B5EF4-FFF2-40B4-BE49-F238E27FC236}">
                  <a16:creationId xmlns:a16="http://schemas.microsoft.com/office/drawing/2014/main" id="{BB6E082B-F1C2-4731-A291-74D68F363133}"/>
                </a:ext>
                <a:ext uri="{C183D7F6-B498-43B3-948B-1728B52AA6E4}">
                  <adec:decorative xmlns:adec="http://schemas.microsoft.com/office/drawing/2017/decorative" val="1"/>
                </a:ext>
              </a:extLst>
            </p:cNvPr>
            <p:cNvSpPr txBox="1"/>
            <p:nvPr/>
          </p:nvSpPr>
          <p:spPr>
            <a:xfrm>
              <a:off x="9363355" y="5583979"/>
              <a:ext cx="205184" cy="3323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Semilight"/>
                  <a:ea typeface="+mn-ea"/>
                  <a:cs typeface="+mn-cs"/>
                </a:rPr>
                <a:t>=</a:t>
              </a:r>
            </a:p>
          </p:txBody>
        </p:sp>
        <p:sp>
          <p:nvSpPr>
            <p:cNvPr id="873" name="Rectangle 872">
              <a:extLst>
                <a:ext uri="{FF2B5EF4-FFF2-40B4-BE49-F238E27FC236}">
                  <a16:creationId xmlns:a16="http://schemas.microsoft.com/office/drawing/2014/main" id="{C24E54BC-2E1C-42C7-87D1-734D490B32DB}"/>
                </a:ext>
                <a:ext uri="{C183D7F6-B498-43B3-948B-1728B52AA6E4}">
                  <adec:decorative xmlns:adec="http://schemas.microsoft.com/office/drawing/2017/decorative" val="1"/>
                </a:ext>
              </a:extLst>
            </p:cNvPr>
            <p:cNvSpPr/>
            <p:nvPr/>
          </p:nvSpPr>
          <p:spPr bwMode="auto">
            <a:xfrm>
              <a:off x="7922761" y="1658325"/>
              <a:ext cx="1156828" cy="417453"/>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4" name="Rectangle 873">
              <a:extLst>
                <a:ext uri="{FF2B5EF4-FFF2-40B4-BE49-F238E27FC236}">
                  <a16:creationId xmlns:a16="http://schemas.microsoft.com/office/drawing/2014/main" id="{CD6B1ACF-7574-4B3A-AB3F-BF4A66C8B14A}"/>
                </a:ext>
                <a:ext uri="{C183D7F6-B498-43B3-948B-1728B52AA6E4}">
                  <adec:decorative xmlns:adec="http://schemas.microsoft.com/office/drawing/2017/decorative" val="1"/>
                </a:ext>
              </a:extLst>
            </p:cNvPr>
            <p:cNvSpPr/>
            <p:nvPr/>
          </p:nvSpPr>
          <p:spPr bwMode="auto">
            <a:xfrm>
              <a:off x="7922761" y="4109300"/>
              <a:ext cx="1156828" cy="417453"/>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6" name="Rectangle 875">
              <a:extLst>
                <a:ext uri="{FF2B5EF4-FFF2-40B4-BE49-F238E27FC236}">
                  <a16:creationId xmlns:a16="http://schemas.microsoft.com/office/drawing/2014/main" id="{AA38F945-5A1E-43AE-944C-B233223AE609}"/>
                </a:ext>
                <a:ext uri="{C183D7F6-B498-43B3-948B-1728B52AA6E4}">
                  <adec:decorative xmlns:adec="http://schemas.microsoft.com/office/drawing/2017/decorative" val="1"/>
                </a:ext>
              </a:extLst>
            </p:cNvPr>
            <p:cNvSpPr/>
            <p:nvPr/>
          </p:nvSpPr>
          <p:spPr bwMode="auto">
            <a:xfrm>
              <a:off x="8153331" y="2744429"/>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7" name="Rectangle 876">
              <a:extLst>
                <a:ext uri="{FF2B5EF4-FFF2-40B4-BE49-F238E27FC236}">
                  <a16:creationId xmlns:a16="http://schemas.microsoft.com/office/drawing/2014/main" id="{EC647478-BD9C-46B2-AF3C-907E0018E132}"/>
                </a:ext>
                <a:ext uri="{C183D7F6-B498-43B3-948B-1728B52AA6E4}">
                  <adec:decorative xmlns:adec="http://schemas.microsoft.com/office/drawing/2017/decorative" val="1"/>
                </a:ext>
              </a:extLst>
            </p:cNvPr>
            <p:cNvSpPr/>
            <p:nvPr/>
          </p:nvSpPr>
          <p:spPr bwMode="auto">
            <a:xfrm>
              <a:off x="8036659" y="2825861"/>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8" name="Rectangle 877">
              <a:extLst>
                <a:ext uri="{FF2B5EF4-FFF2-40B4-BE49-F238E27FC236}">
                  <a16:creationId xmlns:a16="http://schemas.microsoft.com/office/drawing/2014/main" id="{29234D59-9CEA-4F3D-95D9-57EFCEA16761}"/>
                </a:ext>
                <a:ext uri="{C183D7F6-B498-43B3-948B-1728B52AA6E4}">
                  <adec:decorative xmlns:adec="http://schemas.microsoft.com/office/drawing/2017/decorative" val="1"/>
                </a:ext>
              </a:extLst>
            </p:cNvPr>
            <p:cNvSpPr/>
            <p:nvPr/>
          </p:nvSpPr>
          <p:spPr bwMode="auto">
            <a:xfrm>
              <a:off x="7919988" y="2907293"/>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0" name="Rectangle 879">
              <a:extLst>
                <a:ext uri="{FF2B5EF4-FFF2-40B4-BE49-F238E27FC236}">
                  <a16:creationId xmlns:a16="http://schemas.microsoft.com/office/drawing/2014/main" id="{7B563B4D-2F6B-4CE2-92CA-69F4A044AEF2}"/>
                </a:ext>
                <a:ext uri="{C183D7F6-B498-43B3-948B-1728B52AA6E4}">
                  <adec:decorative xmlns:adec="http://schemas.microsoft.com/office/drawing/2017/decorative" val="1"/>
                </a:ext>
              </a:extLst>
            </p:cNvPr>
            <p:cNvSpPr/>
            <p:nvPr/>
          </p:nvSpPr>
          <p:spPr bwMode="auto">
            <a:xfrm>
              <a:off x="8153331" y="5460020"/>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1" name="Rectangle 880">
              <a:extLst>
                <a:ext uri="{FF2B5EF4-FFF2-40B4-BE49-F238E27FC236}">
                  <a16:creationId xmlns:a16="http://schemas.microsoft.com/office/drawing/2014/main" id="{02C922B5-EB82-4128-A2FF-F76EAC7B5344}"/>
                </a:ext>
                <a:ext uri="{C183D7F6-B498-43B3-948B-1728B52AA6E4}">
                  <adec:decorative xmlns:adec="http://schemas.microsoft.com/office/drawing/2017/decorative" val="1"/>
                </a:ext>
              </a:extLst>
            </p:cNvPr>
            <p:cNvSpPr/>
            <p:nvPr/>
          </p:nvSpPr>
          <p:spPr bwMode="auto">
            <a:xfrm>
              <a:off x="8036659" y="5541452"/>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2" name="Rectangle 881">
              <a:extLst>
                <a:ext uri="{FF2B5EF4-FFF2-40B4-BE49-F238E27FC236}">
                  <a16:creationId xmlns:a16="http://schemas.microsoft.com/office/drawing/2014/main" id="{E1249694-0B3F-45B2-A686-9C6F321F8CE3}"/>
                </a:ext>
                <a:ext uri="{C183D7F6-B498-43B3-948B-1728B52AA6E4}">
                  <adec:decorative xmlns:adec="http://schemas.microsoft.com/office/drawing/2017/decorative" val="1"/>
                </a:ext>
              </a:extLst>
            </p:cNvPr>
            <p:cNvSpPr/>
            <p:nvPr/>
          </p:nvSpPr>
          <p:spPr bwMode="auto">
            <a:xfrm>
              <a:off x="7919988" y="5622884"/>
              <a:ext cx="926258" cy="417453"/>
            </a:xfrm>
            <a:prstGeom prst="rect">
              <a:avLst/>
            </a:prstGeom>
            <a:solidFill>
              <a:schemeClr val="bg1">
                <a:lumMod val="9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6931795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5301A-B80E-4450-BA4E-23128C77541E}"/>
              </a:ext>
            </a:extLst>
          </p:cNvPr>
          <p:cNvSpPr>
            <a:spLocks noGrp="1"/>
          </p:cNvSpPr>
          <p:nvPr>
            <p:ph type="title"/>
          </p:nvPr>
        </p:nvSpPr>
        <p:spPr>
          <a:xfrm>
            <a:off x="269240" y="289512"/>
            <a:ext cx="5409665" cy="648952"/>
          </a:xfrm>
        </p:spPr>
        <p:txBody>
          <a:bodyPr/>
          <a:lstStyle/>
          <a:p>
            <a:r>
              <a:rPr lang="en-US" dirty="0"/>
              <a:t>Request Units (3</a:t>
            </a:r>
            <a:r>
              <a:rPr lang="en-US" cap="none" dirty="0"/>
              <a:t> of </a:t>
            </a:r>
            <a:r>
              <a:rPr lang="en-US" dirty="0"/>
              <a:t>3)</a:t>
            </a:r>
          </a:p>
        </p:txBody>
      </p:sp>
      <p:sp>
        <p:nvSpPr>
          <p:cNvPr id="3" name="Text Placeholder 2">
            <a:extLst>
              <a:ext uri="{FF2B5EF4-FFF2-40B4-BE49-F238E27FC236}">
                <a16:creationId xmlns:a16="http://schemas.microsoft.com/office/drawing/2014/main" id="{84F41F3C-8CA9-47B0-BBFA-B1918586D3B0}"/>
              </a:ext>
            </a:extLst>
          </p:cNvPr>
          <p:cNvSpPr>
            <a:spLocks noGrp="1"/>
          </p:cNvSpPr>
          <p:nvPr>
            <p:ph type="body" sz="quarter" idx="11"/>
          </p:nvPr>
        </p:nvSpPr>
        <p:spPr>
          <a:xfrm>
            <a:off x="269874" y="1584156"/>
            <a:ext cx="5686789" cy="3626955"/>
          </a:xfrm>
        </p:spPr>
        <p:txBody>
          <a:bodyPr vert="horz" wrap="square" lIns="146304" tIns="91440" rIns="146304" bIns="91440" rtlCol="0" anchor="t">
            <a:spAutoFit/>
          </a:bodyPr>
          <a:lstStyle/>
          <a:p>
            <a:pPr>
              <a:lnSpc>
                <a:spcPct val="200000"/>
              </a:lnSpc>
            </a:pPr>
            <a:r>
              <a:rPr lang="en-US" dirty="0">
                <a:solidFill>
                  <a:srgbClr val="0067B7"/>
                </a:solidFill>
              </a:rPr>
              <a:t>Provisioned in terms of RU/sec</a:t>
            </a:r>
          </a:p>
          <a:p>
            <a:pPr marL="0" lvl="1" indent="0">
              <a:lnSpc>
                <a:spcPct val="200000"/>
              </a:lnSpc>
              <a:buNone/>
            </a:pPr>
            <a:r>
              <a:rPr lang="en-US" dirty="0"/>
              <a:t>Rate limiting based on amount of throughput provisioned</a:t>
            </a:r>
          </a:p>
          <a:p>
            <a:pPr marL="0" lvl="1" indent="0">
              <a:lnSpc>
                <a:spcPct val="200000"/>
              </a:lnSpc>
              <a:buNone/>
            </a:pPr>
            <a:r>
              <a:rPr lang="en-US" dirty="0"/>
              <a:t>Can be increased or decreased instantaneously</a:t>
            </a:r>
          </a:p>
          <a:p>
            <a:pPr>
              <a:lnSpc>
                <a:spcPct val="200000"/>
              </a:lnSpc>
            </a:pPr>
            <a:r>
              <a:rPr lang="en-US" dirty="0">
                <a:solidFill>
                  <a:srgbClr val="0067B7"/>
                </a:solidFill>
              </a:rPr>
              <a:t>Metered Hourly</a:t>
            </a:r>
          </a:p>
          <a:p>
            <a:pPr marL="0" lvl="1" indent="0">
              <a:lnSpc>
                <a:spcPct val="200000"/>
              </a:lnSpc>
              <a:buNone/>
            </a:pPr>
            <a:r>
              <a:rPr lang="en-US" dirty="0"/>
              <a:t>Background processes like TTL expiration, index transformations scheduled when quiescent</a:t>
            </a:r>
          </a:p>
        </p:txBody>
      </p:sp>
      <p:grpSp>
        <p:nvGrpSpPr>
          <p:cNvPr id="29" name="Group 28" descr="Graph showing Incoming Requests. Rate limit shows the maximum requests followed by Replica Quiescent and No rate limiting.">
            <a:extLst>
              <a:ext uri="{FF2B5EF4-FFF2-40B4-BE49-F238E27FC236}">
                <a16:creationId xmlns:a16="http://schemas.microsoft.com/office/drawing/2014/main" id="{5D5EB2CA-5DA6-464B-ACDE-B94781ED4066}"/>
              </a:ext>
            </a:extLst>
          </p:cNvPr>
          <p:cNvGrpSpPr/>
          <p:nvPr/>
        </p:nvGrpSpPr>
        <p:grpSpPr>
          <a:xfrm>
            <a:off x="7183798" y="1670170"/>
            <a:ext cx="4101966" cy="4476772"/>
            <a:chOff x="7183798" y="1670170"/>
            <a:chExt cx="4101966" cy="4476772"/>
          </a:xfrm>
        </p:grpSpPr>
        <p:sp>
          <p:nvSpPr>
            <p:cNvPr id="5" name="TextBox 4">
              <a:extLst>
                <a:ext uri="{FF2B5EF4-FFF2-40B4-BE49-F238E27FC236}">
                  <a16:creationId xmlns:a16="http://schemas.microsoft.com/office/drawing/2014/main" id="{7A1F75BD-C057-4606-B688-37CBEDA8488A}"/>
                </a:ext>
                <a:ext uri="{C183D7F6-B498-43B3-948B-1728B52AA6E4}">
                  <adec:decorative xmlns:adec="http://schemas.microsoft.com/office/drawing/2017/decorative" val="1"/>
                </a:ext>
              </a:extLst>
            </p:cNvPr>
            <p:cNvSpPr txBox="1"/>
            <p:nvPr/>
          </p:nvSpPr>
          <p:spPr>
            <a:xfrm>
              <a:off x="8009577" y="4564547"/>
              <a:ext cx="112435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Min RU/sec</a:t>
              </a:r>
            </a:p>
          </p:txBody>
        </p:sp>
        <p:sp>
          <p:nvSpPr>
            <p:cNvPr id="6" name="TextBox 5">
              <a:extLst>
                <a:ext uri="{FF2B5EF4-FFF2-40B4-BE49-F238E27FC236}">
                  <a16:creationId xmlns:a16="http://schemas.microsoft.com/office/drawing/2014/main" id="{FE2DE40F-7E84-4483-9B3E-4EE11A0BA233}"/>
                </a:ext>
                <a:ext uri="{C183D7F6-B498-43B3-948B-1728B52AA6E4}">
                  <adec:decorative xmlns:adec="http://schemas.microsoft.com/office/drawing/2017/decorative" val="1"/>
                </a:ext>
              </a:extLst>
            </p:cNvPr>
            <p:cNvSpPr txBox="1"/>
            <p:nvPr/>
          </p:nvSpPr>
          <p:spPr>
            <a:xfrm>
              <a:off x="8018735" y="3644532"/>
              <a:ext cx="11282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Segoe UI Light" panose="020B0502040204020203" pitchFamily="34" charset="0"/>
                </a:rPr>
                <a:t>Max RU/sec</a:t>
              </a:r>
            </a:p>
          </p:txBody>
        </p:sp>
        <p:sp>
          <p:nvSpPr>
            <p:cNvPr id="7" name="Rounded Rectangle 548">
              <a:extLst>
                <a:ext uri="{FF2B5EF4-FFF2-40B4-BE49-F238E27FC236}">
                  <a16:creationId xmlns:a16="http://schemas.microsoft.com/office/drawing/2014/main" id="{247AF284-1CA0-4557-8366-3B8599AF6C0D}"/>
                </a:ext>
                <a:ext uri="{C183D7F6-B498-43B3-948B-1728B52AA6E4}">
                  <adec:decorative xmlns:adec="http://schemas.microsoft.com/office/drawing/2017/decorative" val="1"/>
                </a:ext>
              </a:extLst>
            </p:cNvPr>
            <p:cNvSpPr/>
            <p:nvPr/>
          </p:nvSpPr>
          <p:spPr>
            <a:xfrm>
              <a:off x="7724994" y="3666723"/>
              <a:ext cx="274320" cy="870319"/>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endParaRPr>
            </a:p>
          </p:txBody>
        </p:sp>
        <p:sp>
          <p:nvSpPr>
            <p:cNvPr id="8" name="Rounded Rectangle 549">
              <a:extLst>
                <a:ext uri="{FF2B5EF4-FFF2-40B4-BE49-F238E27FC236}">
                  <a16:creationId xmlns:a16="http://schemas.microsoft.com/office/drawing/2014/main" id="{E4F70E48-7529-46D1-9C76-1E4966AD2AE6}"/>
                </a:ext>
                <a:ext uri="{C183D7F6-B498-43B3-948B-1728B52AA6E4}">
                  <adec:decorative xmlns:adec="http://schemas.microsoft.com/office/drawing/2017/decorative" val="1"/>
                </a:ext>
              </a:extLst>
            </p:cNvPr>
            <p:cNvSpPr/>
            <p:nvPr/>
          </p:nvSpPr>
          <p:spPr>
            <a:xfrm>
              <a:off x="7724994" y="4594346"/>
              <a:ext cx="274320" cy="147031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endParaRPr>
            </a:p>
          </p:txBody>
        </p:sp>
        <p:cxnSp>
          <p:nvCxnSpPr>
            <p:cNvPr id="9" name="Straight Arrow Connector 8">
              <a:extLst>
                <a:ext uri="{FF2B5EF4-FFF2-40B4-BE49-F238E27FC236}">
                  <a16:creationId xmlns:a16="http://schemas.microsoft.com/office/drawing/2014/main" id="{896F2679-739F-42FD-8AB4-55D14255D61E}"/>
                </a:ext>
                <a:ext uri="{C183D7F6-B498-43B3-948B-1728B52AA6E4}">
                  <adec:decorative xmlns:adec="http://schemas.microsoft.com/office/drawing/2017/decorative" val="1"/>
                </a:ext>
              </a:extLst>
            </p:cNvPr>
            <p:cNvCxnSpPr>
              <a:cxnSpLocks/>
            </p:cNvCxnSpPr>
            <p:nvPr/>
          </p:nvCxnSpPr>
          <p:spPr>
            <a:xfrm>
              <a:off x="8009577" y="3638686"/>
              <a:ext cx="1207250" cy="0"/>
            </a:xfrm>
            <a:prstGeom prst="straightConnector1">
              <a:avLst/>
            </a:prstGeom>
            <a:ln w="19050" cap="flat" cmpd="sng" algn="ctr">
              <a:solidFill>
                <a:schemeClr val="bg1">
                  <a:lumMod val="50000"/>
                </a:schemeClr>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10" name="Straight Arrow Connector 9">
              <a:extLst>
                <a:ext uri="{FF2B5EF4-FFF2-40B4-BE49-F238E27FC236}">
                  <a16:creationId xmlns:a16="http://schemas.microsoft.com/office/drawing/2014/main" id="{5694C52B-6773-47A1-BAFE-044E64E79DB2}"/>
                </a:ext>
                <a:ext uri="{C183D7F6-B498-43B3-948B-1728B52AA6E4}">
                  <adec:decorative xmlns:adec="http://schemas.microsoft.com/office/drawing/2017/decorative" val="1"/>
                </a:ext>
              </a:extLst>
            </p:cNvPr>
            <p:cNvCxnSpPr/>
            <p:nvPr/>
          </p:nvCxnSpPr>
          <p:spPr>
            <a:xfrm>
              <a:off x="8009577" y="4567377"/>
              <a:ext cx="1207250" cy="0"/>
            </a:xfrm>
            <a:prstGeom prst="straightConnector1">
              <a:avLst/>
            </a:prstGeom>
            <a:ln w="19050" cap="flat" cmpd="sng" algn="ctr">
              <a:solidFill>
                <a:schemeClr val="bg1">
                  <a:lumMod val="50000"/>
                </a:schemeClr>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1" name="Right Bracket 10">
              <a:extLst>
                <a:ext uri="{FF2B5EF4-FFF2-40B4-BE49-F238E27FC236}">
                  <a16:creationId xmlns:a16="http://schemas.microsoft.com/office/drawing/2014/main" id="{33AA5E0E-FF3A-4D78-ADBC-22D8B8CE59EE}"/>
                </a:ext>
                <a:ext uri="{C183D7F6-B498-43B3-948B-1728B52AA6E4}">
                  <adec:decorative xmlns:adec="http://schemas.microsoft.com/office/drawing/2017/decorative" val="1"/>
                </a:ext>
              </a:extLst>
            </p:cNvPr>
            <p:cNvSpPr/>
            <p:nvPr/>
          </p:nvSpPr>
          <p:spPr>
            <a:xfrm>
              <a:off x="9261647" y="4594346"/>
              <a:ext cx="114582" cy="1470310"/>
            </a:xfrm>
            <a:prstGeom prst="rightBracket">
              <a:avLst/>
            </a:prstGeom>
            <a:ln w="12700">
              <a:solidFill>
                <a:schemeClr val="bg1">
                  <a:lumMod val="50000"/>
                </a:schemeClr>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endParaRPr>
            </a:p>
          </p:txBody>
        </p:sp>
        <p:cxnSp>
          <p:nvCxnSpPr>
            <p:cNvPr id="12" name="Straight Arrow Connector 11">
              <a:extLst>
                <a:ext uri="{FF2B5EF4-FFF2-40B4-BE49-F238E27FC236}">
                  <a16:creationId xmlns:a16="http://schemas.microsoft.com/office/drawing/2014/main" id="{539C00E5-047C-4AAD-9671-47C848BA841D}"/>
                </a:ext>
                <a:ext uri="{C183D7F6-B498-43B3-948B-1728B52AA6E4}">
                  <adec:decorative xmlns:adec="http://schemas.microsoft.com/office/drawing/2017/decorative" val="1"/>
                </a:ext>
              </a:extLst>
            </p:cNvPr>
            <p:cNvCxnSpPr/>
            <p:nvPr/>
          </p:nvCxnSpPr>
          <p:spPr>
            <a:xfrm flipV="1">
              <a:off x="7594150" y="1670170"/>
              <a:ext cx="9214" cy="4476772"/>
            </a:xfrm>
            <a:prstGeom prst="straightConnector1">
              <a:avLst/>
            </a:prstGeom>
            <a:ln w="19050" cap="flat" cmpd="sng" algn="ctr">
              <a:solidFill>
                <a:schemeClr val="bg1">
                  <a:lumMod val="50000"/>
                </a:schemeClr>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13" name="Straight Arrow Connector 12">
              <a:extLst>
                <a:ext uri="{FF2B5EF4-FFF2-40B4-BE49-F238E27FC236}">
                  <a16:creationId xmlns:a16="http://schemas.microsoft.com/office/drawing/2014/main" id="{24990F7F-4AEE-4FFE-ACD1-8A507E475A74}"/>
                </a:ext>
                <a:ext uri="{C183D7F6-B498-43B3-948B-1728B52AA6E4}">
                  <adec:decorative xmlns:adec="http://schemas.microsoft.com/office/drawing/2017/decorative" val="1"/>
                </a:ext>
              </a:extLst>
            </p:cNvPr>
            <p:cNvCxnSpPr>
              <a:cxnSpLocks/>
            </p:cNvCxnSpPr>
            <p:nvPr/>
          </p:nvCxnSpPr>
          <p:spPr>
            <a:xfrm flipV="1">
              <a:off x="7594150" y="6145728"/>
              <a:ext cx="3691614" cy="1"/>
            </a:xfrm>
            <a:prstGeom prst="straightConnector1">
              <a:avLst/>
            </a:prstGeom>
            <a:ln w="19050" cap="flat" cmpd="sng" algn="ctr">
              <a:solidFill>
                <a:schemeClr val="bg1">
                  <a:lumMod val="50000"/>
                </a:schemeClr>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4" name="TextBox 13">
              <a:extLst>
                <a:ext uri="{FF2B5EF4-FFF2-40B4-BE49-F238E27FC236}">
                  <a16:creationId xmlns:a16="http://schemas.microsoft.com/office/drawing/2014/main" id="{88B2A496-FA99-4601-AEE7-22542621E2E7}"/>
                </a:ext>
                <a:ext uri="{C183D7F6-B498-43B3-948B-1728B52AA6E4}">
                  <adec:decorative xmlns:adec="http://schemas.microsoft.com/office/drawing/2017/decorative" val="1"/>
                </a:ext>
              </a:extLst>
            </p:cNvPr>
            <p:cNvSpPr txBox="1"/>
            <p:nvPr/>
          </p:nvSpPr>
          <p:spPr>
            <a:xfrm rot="16200000">
              <a:off x="6087157" y="4029528"/>
              <a:ext cx="250106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UI Semilight"/>
                  <a:ea typeface="+mn-ea"/>
                  <a:cs typeface="Segoe UI Light" panose="020B0502040204020203" pitchFamily="34" charset="0"/>
                </a:rPr>
                <a:t>Incoming Requests</a:t>
              </a:r>
            </a:p>
          </p:txBody>
        </p:sp>
        <p:sp>
          <p:nvSpPr>
            <p:cNvPr id="15" name="TextBox 14">
              <a:extLst>
                <a:ext uri="{FF2B5EF4-FFF2-40B4-BE49-F238E27FC236}">
                  <a16:creationId xmlns:a16="http://schemas.microsoft.com/office/drawing/2014/main" id="{E44C1E7B-3B65-4113-A00A-C5CE38D916FA}"/>
                </a:ext>
                <a:ext uri="{C183D7F6-B498-43B3-948B-1728B52AA6E4}">
                  <adec:decorative xmlns:adec="http://schemas.microsoft.com/office/drawing/2017/decorative" val="1"/>
                </a:ext>
              </a:extLst>
            </p:cNvPr>
            <p:cNvSpPr txBox="1"/>
            <p:nvPr/>
          </p:nvSpPr>
          <p:spPr>
            <a:xfrm>
              <a:off x="9435933" y="5175613"/>
              <a:ext cx="183471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Replica Quiescent </a:t>
              </a:r>
            </a:p>
          </p:txBody>
        </p:sp>
        <p:sp>
          <p:nvSpPr>
            <p:cNvPr id="16" name="Right Bracket 15">
              <a:extLst>
                <a:ext uri="{FF2B5EF4-FFF2-40B4-BE49-F238E27FC236}">
                  <a16:creationId xmlns:a16="http://schemas.microsoft.com/office/drawing/2014/main" id="{9066E086-7EAF-42C1-A349-4ADFD84EA61A}"/>
                </a:ext>
                <a:ext uri="{C183D7F6-B498-43B3-948B-1728B52AA6E4}">
                  <adec:decorative xmlns:adec="http://schemas.microsoft.com/office/drawing/2017/decorative" val="1"/>
                </a:ext>
              </a:extLst>
            </p:cNvPr>
            <p:cNvSpPr/>
            <p:nvPr/>
          </p:nvSpPr>
          <p:spPr>
            <a:xfrm>
              <a:off x="9261647" y="3664572"/>
              <a:ext cx="114582" cy="878050"/>
            </a:xfrm>
            <a:prstGeom prst="rightBracket">
              <a:avLst/>
            </a:prstGeom>
            <a:ln w="12700">
              <a:solidFill>
                <a:schemeClr val="bg1">
                  <a:lumMod val="50000"/>
                </a:schemeClr>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endParaRPr>
            </a:p>
          </p:txBody>
        </p:sp>
        <p:sp>
          <p:nvSpPr>
            <p:cNvPr id="17" name="Right Bracket 16">
              <a:extLst>
                <a:ext uri="{FF2B5EF4-FFF2-40B4-BE49-F238E27FC236}">
                  <a16:creationId xmlns:a16="http://schemas.microsoft.com/office/drawing/2014/main" id="{6F8A23AD-F596-4B79-BF06-239D0F255A96}"/>
                </a:ext>
                <a:ext uri="{C183D7F6-B498-43B3-948B-1728B52AA6E4}">
                  <adec:decorative xmlns:adec="http://schemas.microsoft.com/office/drawing/2017/decorative" val="1"/>
                </a:ext>
              </a:extLst>
            </p:cNvPr>
            <p:cNvSpPr/>
            <p:nvPr/>
          </p:nvSpPr>
          <p:spPr>
            <a:xfrm>
              <a:off x="9261647" y="2193373"/>
              <a:ext cx="114582" cy="1420557"/>
            </a:xfrm>
            <a:prstGeom prst="rightBracket">
              <a:avLst/>
            </a:prstGeom>
            <a:ln w="12700">
              <a:solidFill>
                <a:schemeClr val="bg1">
                  <a:lumMod val="50000"/>
                </a:schemeClr>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endParaRPr>
            </a:p>
          </p:txBody>
        </p:sp>
        <p:sp>
          <p:nvSpPr>
            <p:cNvPr id="18" name="Rounded Rectangle 559">
              <a:extLst>
                <a:ext uri="{FF2B5EF4-FFF2-40B4-BE49-F238E27FC236}">
                  <a16:creationId xmlns:a16="http://schemas.microsoft.com/office/drawing/2014/main" id="{C1AAB14B-A282-4CDD-879B-CAF233544554}"/>
                </a:ext>
                <a:ext uri="{C183D7F6-B498-43B3-948B-1728B52AA6E4}">
                  <adec:decorative xmlns:adec="http://schemas.microsoft.com/office/drawing/2017/decorative" val="1"/>
                </a:ext>
              </a:extLst>
            </p:cNvPr>
            <p:cNvSpPr/>
            <p:nvPr/>
          </p:nvSpPr>
          <p:spPr>
            <a:xfrm>
              <a:off x="7724994" y="2085782"/>
              <a:ext cx="274320" cy="1528148"/>
            </a:xfrm>
            <a:prstGeom prst="rect">
              <a:avLst/>
            </a:prstGeom>
            <a:solidFill>
              <a:srgbClr val="C7C7C7"/>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endParaRPr>
            </a:p>
          </p:txBody>
        </p:sp>
        <p:cxnSp>
          <p:nvCxnSpPr>
            <p:cNvPr id="19" name="Straight Connector 18">
              <a:extLst>
                <a:ext uri="{FF2B5EF4-FFF2-40B4-BE49-F238E27FC236}">
                  <a16:creationId xmlns:a16="http://schemas.microsoft.com/office/drawing/2014/main" id="{B6EE0A10-7CB0-42BF-A090-CDA2DF86E44A}"/>
                </a:ext>
                <a:ext uri="{C183D7F6-B498-43B3-948B-1728B52AA6E4}">
                  <adec:decorative xmlns:adec="http://schemas.microsoft.com/office/drawing/2017/decorative" val="1"/>
                </a:ext>
              </a:extLst>
            </p:cNvPr>
            <p:cNvCxnSpPr/>
            <p:nvPr/>
          </p:nvCxnSpPr>
          <p:spPr>
            <a:xfrm>
              <a:off x="7682026" y="3282755"/>
              <a:ext cx="367145" cy="0"/>
            </a:xfrm>
            <a:prstGeom prst="line">
              <a:avLst/>
            </a:prstGeom>
            <a:ln w="19050">
              <a:solidFill>
                <a:schemeClr val="bg1">
                  <a:lumMod val="95000"/>
                </a:schemeClr>
              </a:solidFill>
            </a:ln>
          </p:spPr>
          <p:style>
            <a:lnRef idx="2">
              <a:schemeClr val="dk1"/>
            </a:lnRef>
            <a:fillRef idx="0">
              <a:schemeClr val="dk1"/>
            </a:fillRef>
            <a:effectRef idx="1">
              <a:schemeClr val="dk1"/>
            </a:effectRef>
            <a:fontRef idx="minor">
              <a:schemeClr val="tx1"/>
            </a:fontRef>
          </p:style>
        </p:cxnSp>
        <p:cxnSp>
          <p:nvCxnSpPr>
            <p:cNvPr id="20" name="Straight Connector 19">
              <a:extLst>
                <a:ext uri="{FF2B5EF4-FFF2-40B4-BE49-F238E27FC236}">
                  <a16:creationId xmlns:a16="http://schemas.microsoft.com/office/drawing/2014/main" id="{51C3ED07-EC96-427E-9F48-BBE0E9BEFB00}"/>
                </a:ext>
                <a:ext uri="{C183D7F6-B498-43B3-948B-1728B52AA6E4}">
                  <adec:decorative xmlns:adec="http://schemas.microsoft.com/office/drawing/2017/decorative" val="1"/>
                </a:ext>
              </a:extLst>
            </p:cNvPr>
            <p:cNvCxnSpPr/>
            <p:nvPr/>
          </p:nvCxnSpPr>
          <p:spPr>
            <a:xfrm>
              <a:off x="7682026" y="3109596"/>
              <a:ext cx="367145" cy="0"/>
            </a:xfrm>
            <a:prstGeom prst="line">
              <a:avLst/>
            </a:prstGeom>
            <a:ln w="19050">
              <a:solidFill>
                <a:schemeClr val="bg1">
                  <a:lumMod val="95000"/>
                </a:schemeClr>
              </a:solidFill>
            </a:ln>
          </p:spPr>
          <p:style>
            <a:lnRef idx="2">
              <a:schemeClr val="dk1"/>
            </a:lnRef>
            <a:fillRef idx="0">
              <a:schemeClr val="dk1"/>
            </a:fillRef>
            <a:effectRef idx="1">
              <a:schemeClr val="dk1"/>
            </a:effectRef>
            <a:fontRef idx="minor">
              <a:schemeClr val="tx1"/>
            </a:fontRef>
          </p:style>
        </p:cxnSp>
        <p:cxnSp>
          <p:nvCxnSpPr>
            <p:cNvPr id="21" name="Straight Connector 20">
              <a:extLst>
                <a:ext uri="{FF2B5EF4-FFF2-40B4-BE49-F238E27FC236}">
                  <a16:creationId xmlns:a16="http://schemas.microsoft.com/office/drawing/2014/main" id="{77C1A6BC-08B6-4969-A38E-6E7EC94679AD}"/>
                </a:ext>
                <a:ext uri="{C183D7F6-B498-43B3-948B-1728B52AA6E4}">
                  <adec:decorative xmlns:adec="http://schemas.microsoft.com/office/drawing/2017/decorative" val="1"/>
                </a:ext>
              </a:extLst>
            </p:cNvPr>
            <p:cNvCxnSpPr/>
            <p:nvPr/>
          </p:nvCxnSpPr>
          <p:spPr>
            <a:xfrm>
              <a:off x="7682026" y="2936437"/>
              <a:ext cx="367145" cy="0"/>
            </a:xfrm>
            <a:prstGeom prst="line">
              <a:avLst/>
            </a:prstGeom>
            <a:ln w="19050">
              <a:solidFill>
                <a:schemeClr val="bg1">
                  <a:lumMod val="95000"/>
                </a:schemeClr>
              </a:solidFill>
            </a:ln>
          </p:spPr>
          <p:style>
            <a:lnRef idx="2">
              <a:schemeClr val="dk1"/>
            </a:lnRef>
            <a:fillRef idx="0">
              <a:schemeClr val="dk1"/>
            </a:fillRef>
            <a:effectRef idx="1">
              <a:schemeClr val="dk1"/>
            </a:effectRef>
            <a:fontRef idx="minor">
              <a:schemeClr val="tx1"/>
            </a:fontRef>
          </p:style>
        </p:cxnSp>
        <p:cxnSp>
          <p:nvCxnSpPr>
            <p:cNvPr id="22" name="Straight Connector 21">
              <a:extLst>
                <a:ext uri="{FF2B5EF4-FFF2-40B4-BE49-F238E27FC236}">
                  <a16:creationId xmlns:a16="http://schemas.microsoft.com/office/drawing/2014/main" id="{6A23C574-E2FE-4CB0-9673-C0C9B14FDB03}"/>
                </a:ext>
                <a:ext uri="{C183D7F6-B498-43B3-948B-1728B52AA6E4}">
                  <adec:decorative xmlns:adec="http://schemas.microsoft.com/office/drawing/2017/decorative" val="1"/>
                </a:ext>
              </a:extLst>
            </p:cNvPr>
            <p:cNvCxnSpPr/>
            <p:nvPr/>
          </p:nvCxnSpPr>
          <p:spPr>
            <a:xfrm>
              <a:off x="7682026" y="2763279"/>
              <a:ext cx="367145" cy="0"/>
            </a:xfrm>
            <a:prstGeom prst="line">
              <a:avLst/>
            </a:prstGeom>
            <a:ln w="19050">
              <a:solidFill>
                <a:schemeClr val="bg1">
                  <a:lumMod val="95000"/>
                </a:schemeClr>
              </a:solidFill>
            </a:ln>
          </p:spPr>
          <p:style>
            <a:lnRef idx="2">
              <a:schemeClr val="dk1"/>
            </a:lnRef>
            <a:fillRef idx="0">
              <a:schemeClr val="dk1"/>
            </a:fillRef>
            <a:effectRef idx="1">
              <a:schemeClr val="dk1"/>
            </a:effectRef>
            <a:fontRef idx="minor">
              <a:schemeClr val="tx1"/>
            </a:fontRef>
          </p:style>
        </p:cxnSp>
        <p:cxnSp>
          <p:nvCxnSpPr>
            <p:cNvPr id="23" name="Straight Connector 22">
              <a:extLst>
                <a:ext uri="{FF2B5EF4-FFF2-40B4-BE49-F238E27FC236}">
                  <a16:creationId xmlns:a16="http://schemas.microsoft.com/office/drawing/2014/main" id="{A868463B-FC0B-4F14-BD53-441AE6B8477F}"/>
                </a:ext>
                <a:ext uri="{C183D7F6-B498-43B3-948B-1728B52AA6E4}">
                  <adec:decorative xmlns:adec="http://schemas.microsoft.com/office/drawing/2017/decorative" val="1"/>
                </a:ext>
              </a:extLst>
            </p:cNvPr>
            <p:cNvCxnSpPr/>
            <p:nvPr/>
          </p:nvCxnSpPr>
          <p:spPr>
            <a:xfrm>
              <a:off x="7675142" y="2590120"/>
              <a:ext cx="367145" cy="0"/>
            </a:xfrm>
            <a:prstGeom prst="line">
              <a:avLst/>
            </a:prstGeom>
            <a:ln w="19050">
              <a:solidFill>
                <a:schemeClr val="bg1">
                  <a:lumMod val="95000"/>
                </a:schemeClr>
              </a:solidFill>
            </a:ln>
          </p:spPr>
          <p:style>
            <a:lnRef idx="2">
              <a:schemeClr val="dk1"/>
            </a:lnRef>
            <a:fillRef idx="0">
              <a:schemeClr val="dk1"/>
            </a:fillRef>
            <a:effectRef idx="1">
              <a:schemeClr val="dk1"/>
            </a:effectRef>
            <a:fontRef idx="minor">
              <a:schemeClr val="tx1"/>
            </a:fontRef>
          </p:style>
        </p:cxnSp>
        <p:cxnSp>
          <p:nvCxnSpPr>
            <p:cNvPr id="24" name="Straight Connector 23">
              <a:extLst>
                <a:ext uri="{FF2B5EF4-FFF2-40B4-BE49-F238E27FC236}">
                  <a16:creationId xmlns:a16="http://schemas.microsoft.com/office/drawing/2014/main" id="{61B739CC-3D17-4129-A179-DC0AB420DBD1}"/>
                </a:ext>
                <a:ext uri="{C183D7F6-B498-43B3-948B-1728B52AA6E4}">
                  <adec:decorative xmlns:adec="http://schemas.microsoft.com/office/drawing/2017/decorative" val="1"/>
                </a:ext>
              </a:extLst>
            </p:cNvPr>
            <p:cNvCxnSpPr/>
            <p:nvPr/>
          </p:nvCxnSpPr>
          <p:spPr>
            <a:xfrm>
              <a:off x="7682009" y="2416961"/>
              <a:ext cx="367145" cy="0"/>
            </a:xfrm>
            <a:prstGeom prst="line">
              <a:avLst/>
            </a:prstGeom>
            <a:ln w="19050">
              <a:solidFill>
                <a:schemeClr val="bg1">
                  <a:lumMod val="95000"/>
                </a:schemeClr>
              </a:solidFill>
            </a:ln>
          </p:spPr>
          <p:style>
            <a:lnRef idx="2">
              <a:schemeClr val="dk1"/>
            </a:lnRef>
            <a:fillRef idx="0">
              <a:schemeClr val="dk1"/>
            </a:fillRef>
            <a:effectRef idx="1">
              <a:schemeClr val="dk1"/>
            </a:effectRef>
            <a:fontRef idx="minor">
              <a:schemeClr val="tx1"/>
            </a:fontRef>
          </p:style>
        </p:cxnSp>
        <p:cxnSp>
          <p:nvCxnSpPr>
            <p:cNvPr id="25" name="Straight Connector 24">
              <a:extLst>
                <a:ext uri="{FF2B5EF4-FFF2-40B4-BE49-F238E27FC236}">
                  <a16:creationId xmlns:a16="http://schemas.microsoft.com/office/drawing/2014/main" id="{6AD7795E-D17F-4091-B54C-282D0AC6E823}"/>
                </a:ext>
                <a:ext uri="{C183D7F6-B498-43B3-948B-1728B52AA6E4}">
                  <adec:decorative xmlns:adec="http://schemas.microsoft.com/office/drawing/2017/decorative" val="1"/>
                </a:ext>
              </a:extLst>
            </p:cNvPr>
            <p:cNvCxnSpPr/>
            <p:nvPr/>
          </p:nvCxnSpPr>
          <p:spPr>
            <a:xfrm>
              <a:off x="7682026" y="3455912"/>
              <a:ext cx="367145" cy="0"/>
            </a:xfrm>
            <a:prstGeom prst="line">
              <a:avLst/>
            </a:prstGeom>
            <a:ln w="19050">
              <a:solidFill>
                <a:schemeClr val="bg1">
                  <a:lumMod val="95000"/>
                </a:schemeClr>
              </a:solidFill>
            </a:ln>
          </p:spPr>
          <p:style>
            <a:lnRef idx="2">
              <a:schemeClr val="dk1"/>
            </a:lnRef>
            <a:fillRef idx="0">
              <a:schemeClr val="dk1"/>
            </a:fillRef>
            <a:effectRef idx="1">
              <a:schemeClr val="dk1"/>
            </a:effectRef>
            <a:fontRef idx="minor">
              <a:schemeClr val="tx1"/>
            </a:fontRef>
          </p:style>
        </p:cxnSp>
        <p:cxnSp>
          <p:nvCxnSpPr>
            <p:cNvPr id="26" name="Straight Connector 25">
              <a:extLst>
                <a:ext uri="{FF2B5EF4-FFF2-40B4-BE49-F238E27FC236}">
                  <a16:creationId xmlns:a16="http://schemas.microsoft.com/office/drawing/2014/main" id="{4C13752C-07F1-4590-A896-BDF9F90DEEC3}"/>
                </a:ext>
                <a:ext uri="{C183D7F6-B498-43B3-948B-1728B52AA6E4}">
                  <adec:decorative xmlns:adec="http://schemas.microsoft.com/office/drawing/2017/decorative" val="1"/>
                </a:ext>
              </a:extLst>
            </p:cNvPr>
            <p:cNvCxnSpPr/>
            <p:nvPr/>
          </p:nvCxnSpPr>
          <p:spPr>
            <a:xfrm>
              <a:off x="7675137" y="2243802"/>
              <a:ext cx="367145" cy="0"/>
            </a:xfrm>
            <a:prstGeom prst="line">
              <a:avLst/>
            </a:prstGeom>
            <a:ln w="19050">
              <a:solidFill>
                <a:schemeClr val="bg1">
                  <a:lumMod val="95000"/>
                </a:schemeClr>
              </a:solidFill>
            </a:ln>
          </p:spPr>
          <p:style>
            <a:lnRef idx="2">
              <a:schemeClr val="dk1"/>
            </a:lnRef>
            <a:fillRef idx="0">
              <a:schemeClr val="dk1"/>
            </a:fillRef>
            <a:effectRef idx="1">
              <a:schemeClr val="dk1"/>
            </a:effectRef>
            <a:fontRef idx="minor">
              <a:schemeClr val="tx1"/>
            </a:fontRef>
          </p:style>
        </p:cxnSp>
        <p:sp>
          <p:nvSpPr>
            <p:cNvPr id="27" name="TextBox 26">
              <a:extLst>
                <a:ext uri="{FF2B5EF4-FFF2-40B4-BE49-F238E27FC236}">
                  <a16:creationId xmlns:a16="http://schemas.microsoft.com/office/drawing/2014/main" id="{D3781D96-B4DF-40E4-8994-5285D76A9CEA}"/>
                </a:ext>
                <a:ext uri="{C183D7F6-B498-43B3-948B-1728B52AA6E4}">
                  <adec:decorative xmlns:adec="http://schemas.microsoft.com/office/drawing/2017/decorative" val="1"/>
                </a:ext>
              </a:extLst>
            </p:cNvPr>
            <p:cNvSpPr txBox="1"/>
            <p:nvPr/>
          </p:nvSpPr>
          <p:spPr>
            <a:xfrm>
              <a:off x="9435933" y="2749763"/>
              <a:ext cx="118961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Rate limit</a:t>
              </a:r>
            </a:p>
          </p:txBody>
        </p:sp>
        <p:sp>
          <p:nvSpPr>
            <p:cNvPr id="28" name="TextBox 27">
              <a:extLst>
                <a:ext uri="{FF2B5EF4-FFF2-40B4-BE49-F238E27FC236}">
                  <a16:creationId xmlns:a16="http://schemas.microsoft.com/office/drawing/2014/main" id="{A4673368-06C0-4308-AB69-0B560736B859}"/>
                </a:ext>
                <a:ext uri="{C183D7F6-B498-43B3-948B-1728B52AA6E4}">
                  <adec:decorative xmlns:adec="http://schemas.microsoft.com/office/drawing/2017/decorative" val="1"/>
                </a:ext>
              </a:extLst>
            </p:cNvPr>
            <p:cNvSpPr txBox="1"/>
            <p:nvPr/>
          </p:nvSpPr>
          <p:spPr>
            <a:xfrm>
              <a:off x="9435933" y="3949709"/>
              <a:ext cx="174085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light"/>
                  <a:ea typeface="+mn-ea"/>
                  <a:cs typeface="Segoe UI Light" panose="020B0502040204020203" pitchFamily="34" charset="0"/>
                </a:rPr>
                <a:t>No rate limiting</a:t>
              </a:r>
            </a:p>
          </p:txBody>
        </p:sp>
      </p:grpSp>
    </p:spTree>
    <p:extLst>
      <p:ext uri="{BB962C8B-B14F-4D97-AF65-F5344CB8AC3E}">
        <p14:creationId xmlns:p14="http://schemas.microsoft.com/office/powerpoint/2010/main" val="289956600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10869C-EAF3-41A5-BB55-3364A889C18A}"/>
              </a:ext>
            </a:extLst>
          </p:cNvPr>
          <p:cNvSpPr>
            <a:spLocks noGrp="1"/>
          </p:cNvSpPr>
          <p:nvPr>
            <p:ph type="title"/>
          </p:nvPr>
        </p:nvSpPr>
        <p:spPr>
          <a:xfrm>
            <a:off x="269240" y="289511"/>
            <a:ext cx="7467065" cy="612857"/>
          </a:xfrm>
        </p:spPr>
        <p:txBody>
          <a:bodyPr/>
          <a:lstStyle/>
          <a:p>
            <a:r>
              <a:rPr lang="en-US" dirty="0"/>
              <a:t>Measuring RU CHARGE (1</a:t>
            </a:r>
            <a:r>
              <a:rPr lang="en-US" cap="none" dirty="0"/>
              <a:t> of </a:t>
            </a:r>
            <a:r>
              <a:rPr lang="en-US" dirty="0"/>
              <a:t>2)</a:t>
            </a:r>
          </a:p>
        </p:txBody>
      </p:sp>
      <p:sp>
        <p:nvSpPr>
          <p:cNvPr id="5" name="Text Placeholder 4">
            <a:extLst>
              <a:ext uri="{FF2B5EF4-FFF2-40B4-BE49-F238E27FC236}">
                <a16:creationId xmlns:a16="http://schemas.microsoft.com/office/drawing/2014/main" id="{475BB747-8DD2-4842-81BB-D867188267A9}"/>
              </a:ext>
            </a:extLst>
          </p:cNvPr>
          <p:cNvSpPr>
            <a:spLocks noGrp="1"/>
          </p:cNvSpPr>
          <p:nvPr>
            <p:ph type="body" sz="quarter" idx="10"/>
          </p:nvPr>
        </p:nvSpPr>
        <p:spPr>
          <a:xfrm>
            <a:off x="304240" y="1475047"/>
            <a:ext cx="11655839" cy="4957255"/>
          </a:xfrm>
        </p:spPr>
        <p:txBody>
          <a:bodyPr/>
          <a:lstStyle/>
          <a:p>
            <a:pPr lvl="0">
              <a:spcAft>
                <a:spcPts val="2000"/>
              </a:spcAft>
            </a:pPr>
            <a:r>
              <a:rPr lang="en-US" sz="1600" dirty="0">
                <a:solidFill>
                  <a:srgbClr val="0067B7"/>
                </a:solidFill>
              </a:rPr>
              <a:t>ANALYZE QUERY COMPLEXITY</a:t>
            </a:r>
            <a:endParaRPr lang="en-US" b="0" dirty="0">
              <a:solidFill>
                <a:srgbClr val="0067B7"/>
              </a:solidFill>
            </a:endParaRPr>
          </a:p>
          <a:p>
            <a:pPr>
              <a:spcAft>
                <a:spcPts val="2000"/>
              </a:spcAft>
            </a:pPr>
            <a:r>
              <a:rPr lang="en-US" sz="1600" b="0" dirty="0">
                <a:solidFill>
                  <a:srgbClr val="505050"/>
                </a:solidFill>
                <a:latin typeface="Segoe UI Semilight"/>
              </a:rPr>
              <a:t>The complexity of a query impacts how many Request Units are consumed for an operation. The number of predicates, nature of the predicates, number of system functions, and the number of index matches / query results all influence the cost of query operations.</a:t>
            </a:r>
            <a:endParaRPr lang="en-US" dirty="0">
              <a:solidFill>
                <a:srgbClr val="0078D7"/>
              </a:solidFill>
            </a:endParaRPr>
          </a:p>
          <a:p>
            <a:pPr>
              <a:spcAft>
                <a:spcPts val="2000"/>
              </a:spcAft>
            </a:pPr>
            <a:r>
              <a:rPr lang="en-US" sz="1600" dirty="0">
                <a:solidFill>
                  <a:srgbClr val="0067B7"/>
                </a:solidFill>
              </a:rPr>
              <a:t>MEASURE QUERY COST</a:t>
            </a:r>
            <a:endParaRPr lang="en-US" b="0" dirty="0">
              <a:solidFill>
                <a:srgbClr val="0067B7"/>
              </a:solidFill>
            </a:endParaRPr>
          </a:p>
          <a:p>
            <a:r>
              <a:rPr lang="en-US" sz="1600" b="0" dirty="0">
                <a:solidFill>
                  <a:srgbClr val="505050"/>
                </a:solidFill>
                <a:latin typeface="Segoe UI Semilight"/>
              </a:rPr>
              <a:t>To measure the cost of any operation (create, update, or delete):</a:t>
            </a:r>
          </a:p>
          <a:p>
            <a:pPr marL="497397" lvl="2" indent="-285750"/>
            <a:r>
              <a:rPr lang="en-US" sz="1400" dirty="0">
                <a:solidFill>
                  <a:srgbClr val="505050"/>
                </a:solidFill>
                <a:latin typeface="Segoe UI Semilight"/>
                <a:cs typeface="Segoe UI Semibold" charset="0"/>
              </a:rPr>
              <a:t>Inspect the x-</a:t>
            </a:r>
            <a:r>
              <a:rPr lang="en-US" sz="1400" dirty="0" err="1">
                <a:solidFill>
                  <a:srgbClr val="505050"/>
                </a:solidFill>
                <a:latin typeface="Segoe UI Semilight"/>
                <a:cs typeface="Segoe UI Semibold" charset="0"/>
              </a:rPr>
              <a:t>ms</a:t>
            </a:r>
            <a:r>
              <a:rPr lang="en-US" sz="1400" dirty="0">
                <a:solidFill>
                  <a:srgbClr val="505050"/>
                </a:solidFill>
                <a:latin typeface="Segoe UI Semilight"/>
                <a:cs typeface="Segoe UI Semibold" charset="0"/>
              </a:rPr>
              <a:t>-request-charge header</a:t>
            </a:r>
          </a:p>
          <a:p>
            <a:pPr marL="497397" lvl="2" indent="-285750">
              <a:spcAft>
                <a:spcPts val="2400"/>
              </a:spcAft>
            </a:pPr>
            <a:r>
              <a:rPr lang="en-US" sz="1400" dirty="0">
                <a:solidFill>
                  <a:srgbClr val="505050"/>
                </a:solidFill>
                <a:latin typeface="Segoe UI Semilight"/>
                <a:cs typeface="Segoe UI Semibold" charset="0"/>
              </a:rPr>
              <a:t>Inspect the </a:t>
            </a:r>
            <a:r>
              <a:rPr lang="en-US" sz="1400" dirty="0" err="1">
                <a:solidFill>
                  <a:srgbClr val="505050"/>
                </a:solidFill>
                <a:latin typeface="Segoe UI Semilight"/>
                <a:cs typeface="Segoe UI Semibold" charset="0"/>
              </a:rPr>
              <a:t>RequestCharge</a:t>
            </a:r>
            <a:r>
              <a:rPr lang="en-US" sz="1400" dirty="0">
                <a:solidFill>
                  <a:srgbClr val="505050"/>
                </a:solidFill>
                <a:latin typeface="Segoe UI Semilight"/>
                <a:cs typeface="Segoe UI Semibold" charset="0"/>
              </a:rPr>
              <a:t> property in </a:t>
            </a:r>
            <a:r>
              <a:rPr lang="en-US" sz="1400" dirty="0" err="1">
                <a:solidFill>
                  <a:srgbClr val="505050"/>
                </a:solidFill>
                <a:latin typeface="Segoe UI Semilight"/>
                <a:cs typeface="Segoe UI Semibold" charset="0"/>
              </a:rPr>
              <a:t>ResourceResponse</a:t>
            </a:r>
            <a:r>
              <a:rPr lang="en-US" sz="1400" dirty="0">
                <a:solidFill>
                  <a:srgbClr val="505050"/>
                </a:solidFill>
                <a:latin typeface="Segoe UI Semilight"/>
                <a:cs typeface="Segoe UI Semibold" charset="0"/>
              </a:rPr>
              <a:t> or </a:t>
            </a:r>
            <a:r>
              <a:rPr lang="en-US" sz="1400" dirty="0" err="1">
                <a:solidFill>
                  <a:srgbClr val="505050"/>
                </a:solidFill>
                <a:latin typeface="Segoe UI Semilight"/>
                <a:cs typeface="Segoe UI Semibold" charset="0"/>
              </a:rPr>
              <a:t>FeedResponse</a:t>
            </a:r>
            <a:r>
              <a:rPr lang="en-US" sz="1400" dirty="0">
                <a:solidFill>
                  <a:srgbClr val="505050"/>
                </a:solidFill>
                <a:latin typeface="Segoe UI Semilight"/>
                <a:cs typeface="Segoe UI Semibold" charset="0"/>
              </a:rPr>
              <a:t> in the SDK</a:t>
            </a:r>
            <a:endParaRPr lang="en-US" sz="1600" dirty="0">
              <a:solidFill>
                <a:srgbClr val="0078D7"/>
              </a:solidFill>
            </a:endParaRPr>
          </a:p>
          <a:p>
            <a:pPr lvl="0">
              <a:spcAft>
                <a:spcPts val="2000"/>
              </a:spcAft>
            </a:pPr>
            <a:r>
              <a:rPr lang="en-US" sz="1600" dirty="0">
                <a:solidFill>
                  <a:srgbClr val="0067B7"/>
                </a:solidFill>
              </a:rPr>
              <a:t>NUMBER OF INDEXED TERMS IMPACTS WRITE RU CHARGES</a:t>
            </a:r>
            <a:endParaRPr lang="en-US" b="0" dirty="0">
              <a:solidFill>
                <a:srgbClr val="0067B7"/>
              </a:solidFill>
            </a:endParaRPr>
          </a:p>
          <a:p>
            <a:pPr>
              <a:spcAft>
                <a:spcPts val="2300"/>
              </a:spcAft>
            </a:pPr>
            <a:r>
              <a:rPr lang="en-US" sz="1600" b="0" dirty="0">
                <a:solidFill>
                  <a:srgbClr val="505050"/>
                </a:solidFill>
                <a:latin typeface="Segoe UI Semilight"/>
              </a:rPr>
              <a:t>Every write operation will require the indexer to run. The more indexed terms you have, the more indexing will be directly having an effect on the RU charge.</a:t>
            </a:r>
          </a:p>
          <a:p>
            <a:r>
              <a:rPr lang="en-US" sz="1600" b="0" dirty="0">
                <a:solidFill>
                  <a:srgbClr val="505050"/>
                </a:solidFill>
                <a:latin typeface="Segoe UI Semilight"/>
              </a:rPr>
              <a:t>You can optimize for this by fine-tuning your index policy to include only fields and/or paths certain to be used in queries.</a:t>
            </a:r>
            <a:endParaRPr lang="en-US" sz="1400" dirty="0">
              <a:solidFill>
                <a:srgbClr val="505050"/>
              </a:solidFill>
              <a:latin typeface="Segoe UI Semilight"/>
              <a:cs typeface="Segoe UI Semibold" charset="0"/>
            </a:endParaRPr>
          </a:p>
        </p:txBody>
      </p:sp>
    </p:spTree>
    <p:extLst>
      <p:ext uri="{BB962C8B-B14F-4D97-AF65-F5344CB8AC3E}">
        <p14:creationId xmlns:p14="http://schemas.microsoft.com/office/powerpoint/2010/main" val="427246211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10869C-EAF3-41A5-BB55-3364A889C18A}"/>
              </a:ext>
            </a:extLst>
          </p:cNvPr>
          <p:cNvSpPr>
            <a:spLocks noGrp="1"/>
          </p:cNvSpPr>
          <p:nvPr>
            <p:ph type="title"/>
          </p:nvPr>
        </p:nvSpPr>
        <p:spPr>
          <a:xfrm>
            <a:off x="269240" y="289512"/>
            <a:ext cx="7443002" cy="648952"/>
          </a:xfrm>
        </p:spPr>
        <p:txBody>
          <a:bodyPr/>
          <a:lstStyle/>
          <a:p>
            <a:r>
              <a:rPr lang="en-US" dirty="0"/>
              <a:t>Measuring RU CHARGE (2</a:t>
            </a:r>
            <a:r>
              <a:rPr lang="en-US" cap="none" dirty="0"/>
              <a:t> of </a:t>
            </a:r>
            <a:r>
              <a:rPr lang="en-US" dirty="0"/>
              <a:t>2)</a:t>
            </a:r>
          </a:p>
        </p:txBody>
      </p:sp>
      <p:sp>
        <p:nvSpPr>
          <p:cNvPr id="5" name="Text Placeholder 4">
            <a:extLst>
              <a:ext uri="{FF2B5EF4-FFF2-40B4-BE49-F238E27FC236}">
                <a16:creationId xmlns:a16="http://schemas.microsoft.com/office/drawing/2014/main" id="{475BB747-8DD2-4842-81BB-D867188267A9}"/>
              </a:ext>
            </a:extLst>
          </p:cNvPr>
          <p:cNvSpPr>
            <a:spLocks noGrp="1"/>
          </p:cNvSpPr>
          <p:nvPr>
            <p:ph type="body" sz="quarter" idx="10"/>
          </p:nvPr>
        </p:nvSpPr>
        <p:spPr>
          <a:xfrm>
            <a:off x="269239" y="1925685"/>
            <a:ext cx="11655839" cy="3141373"/>
          </a:xfrm>
        </p:spPr>
        <p:txBody>
          <a:bodyPr/>
          <a:lstStyle/>
          <a:p>
            <a:pPr>
              <a:spcAft>
                <a:spcPts val="2400"/>
              </a:spcAft>
            </a:pPr>
            <a:r>
              <a:rPr lang="en-US" sz="1600" dirty="0">
                <a:solidFill>
                  <a:srgbClr val="0067B7"/>
                </a:solidFill>
              </a:rPr>
              <a:t>STABILIZED LOGICAL CHARGES</a:t>
            </a:r>
            <a:endParaRPr lang="en-US" sz="1600" b="0" strike="sngStrike" dirty="0">
              <a:solidFill>
                <a:srgbClr val="0067B7"/>
              </a:solidFill>
            </a:endParaRPr>
          </a:p>
          <a:p>
            <a:pPr>
              <a:spcAft>
                <a:spcPts val="2200"/>
              </a:spcAft>
            </a:pPr>
            <a:r>
              <a:rPr lang="en-US" sz="1600" b="0" dirty="0">
                <a:solidFill>
                  <a:srgbClr val="505050"/>
                </a:solidFill>
                <a:latin typeface="Segoe UI Semilight"/>
              </a:rPr>
              <a:t>Azure Cosmos DB uses information about past runs to produce a stable logical charge for the majority of CRUD or query operations.</a:t>
            </a:r>
          </a:p>
          <a:p>
            <a:pPr>
              <a:spcAft>
                <a:spcPts val="2100"/>
              </a:spcAft>
            </a:pPr>
            <a:r>
              <a:rPr lang="en-US" sz="1600" b="0" dirty="0">
                <a:solidFill>
                  <a:srgbClr val="505050"/>
                </a:solidFill>
                <a:latin typeface="Segoe UI Semilight"/>
              </a:rPr>
              <a:t>Since this stable charge exists, we can rely on our operations having a </a:t>
            </a:r>
            <a:r>
              <a:rPr lang="en-US" sz="1600" dirty="0">
                <a:solidFill>
                  <a:srgbClr val="505050"/>
                </a:solidFill>
                <a:latin typeface="Segoe UI Semibold" panose="020B0702040204020203" pitchFamily="34" charset="0"/>
                <a:cs typeface="Segoe UI Semibold" panose="020B0702040204020203" pitchFamily="34" charset="0"/>
              </a:rPr>
              <a:t>high degree of predictability</a:t>
            </a:r>
            <a:r>
              <a:rPr lang="en-US" sz="1600" b="0" dirty="0">
                <a:solidFill>
                  <a:srgbClr val="505050"/>
                </a:solidFill>
                <a:latin typeface="Segoe UI Semilight"/>
                <a:cs typeface="Segoe UI Semibold" panose="020B0702040204020203" pitchFamily="34" charset="0"/>
              </a:rPr>
              <a:t> </a:t>
            </a:r>
            <a:r>
              <a:rPr lang="en-US" sz="1600" b="0" dirty="0">
                <a:solidFill>
                  <a:srgbClr val="505050"/>
                </a:solidFill>
                <a:latin typeface="Segoe UI Semilight"/>
              </a:rPr>
              <a:t>with very little variation. We can use the predictable RU charges for future capacity planning.</a:t>
            </a:r>
            <a:endParaRPr lang="en-US" dirty="0">
              <a:solidFill>
                <a:srgbClr val="0078D7"/>
              </a:solidFill>
            </a:endParaRPr>
          </a:p>
          <a:p>
            <a:pPr>
              <a:spcAft>
                <a:spcPts val="2000"/>
              </a:spcAft>
            </a:pPr>
            <a:r>
              <a:rPr lang="en-US" sz="1600" dirty="0">
                <a:solidFill>
                  <a:srgbClr val="0067B7"/>
                </a:solidFill>
              </a:rPr>
              <a:t>BULK OF QUERY RU CHARGES IS IO</a:t>
            </a:r>
            <a:endParaRPr lang="en-US" b="0" dirty="0">
              <a:solidFill>
                <a:srgbClr val="0067B7"/>
              </a:solidFill>
            </a:endParaRPr>
          </a:p>
          <a:p>
            <a:r>
              <a:rPr lang="en-US" sz="1600" b="0" dirty="0">
                <a:solidFill>
                  <a:srgbClr val="505050"/>
                </a:solidFill>
                <a:latin typeface="Segoe UI Semilight"/>
              </a:rPr>
              <a:t>Query RU is directly proportional to the quantity of query results.</a:t>
            </a:r>
          </a:p>
        </p:txBody>
      </p:sp>
    </p:spTree>
    <p:extLst>
      <p:ext uri="{BB962C8B-B14F-4D97-AF65-F5344CB8AC3E}">
        <p14:creationId xmlns:p14="http://schemas.microsoft.com/office/powerpoint/2010/main" val="254096475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F44B0-691F-4AC3-844D-213EEDFCB55A}"/>
              </a:ext>
            </a:extLst>
          </p:cNvPr>
          <p:cNvSpPr>
            <a:spLocks noGrp="1"/>
          </p:cNvSpPr>
          <p:nvPr>
            <p:ph type="title"/>
          </p:nvPr>
        </p:nvSpPr>
        <p:spPr>
          <a:xfrm>
            <a:off x="1077284" y="289511"/>
            <a:ext cx="10039752" cy="576763"/>
          </a:xfrm>
        </p:spPr>
        <p:txBody>
          <a:bodyPr/>
          <a:lstStyle/>
          <a:p>
            <a:r>
              <a:rPr lang="en-US" dirty="0"/>
              <a:t>RU Charge Measurement Example (1</a:t>
            </a:r>
            <a:r>
              <a:rPr lang="en-US" cap="none" dirty="0"/>
              <a:t> of </a:t>
            </a:r>
            <a:r>
              <a:rPr lang="en-US" dirty="0"/>
              <a:t>3)</a:t>
            </a:r>
          </a:p>
        </p:txBody>
      </p:sp>
      <p:grpSp>
        <p:nvGrpSpPr>
          <p:cNvPr id="8" name="Group 7" descr=".NET logo">
            <a:extLst>
              <a:ext uri="{FF2B5EF4-FFF2-40B4-BE49-F238E27FC236}">
                <a16:creationId xmlns:a16="http://schemas.microsoft.com/office/drawing/2014/main" id="{5634BDA0-0A9F-4C64-98C3-F58091D47E3D}"/>
              </a:ext>
              <a:ext uri="{C183D7F6-B498-43B3-948B-1728B52AA6E4}">
                <adec:decorative xmlns:adec="http://schemas.microsoft.com/office/drawing/2017/decorative" val="0"/>
              </a:ext>
            </a:extLst>
          </p:cNvPr>
          <p:cNvGrpSpPr/>
          <p:nvPr/>
        </p:nvGrpSpPr>
        <p:grpSpPr>
          <a:xfrm>
            <a:off x="11169383" y="5988593"/>
            <a:ext cx="607510" cy="607510"/>
            <a:chOff x="11169383" y="5988593"/>
            <a:chExt cx="607510" cy="607510"/>
          </a:xfrm>
        </p:grpSpPr>
        <p:sp>
          <p:nvSpPr>
            <p:cNvPr id="9" name="Rectangle 8">
              <a:extLst>
                <a:ext uri="{FF2B5EF4-FFF2-40B4-BE49-F238E27FC236}">
                  <a16:creationId xmlns:a16="http://schemas.microsoft.com/office/drawing/2014/main" id="{9C55DCF1-4D09-4BC6-A2AD-C0A03D5AE0AF}"/>
                </a:ext>
                <a:ext uri="{C183D7F6-B498-43B3-948B-1728B52AA6E4}">
                  <adec:decorative xmlns:adec="http://schemas.microsoft.com/office/drawing/2017/decorative" val="1"/>
                </a:ext>
              </a:extLst>
            </p:cNvPr>
            <p:cNvSpPr/>
            <p:nvPr/>
          </p:nvSpPr>
          <p:spPr bwMode="auto">
            <a:xfrm>
              <a:off x="11169383" y="5988593"/>
              <a:ext cx="607510" cy="6075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Freeform: Shape 9">
              <a:extLst>
                <a:ext uri="{FF2B5EF4-FFF2-40B4-BE49-F238E27FC236}">
                  <a16:creationId xmlns:a16="http://schemas.microsoft.com/office/drawing/2014/main" id="{BF05784E-417E-4487-94B1-8A59B9EBCF36}"/>
                </a:ext>
                <a:ext uri="{C183D7F6-B498-43B3-948B-1728B52AA6E4}">
                  <adec:decorative xmlns:adec="http://schemas.microsoft.com/office/drawing/2017/decorative" val="1"/>
                </a:ext>
              </a:extLst>
            </p:cNvPr>
            <p:cNvSpPr/>
            <p:nvPr/>
          </p:nvSpPr>
          <p:spPr bwMode="auto">
            <a:xfrm>
              <a:off x="11253107" y="6209947"/>
              <a:ext cx="435337" cy="165698"/>
            </a:xfrm>
            <a:custGeom>
              <a:avLst/>
              <a:gdLst>
                <a:gd name="connsiteX0" fmla="*/ 24780 w 853976"/>
                <a:gd name="connsiteY0" fmla="*/ 883727 h 933956"/>
                <a:gd name="connsiteX1" fmla="*/ 42639 w 853976"/>
                <a:gd name="connsiteY1" fmla="*/ 891206 h 933956"/>
                <a:gd name="connsiteX2" fmla="*/ 50006 w 853976"/>
                <a:gd name="connsiteY2" fmla="*/ 908953 h 933956"/>
                <a:gd name="connsiteX3" fmla="*/ 42639 w 853976"/>
                <a:gd name="connsiteY3" fmla="*/ 926589 h 933956"/>
                <a:gd name="connsiteX4" fmla="*/ 24780 w 853976"/>
                <a:gd name="connsiteY4" fmla="*/ 933956 h 933956"/>
                <a:gd name="connsiteX5" fmla="*/ 7255 w 853976"/>
                <a:gd name="connsiteY5" fmla="*/ 926589 h 933956"/>
                <a:gd name="connsiteX6" fmla="*/ 0 w 853976"/>
                <a:gd name="connsiteY6" fmla="*/ 908953 h 933956"/>
                <a:gd name="connsiteX7" fmla="*/ 7255 w 853976"/>
                <a:gd name="connsiteY7" fmla="*/ 891206 h 933956"/>
                <a:gd name="connsiteX8" fmla="*/ 24780 w 853976"/>
                <a:gd name="connsiteY8" fmla="*/ 883727 h 933956"/>
                <a:gd name="connsiteX9" fmla="*/ 631850 w 853976"/>
                <a:gd name="connsiteY9" fmla="*/ 608916 h 933956"/>
                <a:gd name="connsiteX10" fmla="*/ 853976 w 853976"/>
                <a:gd name="connsiteY10" fmla="*/ 608916 h 933956"/>
                <a:gd name="connsiteX11" fmla="*/ 853976 w 853976"/>
                <a:gd name="connsiteY11" fmla="*/ 642849 h 933956"/>
                <a:gd name="connsiteX12" fmla="*/ 761554 w 853976"/>
                <a:gd name="connsiteY12" fmla="*/ 642849 h 933956"/>
                <a:gd name="connsiteX13" fmla="*/ 761554 w 853976"/>
                <a:gd name="connsiteY13" fmla="*/ 929045 h 933956"/>
                <a:gd name="connsiteX14" fmla="*/ 724049 w 853976"/>
                <a:gd name="connsiteY14" fmla="*/ 929045 h 933956"/>
                <a:gd name="connsiteX15" fmla="*/ 724049 w 853976"/>
                <a:gd name="connsiteY15" fmla="*/ 642849 h 933956"/>
                <a:gd name="connsiteX16" fmla="*/ 631850 w 853976"/>
                <a:gd name="connsiteY16" fmla="*/ 642849 h 933956"/>
                <a:gd name="connsiteX17" fmla="*/ 631850 w 853976"/>
                <a:gd name="connsiteY17" fmla="*/ 608916 h 933956"/>
                <a:gd name="connsiteX18" fmla="*/ 436067 w 853976"/>
                <a:gd name="connsiteY18" fmla="*/ 608916 h 933956"/>
                <a:gd name="connsiteX19" fmla="*/ 598587 w 853976"/>
                <a:gd name="connsiteY19" fmla="*/ 608916 h 933956"/>
                <a:gd name="connsiteX20" fmla="*/ 598587 w 853976"/>
                <a:gd name="connsiteY20" fmla="*/ 642849 h 933956"/>
                <a:gd name="connsiteX21" fmla="*/ 473571 w 853976"/>
                <a:gd name="connsiteY21" fmla="*/ 642849 h 933956"/>
                <a:gd name="connsiteX22" fmla="*/ 473571 w 853976"/>
                <a:gd name="connsiteY22" fmla="*/ 749335 h 933956"/>
                <a:gd name="connsiteX23" fmla="*/ 589211 w 853976"/>
                <a:gd name="connsiteY23" fmla="*/ 749335 h 933956"/>
                <a:gd name="connsiteX24" fmla="*/ 589211 w 853976"/>
                <a:gd name="connsiteY24" fmla="*/ 783045 h 933956"/>
                <a:gd name="connsiteX25" fmla="*/ 473571 w 853976"/>
                <a:gd name="connsiteY25" fmla="*/ 783045 h 933956"/>
                <a:gd name="connsiteX26" fmla="*/ 473571 w 853976"/>
                <a:gd name="connsiteY26" fmla="*/ 895112 h 933956"/>
                <a:gd name="connsiteX27" fmla="*/ 605731 w 853976"/>
                <a:gd name="connsiteY27" fmla="*/ 895112 h 933956"/>
                <a:gd name="connsiteX28" fmla="*/ 605731 w 853976"/>
                <a:gd name="connsiteY28" fmla="*/ 929045 h 933956"/>
                <a:gd name="connsiteX29" fmla="*/ 436067 w 853976"/>
                <a:gd name="connsiteY29" fmla="*/ 929045 h 933956"/>
                <a:gd name="connsiteX30" fmla="*/ 436067 w 853976"/>
                <a:gd name="connsiteY30" fmla="*/ 608916 h 933956"/>
                <a:gd name="connsiteX31" fmla="*/ 102691 w 853976"/>
                <a:gd name="connsiteY31" fmla="*/ 608916 h 933956"/>
                <a:gd name="connsiteX32" fmla="*/ 151359 w 853976"/>
                <a:gd name="connsiteY32" fmla="*/ 608916 h 933956"/>
                <a:gd name="connsiteX33" fmla="*/ 311646 w 853976"/>
                <a:gd name="connsiteY33" fmla="*/ 860063 h 933956"/>
                <a:gd name="connsiteX34" fmla="*/ 324594 w 853976"/>
                <a:gd name="connsiteY34" fmla="*/ 881495 h 933956"/>
                <a:gd name="connsiteX35" fmla="*/ 325487 w 853976"/>
                <a:gd name="connsiteY35" fmla="*/ 881495 h 933956"/>
                <a:gd name="connsiteX36" fmla="*/ 323255 w 853976"/>
                <a:gd name="connsiteY36" fmla="*/ 834390 h 933956"/>
                <a:gd name="connsiteX37" fmla="*/ 323255 w 853976"/>
                <a:gd name="connsiteY37" fmla="*/ 608916 h 933956"/>
                <a:gd name="connsiteX38" fmla="*/ 360760 w 853976"/>
                <a:gd name="connsiteY38" fmla="*/ 608916 h 933956"/>
                <a:gd name="connsiteX39" fmla="*/ 360760 w 853976"/>
                <a:gd name="connsiteY39" fmla="*/ 929045 h 933956"/>
                <a:gd name="connsiteX40" fmla="*/ 314772 w 853976"/>
                <a:gd name="connsiteY40" fmla="*/ 929045 h 933956"/>
                <a:gd name="connsiteX41" fmla="*/ 150019 w 853976"/>
                <a:gd name="connsiteY41" fmla="*/ 673879 h 933956"/>
                <a:gd name="connsiteX42" fmla="*/ 139750 w 853976"/>
                <a:gd name="connsiteY42" fmla="*/ 653788 h 933956"/>
                <a:gd name="connsiteX43" fmla="*/ 138411 w 853976"/>
                <a:gd name="connsiteY43" fmla="*/ 653788 h 933956"/>
                <a:gd name="connsiteX44" fmla="*/ 140196 w 853976"/>
                <a:gd name="connsiteY44" fmla="*/ 697766 h 933956"/>
                <a:gd name="connsiteX45" fmla="*/ 140196 w 853976"/>
                <a:gd name="connsiteY45" fmla="*/ 929045 h 933956"/>
                <a:gd name="connsiteX46" fmla="*/ 102691 w 853976"/>
                <a:gd name="connsiteY46" fmla="*/ 929045 h 933956"/>
                <a:gd name="connsiteX47" fmla="*/ 102691 w 853976"/>
                <a:gd name="connsiteY47" fmla="*/ 608916 h 933956"/>
                <a:gd name="connsiteX48" fmla="*/ 116876 w 853976"/>
                <a:gd name="connsiteY48" fmla="*/ 0 h 933956"/>
                <a:gd name="connsiteX49" fmla="*/ 389019 w 853976"/>
                <a:gd name="connsiteY49" fmla="*/ 0 h 933956"/>
                <a:gd name="connsiteX50" fmla="*/ 389019 w 853976"/>
                <a:gd name="connsiteY50" fmla="*/ 212602 h 933956"/>
                <a:gd name="connsiteX51" fmla="*/ 116876 w 853976"/>
                <a:gd name="connsiteY51" fmla="*/ 0 h 933956"/>
                <a:gd name="connsiteX0" fmla="*/ 24780 w 853976"/>
                <a:gd name="connsiteY0" fmla="*/ 883727 h 933956"/>
                <a:gd name="connsiteX1" fmla="*/ 42639 w 853976"/>
                <a:gd name="connsiteY1" fmla="*/ 891206 h 933956"/>
                <a:gd name="connsiteX2" fmla="*/ 50006 w 853976"/>
                <a:gd name="connsiteY2" fmla="*/ 908953 h 933956"/>
                <a:gd name="connsiteX3" fmla="*/ 42639 w 853976"/>
                <a:gd name="connsiteY3" fmla="*/ 926589 h 933956"/>
                <a:gd name="connsiteX4" fmla="*/ 24780 w 853976"/>
                <a:gd name="connsiteY4" fmla="*/ 933956 h 933956"/>
                <a:gd name="connsiteX5" fmla="*/ 7255 w 853976"/>
                <a:gd name="connsiteY5" fmla="*/ 926589 h 933956"/>
                <a:gd name="connsiteX6" fmla="*/ 0 w 853976"/>
                <a:gd name="connsiteY6" fmla="*/ 908953 h 933956"/>
                <a:gd name="connsiteX7" fmla="*/ 7255 w 853976"/>
                <a:gd name="connsiteY7" fmla="*/ 891206 h 933956"/>
                <a:gd name="connsiteX8" fmla="*/ 24780 w 853976"/>
                <a:gd name="connsiteY8" fmla="*/ 883727 h 933956"/>
                <a:gd name="connsiteX9" fmla="*/ 631850 w 853976"/>
                <a:gd name="connsiteY9" fmla="*/ 608916 h 933956"/>
                <a:gd name="connsiteX10" fmla="*/ 853976 w 853976"/>
                <a:gd name="connsiteY10" fmla="*/ 608916 h 933956"/>
                <a:gd name="connsiteX11" fmla="*/ 853976 w 853976"/>
                <a:gd name="connsiteY11" fmla="*/ 642849 h 933956"/>
                <a:gd name="connsiteX12" fmla="*/ 761554 w 853976"/>
                <a:gd name="connsiteY12" fmla="*/ 642849 h 933956"/>
                <a:gd name="connsiteX13" fmla="*/ 761554 w 853976"/>
                <a:gd name="connsiteY13" fmla="*/ 929045 h 933956"/>
                <a:gd name="connsiteX14" fmla="*/ 724049 w 853976"/>
                <a:gd name="connsiteY14" fmla="*/ 929045 h 933956"/>
                <a:gd name="connsiteX15" fmla="*/ 724049 w 853976"/>
                <a:gd name="connsiteY15" fmla="*/ 642849 h 933956"/>
                <a:gd name="connsiteX16" fmla="*/ 631850 w 853976"/>
                <a:gd name="connsiteY16" fmla="*/ 642849 h 933956"/>
                <a:gd name="connsiteX17" fmla="*/ 631850 w 853976"/>
                <a:gd name="connsiteY17" fmla="*/ 608916 h 933956"/>
                <a:gd name="connsiteX18" fmla="*/ 436067 w 853976"/>
                <a:gd name="connsiteY18" fmla="*/ 608916 h 933956"/>
                <a:gd name="connsiteX19" fmla="*/ 598587 w 853976"/>
                <a:gd name="connsiteY19" fmla="*/ 608916 h 933956"/>
                <a:gd name="connsiteX20" fmla="*/ 598587 w 853976"/>
                <a:gd name="connsiteY20" fmla="*/ 642849 h 933956"/>
                <a:gd name="connsiteX21" fmla="*/ 473571 w 853976"/>
                <a:gd name="connsiteY21" fmla="*/ 642849 h 933956"/>
                <a:gd name="connsiteX22" fmla="*/ 473571 w 853976"/>
                <a:gd name="connsiteY22" fmla="*/ 749335 h 933956"/>
                <a:gd name="connsiteX23" fmla="*/ 589211 w 853976"/>
                <a:gd name="connsiteY23" fmla="*/ 749335 h 933956"/>
                <a:gd name="connsiteX24" fmla="*/ 589211 w 853976"/>
                <a:gd name="connsiteY24" fmla="*/ 783045 h 933956"/>
                <a:gd name="connsiteX25" fmla="*/ 473571 w 853976"/>
                <a:gd name="connsiteY25" fmla="*/ 783045 h 933956"/>
                <a:gd name="connsiteX26" fmla="*/ 473571 w 853976"/>
                <a:gd name="connsiteY26" fmla="*/ 895112 h 933956"/>
                <a:gd name="connsiteX27" fmla="*/ 605731 w 853976"/>
                <a:gd name="connsiteY27" fmla="*/ 895112 h 933956"/>
                <a:gd name="connsiteX28" fmla="*/ 605731 w 853976"/>
                <a:gd name="connsiteY28" fmla="*/ 929045 h 933956"/>
                <a:gd name="connsiteX29" fmla="*/ 436067 w 853976"/>
                <a:gd name="connsiteY29" fmla="*/ 929045 h 933956"/>
                <a:gd name="connsiteX30" fmla="*/ 436067 w 853976"/>
                <a:gd name="connsiteY30" fmla="*/ 608916 h 933956"/>
                <a:gd name="connsiteX31" fmla="*/ 102691 w 853976"/>
                <a:gd name="connsiteY31" fmla="*/ 608916 h 933956"/>
                <a:gd name="connsiteX32" fmla="*/ 151359 w 853976"/>
                <a:gd name="connsiteY32" fmla="*/ 608916 h 933956"/>
                <a:gd name="connsiteX33" fmla="*/ 311646 w 853976"/>
                <a:gd name="connsiteY33" fmla="*/ 860063 h 933956"/>
                <a:gd name="connsiteX34" fmla="*/ 324594 w 853976"/>
                <a:gd name="connsiteY34" fmla="*/ 881495 h 933956"/>
                <a:gd name="connsiteX35" fmla="*/ 325487 w 853976"/>
                <a:gd name="connsiteY35" fmla="*/ 881495 h 933956"/>
                <a:gd name="connsiteX36" fmla="*/ 323255 w 853976"/>
                <a:gd name="connsiteY36" fmla="*/ 834390 h 933956"/>
                <a:gd name="connsiteX37" fmla="*/ 323255 w 853976"/>
                <a:gd name="connsiteY37" fmla="*/ 608916 h 933956"/>
                <a:gd name="connsiteX38" fmla="*/ 360760 w 853976"/>
                <a:gd name="connsiteY38" fmla="*/ 608916 h 933956"/>
                <a:gd name="connsiteX39" fmla="*/ 360760 w 853976"/>
                <a:gd name="connsiteY39" fmla="*/ 929045 h 933956"/>
                <a:gd name="connsiteX40" fmla="*/ 314772 w 853976"/>
                <a:gd name="connsiteY40" fmla="*/ 929045 h 933956"/>
                <a:gd name="connsiteX41" fmla="*/ 150019 w 853976"/>
                <a:gd name="connsiteY41" fmla="*/ 673879 h 933956"/>
                <a:gd name="connsiteX42" fmla="*/ 139750 w 853976"/>
                <a:gd name="connsiteY42" fmla="*/ 653788 h 933956"/>
                <a:gd name="connsiteX43" fmla="*/ 138411 w 853976"/>
                <a:gd name="connsiteY43" fmla="*/ 653788 h 933956"/>
                <a:gd name="connsiteX44" fmla="*/ 140196 w 853976"/>
                <a:gd name="connsiteY44" fmla="*/ 697766 h 933956"/>
                <a:gd name="connsiteX45" fmla="*/ 140196 w 853976"/>
                <a:gd name="connsiteY45" fmla="*/ 929045 h 933956"/>
                <a:gd name="connsiteX46" fmla="*/ 102691 w 853976"/>
                <a:gd name="connsiteY46" fmla="*/ 929045 h 933956"/>
                <a:gd name="connsiteX47" fmla="*/ 102691 w 853976"/>
                <a:gd name="connsiteY47" fmla="*/ 608916 h 933956"/>
                <a:gd name="connsiteX48" fmla="*/ 116876 w 853976"/>
                <a:gd name="connsiteY48" fmla="*/ 0 h 933956"/>
                <a:gd name="connsiteX49" fmla="*/ 389019 w 853976"/>
                <a:gd name="connsiteY49" fmla="*/ 0 h 933956"/>
                <a:gd name="connsiteX50" fmla="*/ 116876 w 853976"/>
                <a:gd name="connsiteY50" fmla="*/ 0 h 933956"/>
                <a:gd name="connsiteX0" fmla="*/ 24780 w 853976"/>
                <a:gd name="connsiteY0" fmla="*/ 274811 h 325040"/>
                <a:gd name="connsiteX1" fmla="*/ 42639 w 853976"/>
                <a:gd name="connsiteY1" fmla="*/ 282290 h 325040"/>
                <a:gd name="connsiteX2" fmla="*/ 50006 w 853976"/>
                <a:gd name="connsiteY2" fmla="*/ 300037 h 325040"/>
                <a:gd name="connsiteX3" fmla="*/ 42639 w 853976"/>
                <a:gd name="connsiteY3" fmla="*/ 317673 h 325040"/>
                <a:gd name="connsiteX4" fmla="*/ 24780 w 853976"/>
                <a:gd name="connsiteY4" fmla="*/ 325040 h 325040"/>
                <a:gd name="connsiteX5" fmla="*/ 7255 w 853976"/>
                <a:gd name="connsiteY5" fmla="*/ 317673 h 325040"/>
                <a:gd name="connsiteX6" fmla="*/ 0 w 853976"/>
                <a:gd name="connsiteY6" fmla="*/ 300037 h 325040"/>
                <a:gd name="connsiteX7" fmla="*/ 7255 w 853976"/>
                <a:gd name="connsiteY7" fmla="*/ 282290 h 325040"/>
                <a:gd name="connsiteX8" fmla="*/ 24780 w 853976"/>
                <a:gd name="connsiteY8" fmla="*/ 274811 h 325040"/>
                <a:gd name="connsiteX9" fmla="*/ 631850 w 853976"/>
                <a:gd name="connsiteY9" fmla="*/ 0 h 325040"/>
                <a:gd name="connsiteX10" fmla="*/ 853976 w 853976"/>
                <a:gd name="connsiteY10" fmla="*/ 0 h 325040"/>
                <a:gd name="connsiteX11" fmla="*/ 853976 w 853976"/>
                <a:gd name="connsiteY11" fmla="*/ 33933 h 325040"/>
                <a:gd name="connsiteX12" fmla="*/ 761554 w 853976"/>
                <a:gd name="connsiteY12" fmla="*/ 33933 h 325040"/>
                <a:gd name="connsiteX13" fmla="*/ 761554 w 853976"/>
                <a:gd name="connsiteY13" fmla="*/ 320129 h 325040"/>
                <a:gd name="connsiteX14" fmla="*/ 724049 w 853976"/>
                <a:gd name="connsiteY14" fmla="*/ 320129 h 325040"/>
                <a:gd name="connsiteX15" fmla="*/ 724049 w 853976"/>
                <a:gd name="connsiteY15" fmla="*/ 33933 h 325040"/>
                <a:gd name="connsiteX16" fmla="*/ 631850 w 853976"/>
                <a:gd name="connsiteY16" fmla="*/ 33933 h 325040"/>
                <a:gd name="connsiteX17" fmla="*/ 631850 w 853976"/>
                <a:gd name="connsiteY17" fmla="*/ 0 h 325040"/>
                <a:gd name="connsiteX18" fmla="*/ 436067 w 853976"/>
                <a:gd name="connsiteY18" fmla="*/ 0 h 325040"/>
                <a:gd name="connsiteX19" fmla="*/ 598587 w 853976"/>
                <a:gd name="connsiteY19" fmla="*/ 0 h 325040"/>
                <a:gd name="connsiteX20" fmla="*/ 598587 w 853976"/>
                <a:gd name="connsiteY20" fmla="*/ 33933 h 325040"/>
                <a:gd name="connsiteX21" fmla="*/ 473571 w 853976"/>
                <a:gd name="connsiteY21" fmla="*/ 33933 h 325040"/>
                <a:gd name="connsiteX22" fmla="*/ 473571 w 853976"/>
                <a:gd name="connsiteY22" fmla="*/ 140419 h 325040"/>
                <a:gd name="connsiteX23" fmla="*/ 589211 w 853976"/>
                <a:gd name="connsiteY23" fmla="*/ 140419 h 325040"/>
                <a:gd name="connsiteX24" fmla="*/ 589211 w 853976"/>
                <a:gd name="connsiteY24" fmla="*/ 174129 h 325040"/>
                <a:gd name="connsiteX25" fmla="*/ 473571 w 853976"/>
                <a:gd name="connsiteY25" fmla="*/ 174129 h 325040"/>
                <a:gd name="connsiteX26" fmla="*/ 473571 w 853976"/>
                <a:gd name="connsiteY26" fmla="*/ 286196 h 325040"/>
                <a:gd name="connsiteX27" fmla="*/ 605731 w 853976"/>
                <a:gd name="connsiteY27" fmla="*/ 286196 h 325040"/>
                <a:gd name="connsiteX28" fmla="*/ 605731 w 853976"/>
                <a:gd name="connsiteY28" fmla="*/ 320129 h 325040"/>
                <a:gd name="connsiteX29" fmla="*/ 436067 w 853976"/>
                <a:gd name="connsiteY29" fmla="*/ 320129 h 325040"/>
                <a:gd name="connsiteX30" fmla="*/ 436067 w 853976"/>
                <a:gd name="connsiteY30" fmla="*/ 0 h 325040"/>
                <a:gd name="connsiteX31" fmla="*/ 102691 w 853976"/>
                <a:gd name="connsiteY31" fmla="*/ 0 h 325040"/>
                <a:gd name="connsiteX32" fmla="*/ 151359 w 853976"/>
                <a:gd name="connsiteY32" fmla="*/ 0 h 325040"/>
                <a:gd name="connsiteX33" fmla="*/ 311646 w 853976"/>
                <a:gd name="connsiteY33" fmla="*/ 251147 h 325040"/>
                <a:gd name="connsiteX34" fmla="*/ 324594 w 853976"/>
                <a:gd name="connsiteY34" fmla="*/ 272579 h 325040"/>
                <a:gd name="connsiteX35" fmla="*/ 325487 w 853976"/>
                <a:gd name="connsiteY35" fmla="*/ 272579 h 325040"/>
                <a:gd name="connsiteX36" fmla="*/ 323255 w 853976"/>
                <a:gd name="connsiteY36" fmla="*/ 225474 h 325040"/>
                <a:gd name="connsiteX37" fmla="*/ 323255 w 853976"/>
                <a:gd name="connsiteY37" fmla="*/ 0 h 325040"/>
                <a:gd name="connsiteX38" fmla="*/ 360760 w 853976"/>
                <a:gd name="connsiteY38" fmla="*/ 0 h 325040"/>
                <a:gd name="connsiteX39" fmla="*/ 360760 w 853976"/>
                <a:gd name="connsiteY39" fmla="*/ 320129 h 325040"/>
                <a:gd name="connsiteX40" fmla="*/ 314772 w 853976"/>
                <a:gd name="connsiteY40" fmla="*/ 320129 h 325040"/>
                <a:gd name="connsiteX41" fmla="*/ 150019 w 853976"/>
                <a:gd name="connsiteY41" fmla="*/ 64963 h 325040"/>
                <a:gd name="connsiteX42" fmla="*/ 139750 w 853976"/>
                <a:gd name="connsiteY42" fmla="*/ 44872 h 325040"/>
                <a:gd name="connsiteX43" fmla="*/ 138411 w 853976"/>
                <a:gd name="connsiteY43" fmla="*/ 44872 h 325040"/>
                <a:gd name="connsiteX44" fmla="*/ 140196 w 853976"/>
                <a:gd name="connsiteY44" fmla="*/ 88850 h 325040"/>
                <a:gd name="connsiteX45" fmla="*/ 140196 w 853976"/>
                <a:gd name="connsiteY45" fmla="*/ 320129 h 325040"/>
                <a:gd name="connsiteX46" fmla="*/ 102691 w 853976"/>
                <a:gd name="connsiteY46" fmla="*/ 320129 h 325040"/>
                <a:gd name="connsiteX47" fmla="*/ 102691 w 853976"/>
                <a:gd name="connsiteY47" fmla="*/ 0 h 32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53976" h="325040">
                  <a:moveTo>
                    <a:pt x="24780" y="274811"/>
                  </a:moveTo>
                  <a:cubicBezTo>
                    <a:pt x="31775" y="274811"/>
                    <a:pt x="37728" y="277304"/>
                    <a:pt x="42639" y="282290"/>
                  </a:cubicBezTo>
                  <a:cubicBezTo>
                    <a:pt x="47550" y="287275"/>
                    <a:pt x="50006" y="293191"/>
                    <a:pt x="50006" y="300037"/>
                  </a:cubicBezTo>
                  <a:cubicBezTo>
                    <a:pt x="50006" y="306883"/>
                    <a:pt x="47550" y="312762"/>
                    <a:pt x="42639" y="317673"/>
                  </a:cubicBezTo>
                  <a:cubicBezTo>
                    <a:pt x="37728" y="322585"/>
                    <a:pt x="31775" y="325040"/>
                    <a:pt x="24780" y="325040"/>
                  </a:cubicBezTo>
                  <a:cubicBezTo>
                    <a:pt x="17934" y="325040"/>
                    <a:pt x="12092" y="322585"/>
                    <a:pt x="7255" y="317673"/>
                  </a:cubicBezTo>
                  <a:cubicBezTo>
                    <a:pt x="2418" y="312762"/>
                    <a:pt x="0" y="306883"/>
                    <a:pt x="0" y="300037"/>
                  </a:cubicBezTo>
                  <a:cubicBezTo>
                    <a:pt x="0" y="293191"/>
                    <a:pt x="2418" y="287275"/>
                    <a:pt x="7255" y="282290"/>
                  </a:cubicBezTo>
                  <a:cubicBezTo>
                    <a:pt x="12092" y="277304"/>
                    <a:pt x="17934" y="274811"/>
                    <a:pt x="24780" y="274811"/>
                  </a:cubicBezTo>
                  <a:close/>
                  <a:moveTo>
                    <a:pt x="631850" y="0"/>
                  </a:moveTo>
                  <a:lnTo>
                    <a:pt x="853976" y="0"/>
                  </a:lnTo>
                  <a:lnTo>
                    <a:pt x="853976" y="33933"/>
                  </a:lnTo>
                  <a:lnTo>
                    <a:pt x="761554" y="33933"/>
                  </a:lnTo>
                  <a:lnTo>
                    <a:pt x="761554" y="320129"/>
                  </a:lnTo>
                  <a:lnTo>
                    <a:pt x="724049" y="320129"/>
                  </a:lnTo>
                  <a:lnTo>
                    <a:pt x="724049" y="33933"/>
                  </a:lnTo>
                  <a:lnTo>
                    <a:pt x="631850" y="33933"/>
                  </a:lnTo>
                  <a:lnTo>
                    <a:pt x="631850" y="0"/>
                  </a:lnTo>
                  <a:close/>
                  <a:moveTo>
                    <a:pt x="436067" y="0"/>
                  </a:moveTo>
                  <a:lnTo>
                    <a:pt x="598587" y="0"/>
                  </a:lnTo>
                  <a:lnTo>
                    <a:pt x="598587" y="33933"/>
                  </a:lnTo>
                  <a:lnTo>
                    <a:pt x="473571" y="33933"/>
                  </a:lnTo>
                  <a:lnTo>
                    <a:pt x="473571" y="140419"/>
                  </a:lnTo>
                  <a:lnTo>
                    <a:pt x="589211" y="140419"/>
                  </a:lnTo>
                  <a:lnTo>
                    <a:pt x="589211" y="174129"/>
                  </a:lnTo>
                  <a:lnTo>
                    <a:pt x="473571" y="174129"/>
                  </a:lnTo>
                  <a:lnTo>
                    <a:pt x="473571" y="286196"/>
                  </a:lnTo>
                  <a:lnTo>
                    <a:pt x="605731" y="286196"/>
                  </a:lnTo>
                  <a:lnTo>
                    <a:pt x="605731" y="320129"/>
                  </a:lnTo>
                  <a:lnTo>
                    <a:pt x="436067" y="320129"/>
                  </a:lnTo>
                  <a:lnTo>
                    <a:pt x="436067" y="0"/>
                  </a:lnTo>
                  <a:close/>
                  <a:moveTo>
                    <a:pt x="102691" y="0"/>
                  </a:moveTo>
                  <a:lnTo>
                    <a:pt x="151359" y="0"/>
                  </a:lnTo>
                  <a:lnTo>
                    <a:pt x="311646" y="251147"/>
                  </a:lnTo>
                  <a:cubicBezTo>
                    <a:pt x="318344" y="261565"/>
                    <a:pt x="322660" y="268709"/>
                    <a:pt x="324594" y="272579"/>
                  </a:cubicBezTo>
                  <a:lnTo>
                    <a:pt x="325487" y="272579"/>
                  </a:lnTo>
                  <a:cubicBezTo>
                    <a:pt x="323999" y="263351"/>
                    <a:pt x="323255" y="247650"/>
                    <a:pt x="323255" y="225474"/>
                  </a:cubicBezTo>
                  <a:lnTo>
                    <a:pt x="323255" y="0"/>
                  </a:lnTo>
                  <a:lnTo>
                    <a:pt x="360760" y="0"/>
                  </a:lnTo>
                  <a:lnTo>
                    <a:pt x="360760" y="320129"/>
                  </a:lnTo>
                  <a:lnTo>
                    <a:pt x="314772" y="320129"/>
                  </a:lnTo>
                  <a:lnTo>
                    <a:pt x="150019" y="64963"/>
                  </a:lnTo>
                  <a:cubicBezTo>
                    <a:pt x="145852" y="58564"/>
                    <a:pt x="142429" y="51866"/>
                    <a:pt x="139750" y="44872"/>
                  </a:cubicBezTo>
                  <a:lnTo>
                    <a:pt x="138411" y="44872"/>
                  </a:lnTo>
                  <a:cubicBezTo>
                    <a:pt x="139601" y="51718"/>
                    <a:pt x="140196" y="66377"/>
                    <a:pt x="140196" y="88850"/>
                  </a:cubicBezTo>
                  <a:lnTo>
                    <a:pt x="140196" y="320129"/>
                  </a:lnTo>
                  <a:lnTo>
                    <a:pt x="102691" y="320129"/>
                  </a:lnTo>
                  <a:lnTo>
                    <a:pt x="102691"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 name="Text Placeholder 4">
            <a:extLst>
              <a:ext uri="{FF2B5EF4-FFF2-40B4-BE49-F238E27FC236}">
                <a16:creationId xmlns:a16="http://schemas.microsoft.com/office/drawing/2014/main" id="{4C8E0A53-F6BE-4901-B9F8-EFE42A49B9FA}"/>
              </a:ext>
            </a:extLst>
          </p:cNvPr>
          <p:cNvSpPr>
            <a:spLocks noGrp="1"/>
          </p:cNvSpPr>
          <p:nvPr>
            <p:ph type="body" sz="quarter" idx="10"/>
          </p:nvPr>
        </p:nvSpPr>
        <p:spPr>
          <a:xfrm>
            <a:off x="269239" y="1197323"/>
            <a:ext cx="11653522" cy="2185214"/>
          </a:xfrm>
        </p:spPr>
        <p:txBody>
          <a:bodyPr/>
          <a:lstStyle/>
          <a:p>
            <a:pPr>
              <a:spcBef>
                <a:spcPts val="600"/>
              </a:spcBef>
              <a:spcAft>
                <a:spcPts val="600"/>
              </a:spcAft>
            </a:pPr>
            <a:r>
              <a:rPr lang="en-US" sz="1800" dirty="0" err="1"/>
              <a:t>ResourceResponse</a:t>
            </a:r>
            <a:r>
              <a:rPr lang="en-US" sz="1800" dirty="0"/>
              <a:t>&lt;Document&gt; response = await </a:t>
            </a:r>
            <a:r>
              <a:rPr lang="en-US" sz="1800" dirty="0" err="1"/>
              <a:t>client.CreateDocumentAsync</a:t>
            </a:r>
            <a:r>
              <a:rPr lang="en-US" sz="1800" dirty="0"/>
              <a:t>(</a:t>
            </a:r>
          </a:p>
          <a:p>
            <a:pPr>
              <a:spcBef>
                <a:spcPts val="600"/>
              </a:spcBef>
              <a:spcAft>
                <a:spcPts val="600"/>
              </a:spcAft>
            </a:pPr>
            <a:r>
              <a:rPr lang="en-US" sz="1800" dirty="0"/>
              <a:t>	</a:t>
            </a:r>
            <a:r>
              <a:rPr lang="en-US" sz="1800" dirty="0" err="1"/>
              <a:t>collectionLink</a:t>
            </a:r>
            <a:r>
              <a:rPr lang="en-US" sz="1800" dirty="0"/>
              <a:t>, </a:t>
            </a:r>
          </a:p>
          <a:p>
            <a:pPr>
              <a:spcBef>
                <a:spcPts val="600"/>
              </a:spcBef>
              <a:spcAft>
                <a:spcPts val="600"/>
              </a:spcAft>
            </a:pPr>
            <a:r>
              <a:rPr lang="en-US" sz="1800" dirty="0"/>
              <a:t>	document</a:t>
            </a:r>
          </a:p>
          <a:p>
            <a:pPr>
              <a:spcBef>
                <a:spcPts val="600"/>
              </a:spcBef>
              <a:spcAft>
                <a:spcPts val="600"/>
              </a:spcAft>
            </a:pPr>
            <a:r>
              <a:rPr lang="en-US" sz="1800" dirty="0"/>
              <a:t>);</a:t>
            </a:r>
          </a:p>
          <a:p>
            <a:pPr>
              <a:spcBef>
                <a:spcPts val="600"/>
              </a:spcBef>
              <a:spcAft>
                <a:spcPts val="600"/>
              </a:spcAft>
            </a:pPr>
            <a:r>
              <a:rPr lang="en-US" sz="1800" dirty="0"/>
              <a:t>var </a:t>
            </a:r>
            <a:r>
              <a:rPr lang="en-US" sz="1800" dirty="0" err="1"/>
              <a:t>requestUnits</a:t>
            </a:r>
            <a:r>
              <a:rPr lang="en-US" sz="1800" dirty="0"/>
              <a:t> = </a:t>
            </a:r>
            <a:r>
              <a:rPr lang="en-US" sz="1800" dirty="0" err="1"/>
              <a:t>response.RequestCharge</a:t>
            </a:r>
            <a:r>
              <a:rPr lang="en-US" sz="1800" dirty="0"/>
              <a:t>;</a:t>
            </a:r>
            <a:endParaRPr lang="en-US" dirty="0"/>
          </a:p>
        </p:txBody>
      </p:sp>
    </p:spTree>
    <p:extLst>
      <p:ext uri="{BB962C8B-B14F-4D97-AF65-F5344CB8AC3E}">
        <p14:creationId xmlns:p14="http://schemas.microsoft.com/office/powerpoint/2010/main" val="179138131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F44B0-691F-4AC3-844D-213EEDFCB55A}"/>
              </a:ext>
            </a:extLst>
          </p:cNvPr>
          <p:cNvSpPr>
            <a:spLocks noGrp="1"/>
          </p:cNvSpPr>
          <p:nvPr>
            <p:ph type="title"/>
          </p:nvPr>
        </p:nvSpPr>
        <p:spPr>
          <a:xfrm>
            <a:off x="925177" y="289511"/>
            <a:ext cx="10343967" cy="576763"/>
          </a:xfrm>
        </p:spPr>
        <p:txBody>
          <a:bodyPr/>
          <a:lstStyle/>
          <a:p>
            <a:r>
              <a:rPr lang="en-US" dirty="0"/>
              <a:t>RU Charge Measurement Example (2</a:t>
            </a:r>
            <a:r>
              <a:rPr lang="en-US" cap="none" dirty="0"/>
              <a:t> of </a:t>
            </a:r>
            <a:r>
              <a:rPr lang="en-US" dirty="0"/>
              <a:t>3)</a:t>
            </a:r>
          </a:p>
        </p:txBody>
      </p:sp>
      <p:pic>
        <p:nvPicPr>
          <p:cNvPr id="7" name="Picture 2" descr="Node.js logo">
            <a:extLst>
              <a:ext uri="{FF2B5EF4-FFF2-40B4-BE49-F238E27FC236}">
                <a16:creationId xmlns:a16="http://schemas.microsoft.com/office/drawing/2014/main" id="{49DCFF81-EE3F-4DEF-9AAE-C7FC4A84C7BE}"/>
              </a:ext>
            </a:extLst>
          </p:cNvPr>
          <p:cNvPicPr>
            <a:picLocks noChangeAspect="1" noChangeArrowheads="1"/>
          </p:cNvPicPr>
          <p:nvPr/>
        </p:nvPicPr>
        <p:blipFill>
          <a:blip r:embed="rId3"/>
          <a:stretch>
            <a:fillRect/>
          </a:stretch>
        </p:blipFill>
        <p:spPr bwMode="auto">
          <a:xfrm>
            <a:off x="11027157" y="6173710"/>
            <a:ext cx="895604" cy="240917"/>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a:extLst>
              <a:ext uri="{FF2B5EF4-FFF2-40B4-BE49-F238E27FC236}">
                <a16:creationId xmlns:a16="http://schemas.microsoft.com/office/drawing/2014/main" id="{4C8E0A53-F6BE-4901-B9F8-EFE42A49B9FA}"/>
              </a:ext>
            </a:extLst>
          </p:cNvPr>
          <p:cNvSpPr>
            <a:spLocks noGrp="1"/>
          </p:cNvSpPr>
          <p:nvPr>
            <p:ph type="body" sz="quarter" idx="10"/>
          </p:nvPr>
        </p:nvSpPr>
        <p:spPr>
          <a:xfrm>
            <a:off x="269239" y="1197323"/>
            <a:ext cx="11653522" cy="4339650"/>
          </a:xfrm>
        </p:spPr>
        <p:txBody>
          <a:bodyPr/>
          <a:lstStyle/>
          <a:p>
            <a:pPr>
              <a:spcBef>
                <a:spcPts val="600"/>
              </a:spcBef>
              <a:spcAft>
                <a:spcPts val="600"/>
              </a:spcAft>
            </a:pPr>
            <a:r>
              <a:rPr lang="en-US" sz="1800" dirty="0" err="1"/>
              <a:t>client.createDocument</a:t>
            </a:r>
            <a:r>
              <a:rPr lang="en-US" sz="1800" dirty="0"/>
              <a:t>(</a:t>
            </a:r>
          </a:p>
          <a:p>
            <a:pPr>
              <a:spcBef>
                <a:spcPts val="600"/>
              </a:spcBef>
              <a:spcAft>
                <a:spcPts val="600"/>
              </a:spcAft>
            </a:pPr>
            <a:r>
              <a:rPr lang="en-US" sz="1800" dirty="0"/>
              <a:t>	</a:t>
            </a:r>
            <a:r>
              <a:rPr lang="en-US" sz="1800" dirty="0" err="1"/>
              <a:t>collectionLink</a:t>
            </a:r>
            <a:r>
              <a:rPr lang="en-US" sz="1800" dirty="0"/>
              <a:t>, </a:t>
            </a:r>
          </a:p>
          <a:p>
            <a:pPr>
              <a:spcBef>
                <a:spcPts val="600"/>
              </a:spcBef>
              <a:spcAft>
                <a:spcPts val="600"/>
              </a:spcAft>
            </a:pPr>
            <a:r>
              <a:rPr lang="en-US" sz="1800" dirty="0"/>
              <a:t>	</a:t>
            </a:r>
            <a:r>
              <a:rPr lang="en-US" sz="1800" dirty="0" err="1"/>
              <a:t>documentDefinition</a:t>
            </a:r>
            <a:r>
              <a:rPr lang="en-US" sz="1800" dirty="0"/>
              <a:t>, </a:t>
            </a:r>
          </a:p>
          <a:p>
            <a:pPr>
              <a:spcBef>
                <a:spcPts val="600"/>
              </a:spcBef>
              <a:spcAft>
                <a:spcPts val="600"/>
              </a:spcAft>
            </a:pPr>
            <a:r>
              <a:rPr lang="en-US" sz="1800" dirty="0"/>
              <a:t>	function (err, document, headers) {</a:t>
            </a:r>
          </a:p>
          <a:p>
            <a:pPr>
              <a:spcBef>
                <a:spcPts val="600"/>
              </a:spcBef>
              <a:spcAft>
                <a:spcPts val="600"/>
              </a:spcAft>
            </a:pPr>
            <a:r>
              <a:rPr lang="en-US" sz="1800" dirty="0"/>
              <a:t>		if (err) {</a:t>
            </a:r>
          </a:p>
          <a:p>
            <a:pPr>
              <a:spcBef>
                <a:spcPts val="600"/>
              </a:spcBef>
              <a:spcAft>
                <a:spcPts val="600"/>
              </a:spcAft>
            </a:pPr>
            <a:r>
              <a:rPr lang="en-US" sz="1800" dirty="0"/>
              <a:t>			console.log(err);</a:t>
            </a:r>
          </a:p>
          <a:p>
            <a:pPr>
              <a:spcBef>
                <a:spcPts val="600"/>
              </a:spcBef>
              <a:spcAft>
                <a:spcPts val="600"/>
              </a:spcAft>
            </a:pPr>
            <a:r>
              <a:rPr lang="en-US" sz="1800" dirty="0"/>
              <a:t>		}</a:t>
            </a:r>
          </a:p>
          <a:p>
            <a:pPr>
              <a:spcBef>
                <a:spcPts val="600"/>
              </a:spcBef>
              <a:spcAft>
                <a:spcPts val="600"/>
              </a:spcAft>
            </a:pPr>
            <a:r>
              <a:rPr lang="en-US" sz="1800" dirty="0"/>
              <a:t>		var </a:t>
            </a:r>
            <a:r>
              <a:rPr lang="en-US" sz="1800" dirty="0" err="1"/>
              <a:t>requestData</a:t>
            </a:r>
            <a:r>
              <a:rPr lang="en-US" sz="1800" dirty="0"/>
              <a:t> = headers['x-</a:t>
            </a:r>
            <a:r>
              <a:rPr lang="en-US" sz="1800" dirty="0" err="1"/>
              <a:t>ms</a:t>
            </a:r>
            <a:r>
              <a:rPr lang="en-US" sz="1800" dirty="0"/>
              <a:t>-request-charge'];</a:t>
            </a:r>
          </a:p>
          <a:p>
            <a:pPr>
              <a:spcBef>
                <a:spcPts val="600"/>
              </a:spcBef>
              <a:spcAft>
                <a:spcPts val="600"/>
              </a:spcAft>
            </a:pPr>
            <a:r>
              <a:rPr lang="en-US" sz="1800" dirty="0"/>
              <a:t>	}</a:t>
            </a:r>
          </a:p>
          <a:p>
            <a:pPr>
              <a:spcBef>
                <a:spcPts val="600"/>
              </a:spcBef>
              <a:spcAft>
                <a:spcPts val="600"/>
              </a:spcAft>
            </a:pPr>
            <a:r>
              <a:rPr lang="en-US" sz="1800" dirty="0"/>
              <a:t>);</a:t>
            </a:r>
          </a:p>
        </p:txBody>
      </p:sp>
    </p:spTree>
    <p:extLst>
      <p:ext uri="{BB962C8B-B14F-4D97-AF65-F5344CB8AC3E}">
        <p14:creationId xmlns:p14="http://schemas.microsoft.com/office/powerpoint/2010/main" val="211242680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F44B0-691F-4AC3-844D-213EEDFCB55A}"/>
              </a:ext>
            </a:extLst>
          </p:cNvPr>
          <p:cNvSpPr>
            <a:spLocks noGrp="1"/>
          </p:cNvSpPr>
          <p:nvPr>
            <p:ph type="title"/>
          </p:nvPr>
        </p:nvSpPr>
        <p:spPr>
          <a:xfrm>
            <a:off x="925177" y="289512"/>
            <a:ext cx="10343967" cy="540668"/>
          </a:xfrm>
        </p:spPr>
        <p:txBody>
          <a:bodyPr/>
          <a:lstStyle/>
          <a:p>
            <a:r>
              <a:rPr lang="en-US" dirty="0"/>
              <a:t>RU Charge Measurement Example (3</a:t>
            </a:r>
            <a:r>
              <a:rPr lang="en-US" cap="none" dirty="0"/>
              <a:t> of </a:t>
            </a:r>
            <a:r>
              <a:rPr lang="en-US" dirty="0"/>
              <a:t>3)</a:t>
            </a:r>
          </a:p>
        </p:txBody>
      </p:sp>
      <p:pic>
        <p:nvPicPr>
          <p:cNvPr id="7" name="Picture 6" descr="Java logo">
            <a:extLst>
              <a:ext uri="{FF2B5EF4-FFF2-40B4-BE49-F238E27FC236}">
                <a16:creationId xmlns:a16="http://schemas.microsoft.com/office/drawing/2014/main" id="{96C802D8-EC79-4BD0-B840-19689F7505BC}"/>
              </a:ext>
            </a:extLst>
          </p:cNvPr>
          <p:cNvPicPr>
            <a:picLocks noChangeAspect="1"/>
          </p:cNvPicPr>
          <p:nvPr/>
        </p:nvPicPr>
        <p:blipFill>
          <a:blip r:embed="rId3"/>
          <a:stretch>
            <a:fillRect/>
          </a:stretch>
        </p:blipFill>
        <p:spPr>
          <a:xfrm>
            <a:off x="11083013" y="6065618"/>
            <a:ext cx="783890" cy="457200"/>
          </a:xfrm>
          <a:prstGeom prst="rect">
            <a:avLst/>
          </a:prstGeom>
        </p:spPr>
      </p:pic>
      <p:sp>
        <p:nvSpPr>
          <p:cNvPr id="5" name="Text Placeholder 4">
            <a:extLst>
              <a:ext uri="{FF2B5EF4-FFF2-40B4-BE49-F238E27FC236}">
                <a16:creationId xmlns:a16="http://schemas.microsoft.com/office/drawing/2014/main" id="{4C8E0A53-F6BE-4901-B9F8-EFE42A49B9FA}"/>
              </a:ext>
            </a:extLst>
          </p:cNvPr>
          <p:cNvSpPr>
            <a:spLocks noGrp="1"/>
          </p:cNvSpPr>
          <p:nvPr>
            <p:ph type="body" sz="quarter" idx="10"/>
          </p:nvPr>
        </p:nvSpPr>
        <p:spPr>
          <a:xfrm>
            <a:off x="269239" y="1197323"/>
            <a:ext cx="11653522" cy="3611245"/>
          </a:xfrm>
        </p:spPr>
        <p:txBody>
          <a:bodyPr/>
          <a:lstStyle/>
          <a:p>
            <a:pPr>
              <a:spcBef>
                <a:spcPts val="600"/>
              </a:spcBef>
              <a:spcAft>
                <a:spcPts val="600"/>
              </a:spcAft>
            </a:pPr>
            <a:r>
              <a:rPr lang="en-US" sz="1800" dirty="0" err="1"/>
              <a:t>ResourceResponse</a:t>
            </a:r>
            <a:r>
              <a:rPr lang="en-US" sz="1800" dirty="0"/>
              <a:t>&lt;Document&gt; response = </a:t>
            </a:r>
            <a:r>
              <a:rPr lang="en-US" sz="1800" dirty="0" err="1"/>
              <a:t>client.createDocument</a:t>
            </a:r>
            <a:r>
              <a:rPr lang="en-US" sz="1800" dirty="0"/>
              <a:t>(</a:t>
            </a:r>
          </a:p>
          <a:p>
            <a:pPr>
              <a:spcBef>
                <a:spcPts val="600"/>
              </a:spcBef>
              <a:spcAft>
                <a:spcPts val="600"/>
              </a:spcAft>
            </a:pPr>
            <a:r>
              <a:rPr lang="en-US" sz="1800" dirty="0"/>
              <a:t>    </a:t>
            </a:r>
            <a:r>
              <a:rPr lang="en-US" sz="1800" dirty="0" err="1"/>
              <a:t>collectionLink</a:t>
            </a:r>
            <a:r>
              <a:rPr lang="en-US" sz="1800" dirty="0"/>
              <a:t>, </a:t>
            </a:r>
          </a:p>
          <a:p>
            <a:pPr>
              <a:spcBef>
                <a:spcPts val="600"/>
              </a:spcBef>
              <a:spcAft>
                <a:spcPts val="600"/>
              </a:spcAft>
            </a:pPr>
            <a:r>
              <a:rPr lang="en-US" sz="1800" dirty="0"/>
              <a:t>    </a:t>
            </a:r>
            <a:r>
              <a:rPr lang="en-US" sz="1800" dirty="0" err="1"/>
              <a:t>documentDefinition</a:t>
            </a:r>
            <a:r>
              <a:rPr lang="en-US" sz="1800" dirty="0"/>
              <a:t>, </a:t>
            </a:r>
          </a:p>
          <a:p>
            <a:pPr>
              <a:spcBef>
                <a:spcPts val="600"/>
              </a:spcBef>
              <a:spcAft>
                <a:spcPts val="600"/>
              </a:spcAft>
            </a:pPr>
            <a:r>
              <a:rPr lang="en-US" sz="1800" dirty="0"/>
              <a:t>    null, </a:t>
            </a:r>
          </a:p>
          <a:p>
            <a:pPr>
              <a:spcBef>
                <a:spcPts val="600"/>
              </a:spcBef>
              <a:spcAft>
                <a:spcPts val="600"/>
              </a:spcAft>
            </a:pPr>
            <a:r>
              <a:rPr lang="en-US" sz="1800" dirty="0"/>
              <a:t>    false</a:t>
            </a:r>
          </a:p>
          <a:p>
            <a:pPr>
              <a:spcBef>
                <a:spcPts val="600"/>
              </a:spcBef>
              <a:spcAft>
                <a:spcPts val="4000"/>
              </a:spcAft>
            </a:pPr>
            <a:r>
              <a:rPr lang="en-US" sz="1800" dirty="0"/>
              <a:t>);</a:t>
            </a:r>
          </a:p>
          <a:p>
            <a:pPr>
              <a:spcBef>
                <a:spcPts val="600"/>
              </a:spcBef>
              <a:spcAft>
                <a:spcPts val="600"/>
              </a:spcAft>
            </a:pPr>
            <a:r>
              <a:rPr lang="en-US" sz="1800" dirty="0"/>
              <a:t>Double </a:t>
            </a:r>
            <a:r>
              <a:rPr lang="en-US" sz="1800" dirty="0" err="1"/>
              <a:t>requestCharge</a:t>
            </a:r>
            <a:r>
              <a:rPr lang="en-US" sz="1800" dirty="0"/>
              <a:t> = </a:t>
            </a:r>
            <a:r>
              <a:rPr lang="en-US" sz="1800" dirty="0" err="1"/>
              <a:t>response.getRequestCharge</a:t>
            </a:r>
            <a:r>
              <a:rPr lang="en-US" sz="1800" dirty="0"/>
              <a:t>();</a:t>
            </a:r>
          </a:p>
        </p:txBody>
      </p:sp>
    </p:spTree>
    <p:extLst>
      <p:ext uri="{BB962C8B-B14F-4D97-AF65-F5344CB8AC3E}">
        <p14:creationId xmlns:p14="http://schemas.microsoft.com/office/powerpoint/2010/main" val="18306147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435567-220B-427E-8D95-D268887C206C}"/>
              </a:ext>
            </a:extLst>
          </p:cNvPr>
          <p:cNvSpPr>
            <a:spLocks noGrp="1"/>
          </p:cNvSpPr>
          <p:nvPr>
            <p:ph type="title"/>
          </p:nvPr>
        </p:nvSpPr>
        <p:spPr>
          <a:xfrm>
            <a:off x="269241" y="289512"/>
            <a:ext cx="7394876" cy="533660"/>
          </a:xfrm>
        </p:spPr>
        <p:txBody>
          <a:bodyPr/>
          <a:lstStyle/>
          <a:p>
            <a:r>
              <a:rPr lang="en-US" dirty="0"/>
              <a:t>Request Unit Pricing Example</a:t>
            </a:r>
          </a:p>
        </p:txBody>
      </p:sp>
      <p:sp>
        <p:nvSpPr>
          <p:cNvPr id="16" name="Content Placeholder 15">
            <a:extLst>
              <a:ext uri="{FF2B5EF4-FFF2-40B4-BE49-F238E27FC236}">
                <a16:creationId xmlns:a16="http://schemas.microsoft.com/office/drawing/2014/main" id="{3E1070D7-8700-4C09-9E46-6C696220B488}"/>
              </a:ext>
            </a:extLst>
          </p:cNvPr>
          <p:cNvSpPr>
            <a:spLocks noGrp="1"/>
          </p:cNvSpPr>
          <p:nvPr>
            <p:ph sz="quarter" idx="11"/>
          </p:nvPr>
        </p:nvSpPr>
        <p:spPr>
          <a:xfrm>
            <a:off x="1393826" y="1193220"/>
            <a:ext cx="1435100" cy="381000"/>
          </a:xfrm>
        </p:spPr>
        <p:txBody>
          <a:bodyPr/>
          <a:lstStyle/>
          <a:p>
            <a:pPr lvl="0" defTabSz="914400">
              <a:spcBef>
                <a:spcPts val="0"/>
              </a:spcBef>
              <a:buSzTx/>
              <a:defRPr/>
            </a:pPr>
            <a:r>
              <a:rPr lang="en-US" sz="1600" b="1" dirty="0">
                <a:solidFill>
                  <a:srgbClr val="505050"/>
                </a:solidFill>
                <a:latin typeface="Segoe UI Light" panose="020B0502040204020203" pitchFamily="34" charset="0"/>
                <a:cs typeface="Segoe UI Light" panose="020B0502040204020203" pitchFamily="34" charset="0"/>
              </a:rPr>
              <a:t>Storage Cost</a:t>
            </a:r>
            <a:endParaRPr lang="en-US" dirty="0"/>
          </a:p>
        </p:txBody>
      </p:sp>
      <p:pic>
        <p:nvPicPr>
          <p:cNvPr id="8" name="Picture 7">
            <a:extLst>
              <a:ext uri="{FF2B5EF4-FFF2-40B4-BE49-F238E27FC236}">
                <a16:creationId xmlns:a16="http://schemas.microsoft.com/office/drawing/2014/main" id="{34B1D279-1814-4B07-A01D-0F0193EDA68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900237" y="1613817"/>
            <a:ext cx="4212701" cy="713294"/>
          </a:xfrm>
          <a:prstGeom prst="rect">
            <a:avLst/>
          </a:prstGeom>
        </p:spPr>
      </p:pic>
      <p:sp>
        <p:nvSpPr>
          <p:cNvPr id="4" name="Content Placeholder 3">
            <a:extLst>
              <a:ext uri="{FF2B5EF4-FFF2-40B4-BE49-F238E27FC236}">
                <a16:creationId xmlns:a16="http://schemas.microsoft.com/office/drawing/2014/main" id="{2CFD0EB2-8F14-436C-B911-8C5E9E231C9F}"/>
              </a:ext>
            </a:extLst>
          </p:cNvPr>
          <p:cNvSpPr>
            <a:spLocks noGrp="1"/>
          </p:cNvSpPr>
          <p:nvPr>
            <p:ph sz="quarter" idx="16"/>
          </p:nvPr>
        </p:nvSpPr>
        <p:spPr>
          <a:xfrm>
            <a:off x="1814512" y="1699470"/>
            <a:ext cx="1552575" cy="318800"/>
          </a:xfrm>
        </p:spPr>
        <p:txBody>
          <a:bodyPr/>
          <a:lstStyle/>
          <a:p>
            <a:r>
              <a:rPr lang="en-US" sz="1100" dirty="0">
                <a:solidFill>
                  <a:srgbClr val="505050"/>
                </a:solidFill>
                <a:latin typeface="Segoe UI Semilight"/>
              </a:rPr>
              <a:t>Avg Record Size (KB)</a:t>
            </a:r>
            <a:endParaRPr lang="en-US" dirty="0"/>
          </a:p>
        </p:txBody>
      </p:sp>
      <p:sp>
        <p:nvSpPr>
          <p:cNvPr id="6" name="Content Placeholder 5">
            <a:extLst>
              <a:ext uri="{FF2B5EF4-FFF2-40B4-BE49-F238E27FC236}">
                <a16:creationId xmlns:a16="http://schemas.microsoft.com/office/drawing/2014/main" id="{AC5763B3-5F84-4053-8847-A6DF36E24034}"/>
              </a:ext>
            </a:extLst>
          </p:cNvPr>
          <p:cNvSpPr>
            <a:spLocks noGrp="1"/>
          </p:cNvSpPr>
          <p:nvPr>
            <p:ph sz="quarter" idx="17"/>
          </p:nvPr>
        </p:nvSpPr>
        <p:spPr>
          <a:xfrm>
            <a:off x="3991292" y="1695848"/>
            <a:ext cx="342900" cy="237658"/>
          </a:xfrm>
        </p:spPr>
        <p:txBody>
          <a:bodyPr/>
          <a:lstStyle/>
          <a:p>
            <a:r>
              <a:rPr lang="en-US" sz="1100" dirty="0">
                <a:solidFill>
                  <a:srgbClr val="505050"/>
                </a:solidFill>
                <a:latin typeface="Segoe UI Semilight"/>
              </a:rPr>
              <a:t>1</a:t>
            </a:r>
            <a:endParaRPr lang="en-US" dirty="0"/>
          </a:p>
        </p:txBody>
      </p:sp>
      <p:sp>
        <p:nvSpPr>
          <p:cNvPr id="9" name="Content Placeholder 8">
            <a:extLst>
              <a:ext uri="{FF2B5EF4-FFF2-40B4-BE49-F238E27FC236}">
                <a16:creationId xmlns:a16="http://schemas.microsoft.com/office/drawing/2014/main" id="{03B4439F-60A7-409A-BC04-232C1B739BDB}"/>
              </a:ext>
            </a:extLst>
          </p:cNvPr>
          <p:cNvSpPr>
            <a:spLocks noGrp="1"/>
          </p:cNvSpPr>
          <p:nvPr>
            <p:ph sz="quarter" idx="18"/>
          </p:nvPr>
        </p:nvSpPr>
        <p:spPr>
          <a:xfrm>
            <a:off x="1814512" y="2040822"/>
            <a:ext cx="1511937" cy="385475"/>
          </a:xfrm>
        </p:spPr>
        <p:txBody>
          <a:bodyPr/>
          <a:lstStyle/>
          <a:p>
            <a:r>
              <a:rPr lang="en-US" sz="1100" dirty="0">
                <a:solidFill>
                  <a:srgbClr val="505050"/>
                </a:solidFill>
                <a:latin typeface="Segoe UI Semilight"/>
              </a:rPr>
              <a:t>Number of Records</a:t>
            </a:r>
            <a:endParaRPr lang="en-US" dirty="0"/>
          </a:p>
        </p:txBody>
      </p:sp>
      <p:sp>
        <p:nvSpPr>
          <p:cNvPr id="10" name="Content Placeholder 9">
            <a:extLst>
              <a:ext uri="{FF2B5EF4-FFF2-40B4-BE49-F238E27FC236}">
                <a16:creationId xmlns:a16="http://schemas.microsoft.com/office/drawing/2014/main" id="{48A54807-91E9-4624-A3A6-6645D142625A}"/>
              </a:ext>
            </a:extLst>
          </p:cNvPr>
          <p:cNvSpPr>
            <a:spLocks noGrp="1"/>
          </p:cNvSpPr>
          <p:nvPr>
            <p:ph sz="quarter" idx="19"/>
          </p:nvPr>
        </p:nvSpPr>
        <p:spPr>
          <a:xfrm>
            <a:off x="3970972" y="2045101"/>
            <a:ext cx="749938" cy="295411"/>
          </a:xfrm>
        </p:spPr>
        <p:txBody>
          <a:bodyPr/>
          <a:lstStyle/>
          <a:p>
            <a:r>
              <a:rPr lang="en-US" sz="1100" dirty="0">
                <a:solidFill>
                  <a:srgbClr val="505050"/>
                </a:solidFill>
                <a:latin typeface="Segoe UI Semilight"/>
              </a:rPr>
              <a:t>100,000</a:t>
            </a:r>
            <a:endParaRPr lang="en-US" dirty="0"/>
          </a:p>
        </p:txBody>
      </p:sp>
      <p:pic>
        <p:nvPicPr>
          <p:cNvPr id="30" name="Picture 29">
            <a:extLst>
              <a:ext uri="{FF2B5EF4-FFF2-40B4-BE49-F238E27FC236}">
                <a16:creationId xmlns:a16="http://schemas.microsoft.com/office/drawing/2014/main" id="{E508472C-F60E-49D7-92E5-B9108F1EF397}"/>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910397" y="2288032"/>
            <a:ext cx="4212701" cy="774259"/>
          </a:xfrm>
          <a:prstGeom prst="rect">
            <a:avLst/>
          </a:prstGeom>
        </p:spPr>
      </p:pic>
      <p:sp>
        <p:nvSpPr>
          <p:cNvPr id="15" name="Content Placeholder 14">
            <a:extLst>
              <a:ext uri="{FF2B5EF4-FFF2-40B4-BE49-F238E27FC236}">
                <a16:creationId xmlns:a16="http://schemas.microsoft.com/office/drawing/2014/main" id="{DEDEE2E0-8B67-4F0A-932F-B23F79682163}"/>
              </a:ext>
            </a:extLst>
          </p:cNvPr>
          <p:cNvSpPr>
            <a:spLocks noGrp="1"/>
          </p:cNvSpPr>
          <p:nvPr>
            <p:ph sz="quarter" idx="20"/>
          </p:nvPr>
        </p:nvSpPr>
        <p:spPr>
          <a:xfrm>
            <a:off x="1805622" y="2384023"/>
            <a:ext cx="1471613" cy="310881"/>
          </a:xfrm>
        </p:spPr>
        <p:txBody>
          <a:bodyPr/>
          <a:lstStyle/>
          <a:p>
            <a:r>
              <a:rPr lang="en-US" sz="1100" dirty="0">
                <a:solidFill>
                  <a:srgbClr val="505050"/>
                </a:solidFill>
                <a:latin typeface="Segoe UI Semilight"/>
              </a:rPr>
              <a:t>Total Storage (GB)</a:t>
            </a:r>
            <a:endParaRPr lang="en-US" dirty="0"/>
          </a:p>
        </p:txBody>
      </p:sp>
      <p:sp>
        <p:nvSpPr>
          <p:cNvPr id="21" name="Content Placeholder 20">
            <a:extLst>
              <a:ext uri="{FF2B5EF4-FFF2-40B4-BE49-F238E27FC236}">
                <a16:creationId xmlns:a16="http://schemas.microsoft.com/office/drawing/2014/main" id="{A1F59503-0EC7-4C58-9966-FF7B13FFC850}"/>
              </a:ext>
            </a:extLst>
          </p:cNvPr>
          <p:cNvSpPr>
            <a:spLocks noGrp="1"/>
          </p:cNvSpPr>
          <p:nvPr>
            <p:ph sz="quarter" idx="21"/>
          </p:nvPr>
        </p:nvSpPr>
        <p:spPr>
          <a:xfrm>
            <a:off x="3970972" y="2389024"/>
            <a:ext cx="495300" cy="351283"/>
          </a:xfrm>
        </p:spPr>
        <p:txBody>
          <a:bodyPr/>
          <a:lstStyle/>
          <a:p>
            <a:r>
              <a:rPr lang="en-US" sz="1100" dirty="0">
                <a:solidFill>
                  <a:srgbClr val="505050"/>
                </a:solidFill>
                <a:latin typeface="Segoe UI Semilight"/>
              </a:rPr>
              <a:t>100</a:t>
            </a:r>
            <a:endParaRPr lang="en-US" dirty="0"/>
          </a:p>
        </p:txBody>
      </p:sp>
      <p:sp>
        <p:nvSpPr>
          <p:cNvPr id="22" name="Content Placeholder 21">
            <a:extLst>
              <a:ext uri="{FF2B5EF4-FFF2-40B4-BE49-F238E27FC236}">
                <a16:creationId xmlns:a16="http://schemas.microsoft.com/office/drawing/2014/main" id="{D60D9BF2-A989-4214-8E69-AE6F774C3821}"/>
              </a:ext>
            </a:extLst>
          </p:cNvPr>
          <p:cNvSpPr>
            <a:spLocks noGrp="1"/>
          </p:cNvSpPr>
          <p:nvPr>
            <p:ph sz="quarter" idx="22"/>
          </p:nvPr>
        </p:nvSpPr>
        <p:spPr>
          <a:xfrm>
            <a:off x="1816415" y="2582708"/>
            <a:ext cx="1655447" cy="360683"/>
          </a:xfrm>
        </p:spPr>
        <p:txBody>
          <a:bodyPr/>
          <a:lstStyle/>
          <a:p>
            <a:r>
              <a:rPr lang="en-US" sz="1100" dirty="0">
                <a:solidFill>
                  <a:srgbClr val="505050"/>
                </a:solidFill>
                <a:latin typeface="Segoe UI Semilight"/>
              </a:rPr>
              <a:t>Monthly Cost per GB</a:t>
            </a:r>
            <a:endParaRPr lang="en-US" dirty="0"/>
          </a:p>
        </p:txBody>
      </p:sp>
      <p:sp>
        <p:nvSpPr>
          <p:cNvPr id="29" name="Content Placeholder 28">
            <a:extLst>
              <a:ext uri="{FF2B5EF4-FFF2-40B4-BE49-F238E27FC236}">
                <a16:creationId xmlns:a16="http://schemas.microsoft.com/office/drawing/2014/main" id="{0A43AEBC-DC58-4568-B688-B96B91E44557}"/>
              </a:ext>
            </a:extLst>
          </p:cNvPr>
          <p:cNvSpPr>
            <a:spLocks noGrp="1"/>
          </p:cNvSpPr>
          <p:nvPr>
            <p:ph sz="quarter" idx="29"/>
          </p:nvPr>
        </p:nvSpPr>
        <p:spPr>
          <a:xfrm>
            <a:off x="4012723" y="2585139"/>
            <a:ext cx="630875" cy="329107"/>
          </a:xfrm>
        </p:spPr>
        <p:txBody>
          <a:bodyPr/>
          <a:lstStyle/>
          <a:p>
            <a:r>
              <a:rPr lang="en-US" sz="1100" dirty="0">
                <a:solidFill>
                  <a:srgbClr val="505050"/>
                </a:solidFill>
                <a:latin typeface="Segoe UI Semilight"/>
              </a:rPr>
              <a:t>$0.25</a:t>
            </a:r>
            <a:endParaRPr lang="en-US" dirty="0"/>
          </a:p>
        </p:txBody>
      </p:sp>
      <p:sp>
        <p:nvSpPr>
          <p:cNvPr id="23" name="Content Placeholder 22">
            <a:extLst>
              <a:ext uri="{FF2B5EF4-FFF2-40B4-BE49-F238E27FC236}">
                <a16:creationId xmlns:a16="http://schemas.microsoft.com/office/drawing/2014/main" id="{035F13AD-1E3D-43BC-9B3A-866DF6EF9259}"/>
              </a:ext>
            </a:extLst>
          </p:cNvPr>
          <p:cNvSpPr>
            <a:spLocks noGrp="1"/>
          </p:cNvSpPr>
          <p:nvPr>
            <p:ph sz="quarter" idx="23"/>
          </p:nvPr>
        </p:nvSpPr>
        <p:spPr>
          <a:xfrm>
            <a:off x="1770060" y="2787717"/>
            <a:ext cx="2535240" cy="381409"/>
          </a:xfrm>
        </p:spPr>
        <p:txBody>
          <a:bodyPr/>
          <a:lstStyle/>
          <a:p>
            <a:pPr lvl="0" fontAlgn="b">
              <a:spcBef>
                <a:spcPts val="0"/>
              </a:spcBef>
              <a:buSzTx/>
            </a:pPr>
            <a:r>
              <a:rPr lang="en-US" sz="1100" dirty="0">
                <a:solidFill>
                  <a:srgbClr val="505050"/>
                </a:solidFill>
                <a:latin typeface="Segoe UI Semilight"/>
              </a:rPr>
              <a:t> Expected Monthly Cost for Storage</a:t>
            </a:r>
            <a:endParaRPr lang="en-US" dirty="0"/>
          </a:p>
        </p:txBody>
      </p:sp>
      <p:sp>
        <p:nvSpPr>
          <p:cNvPr id="24" name="Content Placeholder 23">
            <a:extLst>
              <a:ext uri="{FF2B5EF4-FFF2-40B4-BE49-F238E27FC236}">
                <a16:creationId xmlns:a16="http://schemas.microsoft.com/office/drawing/2014/main" id="{0C9C0A93-DA5D-492C-BE82-C109667FE666}"/>
              </a:ext>
            </a:extLst>
          </p:cNvPr>
          <p:cNvSpPr>
            <a:spLocks noGrp="1"/>
          </p:cNvSpPr>
          <p:nvPr>
            <p:ph sz="quarter" idx="24"/>
          </p:nvPr>
        </p:nvSpPr>
        <p:spPr>
          <a:xfrm>
            <a:off x="4012723" y="2797161"/>
            <a:ext cx="704850" cy="269833"/>
          </a:xfrm>
        </p:spPr>
        <p:txBody>
          <a:bodyPr/>
          <a:lstStyle/>
          <a:p>
            <a:r>
              <a:rPr lang="en-US" sz="1100" dirty="0">
                <a:solidFill>
                  <a:srgbClr val="505050"/>
                </a:solidFill>
                <a:latin typeface="Segoe UI Semilight"/>
              </a:rPr>
              <a:t>$25.00</a:t>
            </a:r>
            <a:endParaRPr lang="en-US" dirty="0"/>
          </a:p>
        </p:txBody>
      </p:sp>
      <p:sp>
        <p:nvSpPr>
          <p:cNvPr id="12" name="Rectangle 11" descr="&quot;Expected Monthly Cost for Storage - $25.00&quot; is emphasized.">
            <a:extLst>
              <a:ext uri="{FF2B5EF4-FFF2-40B4-BE49-F238E27FC236}">
                <a16:creationId xmlns:a16="http://schemas.microsoft.com/office/drawing/2014/main" id="{E515B28D-568C-489E-8919-63F771A7B666}"/>
              </a:ext>
              <a:ext uri="{C183D7F6-B498-43B3-948B-1728B52AA6E4}">
                <adec:decorative xmlns:adec="http://schemas.microsoft.com/office/drawing/2017/decorative" val="0"/>
              </a:ext>
            </a:extLst>
          </p:cNvPr>
          <p:cNvSpPr/>
          <p:nvPr/>
        </p:nvSpPr>
        <p:spPr bwMode="auto">
          <a:xfrm>
            <a:off x="1743456" y="2804160"/>
            <a:ext cx="4450080" cy="300392"/>
          </a:xfrm>
          <a:prstGeom prst="rect">
            <a:avLst/>
          </a:prstGeom>
          <a:noFill/>
          <a:ln w="381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Content Placeholder 16">
            <a:extLst>
              <a:ext uri="{FF2B5EF4-FFF2-40B4-BE49-F238E27FC236}">
                <a16:creationId xmlns:a16="http://schemas.microsoft.com/office/drawing/2014/main" id="{E7E2EA0A-DC3D-4953-B6FF-0DD94F0A48E5}"/>
              </a:ext>
            </a:extLst>
          </p:cNvPr>
          <p:cNvSpPr>
            <a:spLocks noGrp="1"/>
          </p:cNvSpPr>
          <p:nvPr>
            <p:ph sz="quarter" idx="12"/>
          </p:nvPr>
        </p:nvSpPr>
        <p:spPr>
          <a:xfrm>
            <a:off x="1391194" y="3058790"/>
            <a:ext cx="1782658" cy="380125"/>
          </a:xfrm>
        </p:spPr>
        <p:txBody>
          <a:bodyPr/>
          <a:lstStyle/>
          <a:p>
            <a:pPr lvl="0" defTabSz="914400">
              <a:spcBef>
                <a:spcPts val="0"/>
              </a:spcBef>
              <a:buSzTx/>
              <a:defRPr/>
            </a:pPr>
            <a:r>
              <a:rPr lang="en-US" sz="1600" b="1" dirty="0">
                <a:solidFill>
                  <a:srgbClr val="505050"/>
                </a:solidFill>
                <a:latin typeface="Segoe UI Light" panose="020B0502040204020203" pitchFamily="34" charset="0"/>
                <a:cs typeface="Segoe UI Light" panose="020B0502040204020203" pitchFamily="34" charset="0"/>
              </a:rPr>
              <a:t>Throughput Cost</a:t>
            </a:r>
            <a:endParaRPr lang="en-US" dirty="0"/>
          </a:p>
        </p:txBody>
      </p:sp>
      <p:pic>
        <p:nvPicPr>
          <p:cNvPr id="39" name="Picture 38">
            <a:extLst>
              <a:ext uri="{FF2B5EF4-FFF2-40B4-BE49-F238E27FC236}">
                <a16:creationId xmlns:a16="http://schemas.microsoft.com/office/drawing/2014/main" id="{3291895D-CF32-4036-9B47-955F7CA52C3F}"/>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910397" y="3523969"/>
            <a:ext cx="7108552" cy="591363"/>
          </a:xfrm>
          <a:prstGeom prst="rect">
            <a:avLst/>
          </a:prstGeom>
        </p:spPr>
      </p:pic>
      <p:graphicFrame>
        <p:nvGraphicFramePr>
          <p:cNvPr id="44" name="Table 43">
            <a:extLst>
              <a:ext uri="{FF2B5EF4-FFF2-40B4-BE49-F238E27FC236}">
                <a16:creationId xmlns:a16="http://schemas.microsoft.com/office/drawing/2014/main" id="{174F8393-CF60-4307-A7FC-26B7AB6424CB}"/>
              </a:ext>
            </a:extLst>
          </p:cNvPr>
          <p:cNvGraphicFramePr>
            <a:graphicFrameLocks noGrp="1"/>
          </p:cNvGraphicFramePr>
          <p:nvPr/>
        </p:nvGraphicFramePr>
        <p:xfrm>
          <a:off x="1910397" y="3523969"/>
          <a:ext cx="7086600" cy="571500"/>
        </p:xfrm>
        <a:graphic>
          <a:graphicData uri="http://schemas.openxmlformats.org/drawingml/2006/table">
            <a:tbl>
              <a:tblPr firstRow="1">
                <a:tableStyleId>{5C22544A-7EE6-4342-B048-85BDC9FD1C3A}</a:tableStyleId>
              </a:tblPr>
              <a:tblGrid>
                <a:gridCol w="2399225">
                  <a:extLst>
                    <a:ext uri="{9D8B030D-6E8A-4147-A177-3AD203B41FA5}">
                      <a16:colId xmlns:a16="http://schemas.microsoft.com/office/drawing/2014/main" val="653658921"/>
                    </a:ext>
                  </a:extLst>
                </a:gridCol>
                <a:gridCol w="2161207">
                  <a:extLst>
                    <a:ext uri="{9D8B030D-6E8A-4147-A177-3AD203B41FA5}">
                      <a16:colId xmlns:a16="http://schemas.microsoft.com/office/drawing/2014/main" val="96964796"/>
                    </a:ext>
                  </a:extLst>
                </a:gridCol>
                <a:gridCol w="1536012">
                  <a:extLst>
                    <a:ext uri="{9D8B030D-6E8A-4147-A177-3AD203B41FA5}">
                      <a16:colId xmlns:a16="http://schemas.microsoft.com/office/drawing/2014/main" val="2813250456"/>
                    </a:ext>
                  </a:extLst>
                </a:gridCol>
                <a:gridCol w="990156">
                  <a:extLst>
                    <a:ext uri="{9D8B030D-6E8A-4147-A177-3AD203B41FA5}">
                      <a16:colId xmlns:a16="http://schemas.microsoft.com/office/drawing/2014/main" val="4140088661"/>
                    </a:ext>
                  </a:extLst>
                </a:gridCol>
              </a:tblGrid>
              <a:tr h="190500">
                <a:tc>
                  <a:txBody>
                    <a:bodyPr/>
                    <a:lstStyle/>
                    <a:p>
                      <a:pPr algn="l" fontAlgn="b"/>
                      <a:r>
                        <a:rPr lang="en-US" sz="1100" b="0" u="none" strike="noStrike">
                          <a:solidFill>
                            <a:schemeClr val="tx1"/>
                          </a:solidFill>
                          <a:effectLst/>
                        </a:rPr>
                        <a:t>Operation Type</a:t>
                      </a:r>
                      <a:endParaRPr lang="en-US" sz="1100" b="0" i="0" u="none" strike="noStrike">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100" b="0" u="none" strike="noStrike" dirty="0">
                          <a:solidFill>
                            <a:schemeClr val="tx1"/>
                          </a:solidFill>
                          <a:effectLst/>
                        </a:rPr>
                        <a:t>Number of Requests per Second</a:t>
                      </a:r>
                      <a:endParaRPr lang="en-US" sz="1100" b="0" i="0" u="none" strike="noStrike" dirty="0">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100" b="0" u="none" strike="noStrike" err="1">
                          <a:solidFill>
                            <a:schemeClr val="tx1"/>
                          </a:solidFill>
                          <a:effectLst/>
                        </a:rPr>
                        <a:t>Avg</a:t>
                      </a:r>
                      <a:r>
                        <a:rPr lang="en-US" sz="1100" b="0" u="none" strike="noStrike">
                          <a:solidFill>
                            <a:schemeClr val="tx1"/>
                          </a:solidFill>
                          <a:effectLst/>
                        </a:rPr>
                        <a:t> RU's per Request</a:t>
                      </a:r>
                      <a:endParaRPr lang="en-US" sz="1100" b="0" i="0" u="none" strike="noStrike">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100" b="0" u="none" strike="noStrike">
                          <a:solidFill>
                            <a:schemeClr val="tx1"/>
                          </a:solidFill>
                          <a:effectLst/>
                        </a:rPr>
                        <a:t>RU's Needed</a:t>
                      </a:r>
                      <a:endParaRPr lang="en-US" sz="1100" b="0" i="0" u="none" strike="noStrike">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6306470"/>
                  </a:ext>
                </a:extLst>
              </a:tr>
              <a:tr h="190500">
                <a:tc>
                  <a:txBody>
                    <a:bodyPr/>
                    <a:lstStyle/>
                    <a:p>
                      <a:pPr algn="l" fontAlgn="b"/>
                      <a:r>
                        <a:rPr lang="en-US" sz="1100" b="0" u="none" strike="noStrike">
                          <a:solidFill>
                            <a:schemeClr val="tx1"/>
                          </a:solidFill>
                          <a:effectLst/>
                        </a:rPr>
                        <a:t>Create</a:t>
                      </a:r>
                      <a:endParaRPr lang="en-US" sz="1100" b="0" i="0" u="none" strike="noStrike">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u="none" strike="noStrike" dirty="0">
                          <a:solidFill>
                            <a:schemeClr val="tx1"/>
                          </a:solidFill>
                          <a:effectLst/>
                        </a:rPr>
                        <a:t>100</a:t>
                      </a:r>
                      <a:endParaRPr lang="en-US" sz="1100" b="0" i="0" u="none" strike="noStrike" dirty="0">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u="none" strike="noStrike" dirty="0">
                          <a:solidFill>
                            <a:schemeClr val="tx1"/>
                          </a:solidFill>
                          <a:effectLst/>
                        </a:rPr>
                        <a:t>5</a:t>
                      </a:r>
                      <a:endParaRPr lang="en-US" sz="1100" b="0" i="0" u="none" strike="noStrike" dirty="0">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u="none" strike="noStrike">
                          <a:solidFill>
                            <a:schemeClr val="tx1"/>
                          </a:solidFill>
                          <a:effectLst/>
                        </a:rPr>
                        <a:t>500</a:t>
                      </a:r>
                      <a:endParaRPr lang="en-US" sz="1100" b="0" i="0" u="none" strike="noStrike">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0870700"/>
                  </a:ext>
                </a:extLst>
              </a:tr>
              <a:tr h="190500">
                <a:tc>
                  <a:txBody>
                    <a:bodyPr/>
                    <a:lstStyle/>
                    <a:p>
                      <a:pPr algn="l" fontAlgn="b"/>
                      <a:r>
                        <a:rPr lang="en-US" sz="1100" b="0" u="none" strike="noStrike">
                          <a:solidFill>
                            <a:schemeClr val="tx1"/>
                          </a:solidFill>
                          <a:effectLst/>
                        </a:rPr>
                        <a:t>Read</a:t>
                      </a:r>
                      <a:endParaRPr lang="en-US" sz="1100" b="0" i="0" u="none" strike="noStrike">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u="none" strike="noStrike">
                          <a:solidFill>
                            <a:schemeClr val="tx1"/>
                          </a:solidFill>
                          <a:effectLst/>
                        </a:rPr>
                        <a:t>400</a:t>
                      </a:r>
                      <a:endParaRPr lang="en-US" sz="1100" b="0" i="0" u="none" strike="noStrike">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u="none" strike="noStrike">
                          <a:solidFill>
                            <a:schemeClr val="tx1"/>
                          </a:solidFill>
                          <a:effectLst/>
                        </a:rPr>
                        <a:t>1</a:t>
                      </a:r>
                      <a:endParaRPr lang="en-US" sz="1100" b="0" i="0" u="none" strike="noStrike">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u="none" strike="noStrike" dirty="0">
                          <a:solidFill>
                            <a:schemeClr val="tx1"/>
                          </a:solidFill>
                          <a:effectLst/>
                        </a:rPr>
                        <a:t>400</a:t>
                      </a:r>
                      <a:endParaRPr lang="en-US" sz="1100" b="0" i="0" u="none" strike="noStrike" dirty="0">
                        <a:solidFill>
                          <a:schemeClr val="tx1"/>
                        </a:solidFill>
                        <a:effectLst/>
                        <a:latin typeface="Calibri" panose="020F050202020403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4497687"/>
                  </a:ext>
                </a:extLst>
              </a:tr>
            </a:tbl>
          </a:graphicData>
        </a:graphic>
      </p:graphicFrame>
      <p:pic>
        <p:nvPicPr>
          <p:cNvPr id="40" name="Picture 39">
            <a:extLst>
              <a:ext uri="{FF2B5EF4-FFF2-40B4-BE49-F238E27FC236}">
                <a16:creationId xmlns:a16="http://schemas.microsoft.com/office/drawing/2014/main" id="{A74E5FC7-5F78-4FC2-8474-001D5091ABD7}"/>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910397" y="4316607"/>
            <a:ext cx="4584589" cy="402371"/>
          </a:xfrm>
          <a:prstGeom prst="rect">
            <a:avLst/>
          </a:prstGeom>
        </p:spPr>
      </p:pic>
      <p:sp>
        <p:nvSpPr>
          <p:cNvPr id="25" name="Content Placeholder 24">
            <a:extLst>
              <a:ext uri="{FF2B5EF4-FFF2-40B4-BE49-F238E27FC236}">
                <a16:creationId xmlns:a16="http://schemas.microsoft.com/office/drawing/2014/main" id="{8E0F7ACB-3C81-4D8C-9F78-253E82606CBC}"/>
              </a:ext>
            </a:extLst>
          </p:cNvPr>
          <p:cNvSpPr>
            <a:spLocks noGrp="1"/>
          </p:cNvSpPr>
          <p:nvPr>
            <p:ph sz="quarter" idx="25"/>
          </p:nvPr>
        </p:nvSpPr>
        <p:spPr>
          <a:xfrm>
            <a:off x="1769744" y="4249913"/>
            <a:ext cx="1076325" cy="298442"/>
          </a:xfrm>
        </p:spPr>
        <p:txBody>
          <a:bodyPr/>
          <a:lstStyle/>
          <a:p>
            <a:pPr lvl="0" fontAlgn="b">
              <a:spcBef>
                <a:spcPts val="0"/>
              </a:spcBef>
              <a:buSzTx/>
            </a:pPr>
            <a:r>
              <a:rPr lang="en-US" sz="1100" dirty="0">
                <a:solidFill>
                  <a:srgbClr val="505050"/>
                </a:solidFill>
                <a:latin typeface="Segoe UI Semilight"/>
              </a:rPr>
              <a:t>Total RU/sec</a:t>
            </a:r>
            <a:endParaRPr lang="en-US" dirty="0"/>
          </a:p>
        </p:txBody>
      </p:sp>
      <p:sp>
        <p:nvSpPr>
          <p:cNvPr id="26" name="Content Placeholder 25">
            <a:extLst>
              <a:ext uri="{FF2B5EF4-FFF2-40B4-BE49-F238E27FC236}">
                <a16:creationId xmlns:a16="http://schemas.microsoft.com/office/drawing/2014/main" id="{524F628E-BA54-4DFC-AC5B-89BF06D00946}"/>
              </a:ext>
            </a:extLst>
          </p:cNvPr>
          <p:cNvSpPr>
            <a:spLocks noGrp="1"/>
          </p:cNvSpPr>
          <p:nvPr>
            <p:ph sz="quarter" idx="26"/>
          </p:nvPr>
        </p:nvSpPr>
        <p:spPr>
          <a:xfrm>
            <a:off x="4170997" y="4250723"/>
            <a:ext cx="533400" cy="296289"/>
          </a:xfrm>
        </p:spPr>
        <p:txBody>
          <a:bodyPr/>
          <a:lstStyle/>
          <a:p>
            <a:pPr lvl="0" fontAlgn="b">
              <a:spcBef>
                <a:spcPts val="0"/>
              </a:spcBef>
              <a:buSzTx/>
            </a:pPr>
            <a:r>
              <a:rPr lang="en-US" sz="1100" dirty="0">
                <a:solidFill>
                  <a:srgbClr val="505050"/>
                </a:solidFill>
                <a:latin typeface="Segoe UI Semilight"/>
              </a:rPr>
              <a:t>900</a:t>
            </a:r>
            <a:endParaRPr lang="en-US" dirty="0"/>
          </a:p>
        </p:txBody>
      </p:sp>
      <p:sp>
        <p:nvSpPr>
          <p:cNvPr id="27" name="Content Placeholder 26">
            <a:extLst>
              <a:ext uri="{FF2B5EF4-FFF2-40B4-BE49-F238E27FC236}">
                <a16:creationId xmlns:a16="http://schemas.microsoft.com/office/drawing/2014/main" id="{7147125E-CFF7-4433-BBB3-91FEA503ADF7}"/>
              </a:ext>
            </a:extLst>
          </p:cNvPr>
          <p:cNvSpPr>
            <a:spLocks noGrp="1"/>
          </p:cNvSpPr>
          <p:nvPr>
            <p:ph sz="quarter" idx="27"/>
          </p:nvPr>
        </p:nvSpPr>
        <p:spPr>
          <a:xfrm>
            <a:off x="1779268" y="4432282"/>
            <a:ext cx="2087882" cy="370421"/>
          </a:xfrm>
        </p:spPr>
        <p:txBody>
          <a:bodyPr/>
          <a:lstStyle/>
          <a:p>
            <a:r>
              <a:rPr lang="en-US" sz="1100" dirty="0">
                <a:solidFill>
                  <a:srgbClr val="505050"/>
                </a:solidFill>
                <a:latin typeface="Segoe UI Semilight"/>
              </a:rPr>
              <a:t>Monthly Cost per 100 RU/sec</a:t>
            </a:r>
            <a:endParaRPr lang="en-US" dirty="0"/>
          </a:p>
        </p:txBody>
      </p:sp>
      <p:sp>
        <p:nvSpPr>
          <p:cNvPr id="28" name="Content Placeholder 27">
            <a:extLst>
              <a:ext uri="{FF2B5EF4-FFF2-40B4-BE49-F238E27FC236}">
                <a16:creationId xmlns:a16="http://schemas.microsoft.com/office/drawing/2014/main" id="{A034402C-ADBD-40A8-8F6A-A26D2A573482}"/>
              </a:ext>
            </a:extLst>
          </p:cNvPr>
          <p:cNvSpPr>
            <a:spLocks noGrp="1"/>
          </p:cNvSpPr>
          <p:nvPr>
            <p:ph sz="quarter" idx="28"/>
          </p:nvPr>
        </p:nvSpPr>
        <p:spPr>
          <a:xfrm>
            <a:off x="4170997" y="4447466"/>
            <a:ext cx="742951" cy="353943"/>
          </a:xfrm>
        </p:spPr>
        <p:txBody>
          <a:bodyPr/>
          <a:lstStyle/>
          <a:p>
            <a:r>
              <a:rPr lang="en-US" sz="1100" dirty="0">
                <a:solidFill>
                  <a:srgbClr val="505050"/>
                </a:solidFill>
                <a:latin typeface="Segoe UI Semilight"/>
              </a:rPr>
              <a:t> $6.00</a:t>
            </a:r>
            <a:endParaRPr lang="en-US" dirty="0"/>
          </a:p>
        </p:txBody>
      </p:sp>
      <p:pic>
        <p:nvPicPr>
          <p:cNvPr id="41" name="Picture 40">
            <a:extLst>
              <a:ext uri="{FF2B5EF4-FFF2-40B4-BE49-F238E27FC236}">
                <a16:creationId xmlns:a16="http://schemas.microsoft.com/office/drawing/2014/main" id="{594A2584-F221-4C54-ABBF-7F6FB78267DE}"/>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1910397" y="4673780"/>
            <a:ext cx="4584589" cy="213378"/>
          </a:xfrm>
          <a:prstGeom prst="rect">
            <a:avLst/>
          </a:prstGeom>
        </p:spPr>
      </p:pic>
      <p:sp>
        <p:nvSpPr>
          <p:cNvPr id="31" name="Content Placeholder 30">
            <a:extLst>
              <a:ext uri="{FF2B5EF4-FFF2-40B4-BE49-F238E27FC236}">
                <a16:creationId xmlns:a16="http://schemas.microsoft.com/office/drawing/2014/main" id="{EC45AF41-3D7E-4692-B065-83A726BDF69B}"/>
              </a:ext>
            </a:extLst>
          </p:cNvPr>
          <p:cNvSpPr>
            <a:spLocks noGrp="1"/>
          </p:cNvSpPr>
          <p:nvPr>
            <p:ph sz="quarter" idx="31"/>
          </p:nvPr>
        </p:nvSpPr>
        <p:spPr>
          <a:xfrm>
            <a:off x="1779268" y="4637209"/>
            <a:ext cx="2676525" cy="309349"/>
          </a:xfrm>
        </p:spPr>
        <p:txBody>
          <a:bodyPr/>
          <a:lstStyle/>
          <a:p>
            <a:pPr lvl="0" fontAlgn="b">
              <a:spcBef>
                <a:spcPts val="0"/>
              </a:spcBef>
              <a:buSzTx/>
            </a:pPr>
            <a:r>
              <a:rPr lang="en-US" sz="1100" dirty="0">
                <a:solidFill>
                  <a:srgbClr val="505050"/>
                </a:solidFill>
                <a:latin typeface="Segoe UI Semilight"/>
              </a:rPr>
              <a:t>Expected Monthly Cost for Throughput</a:t>
            </a:r>
            <a:endParaRPr lang="en-US" dirty="0"/>
          </a:p>
        </p:txBody>
      </p:sp>
      <p:sp>
        <p:nvSpPr>
          <p:cNvPr id="32" name="Content Placeholder 31">
            <a:extLst>
              <a:ext uri="{FF2B5EF4-FFF2-40B4-BE49-F238E27FC236}">
                <a16:creationId xmlns:a16="http://schemas.microsoft.com/office/drawing/2014/main" id="{6EA5B5CB-A5E4-4D34-8276-32D6AAE97BC8}"/>
              </a:ext>
            </a:extLst>
          </p:cNvPr>
          <p:cNvSpPr>
            <a:spLocks noGrp="1"/>
          </p:cNvSpPr>
          <p:nvPr>
            <p:ph sz="quarter" idx="32"/>
          </p:nvPr>
        </p:nvSpPr>
        <p:spPr>
          <a:xfrm>
            <a:off x="4205922" y="4634165"/>
            <a:ext cx="742950" cy="309350"/>
          </a:xfrm>
        </p:spPr>
        <p:txBody>
          <a:bodyPr/>
          <a:lstStyle/>
          <a:p>
            <a:r>
              <a:rPr lang="en-US" sz="1100" dirty="0">
                <a:solidFill>
                  <a:srgbClr val="505050"/>
                </a:solidFill>
                <a:latin typeface="Segoe UI Semilight"/>
              </a:rPr>
              <a:t>$54.00 </a:t>
            </a:r>
            <a:endParaRPr lang="en-US" dirty="0"/>
          </a:p>
        </p:txBody>
      </p:sp>
      <p:sp>
        <p:nvSpPr>
          <p:cNvPr id="14" name="Rectangle 13" descr="&quot;Expected Monthly Cost for Throughput - $54.00&quot; is emphasized.">
            <a:extLst>
              <a:ext uri="{FF2B5EF4-FFF2-40B4-BE49-F238E27FC236}">
                <a16:creationId xmlns:a16="http://schemas.microsoft.com/office/drawing/2014/main" id="{1F2E3900-073D-4B82-A9CF-04FD02AFBE5A}"/>
              </a:ext>
              <a:ext uri="{C183D7F6-B498-43B3-948B-1728B52AA6E4}">
                <adec:decorative xmlns:adec="http://schemas.microsoft.com/office/drawing/2017/decorative" val="0"/>
              </a:ext>
            </a:extLst>
          </p:cNvPr>
          <p:cNvSpPr/>
          <p:nvPr/>
        </p:nvSpPr>
        <p:spPr bwMode="auto">
          <a:xfrm>
            <a:off x="1809174" y="4663266"/>
            <a:ext cx="4737930" cy="300392"/>
          </a:xfrm>
          <a:prstGeom prst="rect">
            <a:avLst/>
          </a:prstGeom>
          <a:noFill/>
          <a:ln w="381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Content Placeholder 17">
            <a:extLst>
              <a:ext uri="{FF2B5EF4-FFF2-40B4-BE49-F238E27FC236}">
                <a16:creationId xmlns:a16="http://schemas.microsoft.com/office/drawing/2014/main" id="{8F69D597-71E3-4270-9FDB-91777E0777F6}"/>
              </a:ext>
            </a:extLst>
          </p:cNvPr>
          <p:cNvSpPr>
            <a:spLocks noGrp="1"/>
          </p:cNvSpPr>
          <p:nvPr>
            <p:ph sz="quarter" idx="13"/>
          </p:nvPr>
        </p:nvSpPr>
        <p:spPr>
          <a:xfrm>
            <a:off x="1393826" y="4926322"/>
            <a:ext cx="1968500" cy="380125"/>
          </a:xfrm>
        </p:spPr>
        <p:txBody>
          <a:bodyPr/>
          <a:lstStyle/>
          <a:p>
            <a:pPr lvl="0" defTabSz="914400">
              <a:spcBef>
                <a:spcPts val="0"/>
              </a:spcBef>
              <a:buSzTx/>
              <a:defRPr/>
            </a:pPr>
            <a:r>
              <a:rPr lang="en-US" sz="1600" b="1" dirty="0">
                <a:solidFill>
                  <a:srgbClr val="505050"/>
                </a:solidFill>
                <a:latin typeface="Segoe UI Light" panose="020B0502040204020203" pitchFamily="34" charset="0"/>
                <a:cs typeface="Segoe UI Light" panose="020B0502040204020203" pitchFamily="34" charset="0"/>
              </a:rPr>
              <a:t>Total Monthly Cost</a:t>
            </a:r>
            <a:endParaRPr lang="en-US" dirty="0"/>
          </a:p>
        </p:txBody>
      </p:sp>
      <p:sp>
        <p:nvSpPr>
          <p:cNvPr id="19" name="Content Placeholder 18">
            <a:extLst>
              <a:ext uri="{FF2B5EF4-FFF2-40B4-BE49-F238E27FC236}">
                <a16:creationId xmlns:a16="http://schemas.microsoft.com/office/drawing/2014/main" id="{2EC0653C-D83D-4488-9437-A2D2B3A9A576}"/>
              </a:ext>
            </a:extLst>
          </p:cNvPr>
          <p:cNvSpPr>
            <a:spLocks noGrp="1"/>
          </p:cNvSpPr>
          <p:nvPr>
            <p:ph sz="quarter" idx="14"/>
          </p:nvPr>
        </p:nvSpPr>
        <p:spPr>
          <a:xfrm>
            <a:off x="1769743" y="5375825"/>
            <a:ext cx="5396707" cy="698308"/>
          </a:xfrm>
        </p:spPr>
        <p:txBody>
          <a:bodyPr/>
          <a:lstStyle/>
          <a:p>
            <a:pPr lvl="0" defTabSz="914400">
              <a:spcBef>
                <a:spcPts val="0"/>
              </a:spcBef>
              <a:buSzTx/>
            </a:pPr>
            <a:r>
              <a:rPr lang="en-US" sz="1100" dirty="0">
                <a:solidFill>
                  <a:srgbClr val="505050"/>
                </a:solidFill>
                <a:latin typeface="Segoe UI Semilight"/>
              </a:rPr>
              <a:t>[Total Monthly Cost] = [Monthly Cost for Storage] + [Monthly Cost for Throughput]</a:t>
            </a:r>
          </a:p>
          <a:p>
            <a:pPr lvl="0" defTabSz="914400">
              <a:spcBef>
                <a:spcPts val="0"/>
              </a:spcBef>
              <a:buSzTx/>
            </a:pPr>
            <a:r>
              <a:rPr lang="en-US" sz="1100" spc="11000" dirty="0">
                <a:solidFill>
                  <a:srgbClr val="505050"/>
                </a:solidFill>
                <a:latin typeface="Segoe UI Semilight"/>
              </a:rPr>
              <a:t> </a:t>
            </a:r>
            <a:r>
              <a:rPr lang="en-US" sz="1100" dirty="0">
                <a:solidFill>
                  <a:srgbClr val="505050"/>
                </a:solidFill>
                <a:latin typeface="Segoe UI Semilight"/>
              </a:rPr>
              <a:t>=   $25</a:t>
            </a:r>
            <a:r>
              <a:rPr lang="en-US" sz="1100" spc="11500" dirty="0">
                <a:solidFill>
                  <a:srgbClr val="505050"/>
                </a:solidFill>
                <a:latin typeface="Segoe UI Semilight"/>
              </a:rPr>
              <a:t> </a:t>
            </a:r>
            <a:r>
              <a:rPr lang="en-US" sz="1100" dirty="0">
                <a:solidFill>
                  <a:srgbClr val="505050"/>
                </a:solidFill>
                <a:latin typeface="Segoe UI Semilight"/>
              </a:rPr>
              <a:t>+</a:t>
            </a:r>
            <a:r>
              <a:rPr lang="en-US" sz="1100" spc="500" dirty="0">
                <a:solidFill>
                  <a:srgbClr val="505050"/>
                </a:solidFill>
                <a:latin typeface="Segoe UI Semilight"/>
              </a:rPr>
              <a:t> </a:t>
            </a:r>
            <a:r>
              <a:rPr lang="en-US" sz="1100" dirty="0">
                <a:solidFill>
                  <a:srgbClr val="505050"/>
                </a:solidFill>
                <a:latin typeface="Segoe UI Semilight"/>
              </a:rPr>
              <a:t>$54</a:t>
            </a:r>
          </a:p>
          <a:p>
            <a:pPr lvl="0" defTabSz="914400">
              <a:spcBef>
                <a:spcPts val="0"/>
              </a:spcBef>
              <a:buSzTx/>
            </a:pPr>
            <a:r>
              <a:rPr lang="en-US" sz="1100" spc="11000" dirty="0">
                <a:solidFill>
                  <a:srgbClr val="505050"/>
                </a:solidFill>
                <a:latin typeface="Segoe UI Semilight"/>
              </a:rPr>
              <a:t> </a:t>
            </a:r>
            <a:r>
              <a:rPr lang="en-US" sz="1100" dirty="0">
                <a:solidFill>
                  <a:srgbClr val="505050"/>
                </a:solidFill>
                <a:latin typeface="Segoe UI Semilight"/>
              </a:rPr>
              <a:t>=</a:t>
            </a:r>
            <a:r>
              <a:rPr lang="en-US" sz="1100" spc="600" dirty="0">
                <a:solidFill>
                  <a:srgbClr val="505050"/>
                </a:solidFill>
                <a:latin typeface="Segoe UI Semilight"/>
              </a:rPr>
              <a:t> </a:t>
            </a:r>
            <a:r>
              <a:rPr lang="en-US" sz="1100" dirty="0">
                <a:solidFill>
                  <a:srgbClr val="505050"/>
                </a:solidFill>
                <a:latin typeface="Segoe UI Semilight"/>
              </a:rPr>
              <a:t>$79 per month</a:t>
            </a:r>
            <a:endParaRPr lang="en-US" dirty="0"/>
          </a:p>
        </p:txBody>
      </p:sp>
      <p:sp>
        <p:nvSpPr>
          <p:cNvPr id="20" name="Content Placeholder 19">
            <a:extLst>
              <a:ext uri="{FF2B5EF4-FFF2-40B4-BE49-F238E27FC236}">
                <a16:creationId xmlns:a16="http://schemas.microsoft.com/office/drawing/2014/main" id="{25E4088C-8641-4C73-B62A-47CBCA5753BF}"/>
              </a:ext>
            </a:extLst>
          </p:cNvPr>
          <p:cNvSpPr>
            <a:spLocks noGrp="1"/>
          </p:cNvSpPr>
          <p:nvPr>
            <p:ph sz="quarter" idx="15"/>
          </p:nvPr>
        </p:nvSpPr>
        <p:spPr>
          <a:xfrm>
            <a:off x="2994279" y="6401608"/>
            <a:ext cx="7086600" cy="353943"/>
          </a:xfrm>
        </p:spPr>
        <p:txBody>
          <a:bodyPr/>
          <a:lstStyle/>
          <a:p>
            <a:pPr lvl="0" defTabSz="914400">
              <a:spcBef>
                <a:spcPts val="0"/>
              </a:spcBef>
              <a:buSzTx/>
            </a:pPr>
            <a:r>
              <a:rPr lang="en-US" sz="1100" dirty="0">
                <a:solidFill>
                  <a:srgbClr val="505050"/>
                </a:solidFill>
                <a:latin typeface="Segoe UI Semilight"/>
              </a:rPr>
              <a:t>* pricing may vary by region; for up-to-date pricing, see: </a:t>
            </a:r>
            <a:r>
              <a:rPr lang="en-US" sz="1100" dirty="0">
                <a:solidFill>
                  <a:srgbClr val="0067B7"/>
                </a:solidFill>
                <a:latin typeface="Segoe UI Semilight"/>
                <a:hlinkClick r:id="rId8">
                  <a:extLst>
                    <a:ext uri="{A12FA001-AC4F-418D-AE19-62706E023703}">
                      <ahyp:hlinkClr xmlns:ahyp="http://schemas.microsoft.com/office/drawing/2018/hyperlinkcolor" val="tx"/>
                    </a:ext>
                  </a:extLst>
                </a:hlinkClick>
              </a:rPr>
              <a:t>https://azure.microsoft.com/pricing/details/cosmos-db/</a:t>
            </a:r>
            <a:endParaRPr lang="en-US" dirty="0">
              <a:solidFill>
                <a:srgbClr val="0067B7"/>
              </a:solidFill>
            </a:endParaRPr>
          </a:p>
        </p:txBody>
      </p:sp>
    </p:spTree>
    <p:extLst>
      <p:ext uri="{BB962C8B-B14F-4D97-AF65-F5344CB8AC3E}">
        <p14:creationId xmlns:p14="http://schemas.microsoft.com/office/powerpoint/2010/main" val="18573987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xEl>
                                              <p:pRg st="0" end="0"/>
                                            </p:txEl>
                                          </p:spTgt>
                                        </p:tgtEl>
                                        <p:attrNameLst>
                                          <p:attrName>style.visibility</p:attrName>
                                        </p:attrNameLst>
                                      </p:cBhvr>
                                      <p:to>
                                        <p:strVal val="visible"/>
                                      </p:to>
                                    </p:set>
                                    <p:animEffect transition="in" filter="fade">
                                      <p:cBhvr>
                                        <p:cTn id="10" dur="500"/>
                                        <p:tgtEl>
                                          <p:spTgt spid="15">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0" end="0"/>
                                            </p:txEl>
                                          </p:spTgt>
                                        </p:tgtEl>
                                        <p:attrNameLst>
                                          <p:attrName>style.visibility</p:attrName>
                                        </p:attrNameLst>
                                      </p:cBhvr>
                                      <p:to>
                                        <p:strVal val="visible"/>
                                      </p:to>
                                    </p:set>
                                    <p:animEffect transition="in" filter="fade">
                                      <p:cBhvr>
                                        <p:cTn id="13" dur="500"/>
                                        <p:tgtEl>
                                          <p:spTgt spid="21">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
                                            <p:txEl>
                                              <p:pRg st="0" end="0"/>
                                            </p:txEl>
                                          </p:spTgt>
                                        </p:tgtEl>
                                        <p:attrNameLst>
                                          <p:attrName>style.visibility</p:attrName>
                                        </p:attrNameLst>
                                      </p:cBhvr>
                                      <p:to>
                                        <p:strVal val="visible"/>
                                      </p:to>
                                    </p:set>
                                    <p:animEffect transition="in" filter="fade">
                                      <p:cBhvr>
                                        <p:cTn id="16" dur="500"/>
                                        <p:tgtEl>
                                          <p:spTgt spid="22">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9">
                                            <p:txEl>
                                              <p:pRg st="0" end="0"/>
                                            </p:txEl>
                                          </p:spTgt>
                                        </p:tgtEl>
                                        <p:attrNameLst>
                                          <p:attrName>style.visibility</p:attrName>
                                        </p:attrNameLst>
                                      </p:cBhvr>
                                      <p:to>
                                        <p:strVal val="visible"/>
                                      </p:to>
                                    </p:set>
                                    <p:animEffect transition="in" filter="fade">
                                      <p:cBhvr>
                                        <p:cTn id="19" dur="500"/>
                                        <p:tgtEl>
                                          <p:spTgt spid="29">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xEl>
                                              <p:pRg st="0" end="0"/>
                                            </p:txEl>
                                          </p:spTgt>
                                        </p:tgtEl>
                                        <p:attrNameLst>
                                          <p:attrName>style.visibility</p:attrName>
                                        </p:attrNameLst>
                                      </p:cBhvr>
                                      <p:to>
                                        <p:strVal val="visible"/>
                                      </p:to>
                                    </p:set>
                                    <p:animEffect transition="in" filter="fade">
                                      <p:cBhvr>
                                        <p:cTn id="22" dur="500"/>
                                        <p:tgtEl>
                                          <p:spTgt spid="23">
                                            <p:txEl>
                                              <p:pRg st="0" end="0"/>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
                                            <p:txEl>
                                              <p:pRg st="0" end="0"/>
                                            </p:txEl>
                                          </p:spTgt>
                                        </p:tgtEl>
                                        <p:attrNameLst>
                                          <p:attrName>style.visibility</p:attrName>
                                        </p:attrNameLst>
                                      </p:cBhvr>
                                      <p:to>
                                        <p:strVal val="visible"/>
                                      </p:to>
                                    </p:set>
                                    <p:animEffect transition="in" filter="fade">
                                      <p:cBhvr>
                                        <p:cTn id="25" dur="500"/>
                                        <p:tgtEl>
                                          <p:spTgt spid="24">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500"/>
                                        <p:tgtEl>
                                          <p:spTgt spid="39"/>
                                        </p:tgtEl>
                                      </p:cBhvr>
                                    </p:animEffect>
                                  </p:childTnLst>
                                </p:cTn>
                              </p:par>
                              <p:par>
                                <p:cTn id="36" presetID="10" presetClass="entr" presetSubtype="0" fill="hold" nodeType="with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fade">
                                      <p:cBhvr>
                                        <p:cTn id="38" dur="500"/>
                                        <p:tgtEl>
                                          <p:spTgt spid="4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0"/>
                                        </p:tgtEl>
                                        <p:attrNameLst>
                                          <p:attrName>style.visibility</p:attrName>
                                        </p:attrNameLst>
                                      </p:cBhvr>
                                      <p:to>
                                        <p:strVal val="visible"/>
                                      </p:to>
                                    </p:set>
                                    <p:animEffect transition="in" filter="fade">
                                      <p:cBhvr>
                                        <p:cTn id="46" dur="500"/>
                                        <p:tgtEl>
                                          <p:spTgt spid="4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5">
                                            <p:txEl>
                                              <p:pRg st="0" end="0"/>
                                            </p:txEl>
                                          </p:spTgt>
                                        </p:tgtEl>
                                        <p:attrNameLst>
                                          <p:attrName>style.visibility</p:attrName>
                                        </p:attrNameLst>
                                      </p:cBhvr>
                                      <p:to>
                                        <p:strVal val="visible"/>
                                      </p:to>
                                    </p:set>
                                    <p:animEffect transition="in" filter="fade">
                                      <p:cBhvr>
                                        <p:cTn id="49" dur="500"/>
                                        <p:tgtEl>
                                          <p:spTgt spid="25">
                                            <p:txEl>
                                              <p:pRg st="0" end="0"/>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6">
                                            <p:txEl>
                                              <p:pRg st="0" end="0"/>
                                            </p:txEl>
                                          </p:spTgt>
                                        </p:tgtEl>
                                        <p:attrNameLst>
                                          <p:attrName>style.visibility</p:attrName>
                                        </p:attrNameLst>
                                      </p:cBhvr>
                                      <p:to>
                                        <p:strVal val="visible"/>
                                      </p:to>
                                    </p:set>
                                    <p:animEffect transition="in" filter="fade">
                                      <p:cBhvr>
                                        <p:cTn id="52" dur="500"/>
                                        <p:tgtEl>
                                          <p:spTgt spid="26">
                                            <p:txEl>
                                              <p:pRg st="0" end="0"/>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7">
                                            <p:txEl>
                                              <p:pRg st="0" end="0"/>
                                            </p:txEl>
                                          </p:spTgt>
                                        </p:tgtEl>
                                        <p:attrNameLst>
                                          <p:attrName>style.visibility</p:attrName>
                                        </p:attrNameLst>
                                      </p:cBhvr>
                                      <p:to>
                                        <p:strVal val="visible"/>
                                      </p:to>
                                    </p:set>
                                    <p:animEffect transition="in" filter="fade">
                                      <p:cBhvr>
                                        <p:cTn id="55" dur="500"/>
                                        <p:tgtEl>
                                          <p:spTgt spid="27">
                                            <p:txEl>
                                              <p:pRg st="0" end="0"/>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8">
                                            <p:txEl>
                                              <p:pRg st="0" end="0"/>
                                            </p:txEl>
                                          </p:spTgt>
                                        </p:tgtEl>
                                        <p:attrNameLst>
                                          <p:attrName>style.visibility</p:attrName>
                                        </p:attrNameLst>
                                      </p:cBhvr>
                                      <p:to>
                                        <p:strVal val="visible"/>
                                      </p:to>
                                    </p:set>
                                    <p:animEffect transition="in" filter="fade">
                                      <p:cBhvr>
                                        <p:cTn id="58" dur="500"/>
                                        <p:tgtEl>
                                          <p:spTgt spid="28">
                                            <p:txEl>
                                              <p:pRg st="0" end="0"/>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par>
                                <p:cTn id="64" presetID="10" presetClass="entr" presetSubtype="0" fill="hold" nodeType="withEffect">
                                  <p:stCondLst>
                                    <p:cond delay="0"/>
                                  </p:stCondLst>
                                  <p:childTnLst>
                                    <p:set>
                                      <p:cBhvr>
                                        <p:cTn id="65" dur="1" fill="hold">
                                          <p:stCondLst>
                                            <p:cond delay="0"/>
                                          </p:stCondLst>
                                        </p:cTn>
                                        <p:tgtEl>
                                          <p:spTgt spid="41"/>
                                        </p:tgtEl>
                                        <p:attrNameLst>
                                          <p:attrName>style.visibility</p:attrName>
                                        </p:attrNameLst>
                                      </p:cBhvr>
                                      <p:to>
                                        <p:strVal val="visible"/>
                                      </p:to>
                                    </p:set>
                                    <p:animEffect transition="in" filter="fade">
                                      <p:cBhvr>
                                        <p:cTn id="66" dur="500"/>
                                        <p:tgtEl>
                                          <p:spTgt spid="4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1">
                                            <p:txEl>
                                              <p:pRg st="0" end="0"/>
                                            </p:txEl>
                                          </p:spTgt>
                                        </p:tgtEl>
                                        <p:attrNameLst>
                                          <p:attrName>style.visibility</p:attrName>
                                        </p:attrNameLst>
                                      </p:cBhvr>
                                      <p:to>
                                        <p:strVal val="visible"/>
                                      </p:to>
                                    </p:set>
                                    <p:animEffect transition="in" filter="fade">
                                      <p:cBhvr>
                                        <p:cTn id="69" dur="500"/>
                                        <p:tgtEl>
                                          <p:spTgt spid="31">
                                            <p:txEl>
                                              <p:pRg st="0" end="0"/>
                                            </p:txEl>
                                          </p:spTgt>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2">
                                            <p:txEl>
                                              <p:pRg st="0" end="0"/>
                                            </p:txEl>
                                          </p:spTgt>
                                        </p:tgtEl>
                                        <p:attrNameLst>
                                          <p:attrName>style.visibility</p:attrName>
                                        </p:attrNameLst>
                                      </p:cBhvr>
                                      <p:to>
                                        <p:strVal val="visible"/>
                                      </p:to>
                                    </p:set>
                                    <p:animEffect transition="in" filter="fade">
                                      <p:cBhvr>
                                        <p:cTn id="72" dur="500"/>
                                        <p:tgtEl>
                                          <p:spTgt spid="32">
                                            <p:txEl>
                                              <p:pRg st="0" end="0"/>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18"/>
                                        </p:tgtEl>
                                        <p:attrNameLst>
                                          <p:attrName>style.visibility</p:attrName>
                                        </p:attrNameLst>
                                      </p:cBhvr>
                                      <p:to>
                                        <p:strVal val="visible"/>
                                      </p:to>
                                    </p:set>
                                    <p:animEffect transition="in" filter="fade">
                                      <p:cBhvr>
                                        <p:cTn id="77" dur="500"/>
                                        <p:tgtEl>
                                          <p:spTgt spid="18"/>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9"/>
                                        </p:tgtEl>
                                        <p:attrNameLst>
                                          <p:attrName>style.visibility</p:attrName>
                                        </p:attrNameLst>
                                      </p:cBhvr>
                                      <p:to>
                                        <p:strVal val="visible"/>
                                      </p:to>
                                    </p:set>
                                    <p:animEffect transition="in" filter="fade">
                                      <p:cBhvr>
                                        <p:cTn id="8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21" grpId="0" build="p"/>
      <p:bldP spid="22" grpId="0" build="p"/>
      <p:bldP spid="29" grpId="0" build="p"/>
      <p:bldP spid="23" grpId="0" build="p"/>
      <p:bldP spid="24" grpId="0" build="p"/>
      <p:bldP spid="12" grpId="0" animBg="1"/>
      <p:bldP spid="17" grpId="0"/>
      <p:bldP spid="25" grpId="0" build="p"/>
      <p:bldP spid="26" grpId="0" build="p"/>
      <p:bldP spid="27" grpId="0" build="p"/>
      <p:bldP spid="28" grpId="0" build="p"/>
      <p:bldP spid="31" grpId="0" build="p"/>
      <p:bldP spid="32" grpId="0" build="p"/>
      <p:bldP spid="14" grpId="0" animBg="1"/>
      <p:bldP spid="18" grpId="0"/>
      <p:bldP spid="19"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790802" y="2760618"/>
            <a:ext cx="10852769" cy="1057166"/>
          </a:xfrm>
        </p:spPr>
        <p:txBody>
          <a:bodyPr/>
          <a:lstStyle/>
          <a:p>
            <a:pPr algn="ctr"/>
            <a:r>
              <a:rPr lang="en-US" sz="4800" dirty="0">
                <a:solidFill>
                  <a:schemeClr val="bg1"/>
                </a:solidFill>
                <a:latin typeface="+mn-lt"/>
              </a:rPr>
              <a:t>Introduction to Azure Cosmos DB </a:t>
            </a:r>
            <a:br>
              <a:rPr lang="en-US" sz="4800" dirty="0">
                <a:solidFill>
                  <a:schemeClr val="bg1"/>
                </a:solidFill>
                <a:latin typeface="+mn-lt"/>
              </a:rPr>
            </a:br>
            <a:endParaRPr lang="en-US" sz="4800" dirty="0">
              <a:solidFill>
                <a:schemeClr val="bg1"/>
              </a:solidFill>
              <a:latin typeface="+mn-lt"/>
            </a:endParaRPr>
          </a:p>
        </p:txBody>
      </p:sp>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2" name="Title 9">
            <a:extLst>
              <a:ext uri="{FF2B5EF4-FFF2-40B4-BE49-F238E27FC236}">
                <a16:creationId xmlns:a16="http://schemas.microsoft.com/office/drawing/2014/main" id="{68410213-2627-4B9C-924C-292F66A11726}"/>
              </a:ext>
            </a:extLst>
          </p:cNvPr>
          <p:cNvSpPr txBox="1">
            <a:spLocks/>
          </p:cNvSpPr>
          <p:nvPr/>
        </p:nvSpPr>
        <p:spPr>
          <a:xfrm>
            <a:off x="1339231" y="2964736"/>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dirty="0">
              <a:ln w="3175">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6F16C0E7-CD90-4716-9AB3-712BD732A74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B28A260A-40D2-40A1-A914-FE8EB22356CF}"/>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222171006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166506-B205-6A4D-163F-0AF1847794F1}"/>
              </a:ext>
            </a:extLst>
          </p:cNvPr>
          <p:cNvSpPr>
            <a:spLocks noGrp="1"/>
          </p:cNvSpPr>
          <p:nvPr>
            <p:ph type="title"/>
          </p:nvPr>
        </p:nvSpPr>
        <p:spPr/>
        <p:txBody>
          <a:bodyPr/>
          <a:lstStyle/>
          <a:p>
            <a:r>
              <a:rPr lang="en-US" dirty="0"/>
              <a:t>RU Provisioning – Provisioned Throughput</a:t>
            </a:r>
          </a:p>
        </p:txBody>
      </p:sp>
      <p:sp>
        <p:nvSpPr>
          <p:cNvPr id="3" name="Text Placeholder 2">
            <a:extLst>
              <a:ext uri="{FF2B5EF4-FFF2-40B4-BE49-F238E27FC236}">
                <a16:creationId xmlns:a16="http://schemas.microsoft.com/office/drawing/2014/main" id="{3EB86E02-C9F1-4BAE-2868-0410CA3C7208}"/>
              </a:ext>
            </a:extLst>
          </p:cNvPr>
          <p:cNvSpPr>
            <a:spLocks noGrp="1"/>
          </p:cNvSpPr>
          <p:nvPr>
            <p:ph type="body" sz="quarter" idx="10"/>
          </p:nvPr>
        </p:nvSpPr>
        <p:spPr>
          <a:xfrm>
            <a:off x="426424" y="1516233"/>
            <a:ext cx="11115142" cy="3894079"/>
          </a:xfrm>
        </p:spPr>
        <p:txBody>
          <a:bodyPr/>
          <a:lstStyle/>
          <a:p>
            <a:r>
              <a:rPr lang="en-US" dirty="0"/>
              <a:t>Manual</a:t>
            </a:r>
          </a:p>
          <a:p>
            <a:pPr marL="255588" lvl="1" indent="0">
              <a:buNone/>
            </a:pPr>
            <a:endParaRPr lang="en-US" dirty="0"/>
          </a:p>
          <a:p>
            <a:pPr marL="255588" lvl="1" indent="0">
              <a:buNone/>
            </a:pPr>
            <a:endParaRPr lang="en-US" dirty="0"/>
          </a:p>
          <a:p>
            <a:r>
              <a:rPr lang="en-US" dirty="0" err="1"/>
              <a:t>Autoscale</a:t>
            </a:r>
            <a:endParaRPr lang="en-US" dirty="0"/>
          </a:p>
          <a:p>
            <a:endParaRPr lang="en-US" dirty="0"/>
          </a:p>
          <a:p>
            <a:r>
              <a:rPr lang="en-US" dirty="0"/>
              <a:t>Introducing Burst Capacity : </a:t>
            </a:r>
          </a:p>
          <a:p>
            <a:pPr marL="0" indent="0">
              <a:buNone/>
            </a:pPr>
            <a:r>
              <a:rPr lang="en-US" sz="1800" dirty="0">
                <a:latin typeface="Calibri body"/>
              </a:rPr>
              <a:t>	With burst capacity – you can now benefit from previous, unused capacity</a:t>
            </a:r>
          </a:p>
          <a:p>
            <a:pPr marL="0" indent="0">
              <a:buNone/>
            </a:pPr>
            <a:r>
              <a:rPr lang="en-US" sz="1800" dirty="0">
                <a:latin typeface="Calibri body"/>
              </a:rPr>
              <a:t>	Compatible with provisioned throughput (manual or </a:t>
            </a:r>
            <a:r>
              <a:rPr lang="en-US" sz="1800" dirty="0" err="1">
                <a:latin typeface="Calibri body"/>
              </a:rPr>
              <a:t>autoscale</a:t>
            </a:r>
            <a:r>
              <a:rPr lang="en-US" sz="1800" dirty="0">
                <a:latin typeface="Calibri body"/>
              </a:rPr>
              <a:t>)</a:t>
            </a:r>
          </a:p>
          <a:p>
            <a:pPr lvl="4"/>
            <a:r>
              <a:rPr lang="en-US" sz="1600" dirty="0">
                <a:solidFill>
                  <a:schemeClr val="accent1"/>
                </a:solidFill>
                <a:ea typeface="+mn-lt"/>
                <a:cs typeface="+mn-lt"/>
              </a:rPr>
              <a:t>Scenario</a:t>
            </a:r>
          </a:p>
          <a:p>
            <a:pPr lvl="4"/>
            <a:r>
              <a:rPr lang="en-US" sz="1200" dirty="0">
                <a:ea typeface="+mn-lt"/>
                <a:cs typeface="+mn-lt"/>
              </a:rPr>
              <a:t>Physicals partitions have a small amount of RU/s</a:t>
            </a:r>
          </a:p>
          <a:p>
            <a:pPr lvl="4"/>
            <a:r>
              <a:rPr lang="en-US" sz="1200" dirty="0">
                <a:ea typeface="+mn-lt"/>
                <a:cs typeface="+mn-lt"/>
              </a:rPr>
              <a:t>A partition is idle for some time, the moment a spike happens – avoid 429s with burst</a:t>
            </a:r>
            <a:endParaRPr lang="en-US" sz="1200" dirty="0"/>
          </a:p>
        </p:txBody>
      </p:sp>
    </p:spTree>
    <p:extLst>
      <p:ext uri="{BB962C8B-B14F-4D97-AF65-F5344CB8AC3E}">
        <p14:creationId xmlns:p14="http://schemas.microsoft.com/office/powerpoint/2010/main" val="388620038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89614-816A-2B94-7F0B-81F6502AF838}"/>
              </a:ext>
            </a:extLst>
          </p:cNvPr>
          <p:cNvSpPr>
            <a:spLocks noGrp="1"/>
          </p:cNvSpPr>
          <p:nvPr>
            <p:ph type="title"/>
          </p:nvPr>
        </p:nvSpPr>
        <p:spPr>
          <a:xfrm>
            <a:off x="427980" y="177694"/>
            <a:ext cx="11336039" cy="744014"/>
          </a:xfrm>
        </p:spPr>
        <p:txBody>
          <a:bodyPr/>
          <a:lstStyle/>
          <a:p>
            <a:r>
              <a:rPr lang="en-US" dirty="0"/>
              <a:t>Burst capacity</a:t>
            </a:r>
          </a:p>
        </p:txBody>
      </p:sp>
      <p:sp>
        <p:nvSpPr>
          <p:cNvPr id="6" name="TextBox 5">
            <a:extLst>
              <a:ext uri="{FF2B5EF4-FFF2-40B4-BE49-F238E27FC236}">
                <a16:creationId xmlns:a16="http://schemas.microsoft.com/office/drawing/2014/main" id="{76E84A24-D18A-DF77-BCBE-3BB54D4BF3A5}"/>
              </a:ext>
            </a:extLst>
          </p:cNvPr>
          <p:cNvSpPr txBox="1"/>
          <p:nvPr/>
        </p:nvSpPr>
        <p:spPr>
          <a:xfrm>
            <a:off x="317045" y="786080"/>
            <a:ext cx="9435096" cy="2769989"/>
          </a:xfrm>
          <a:prstGeom prst="rect">
            <a:avLst/>
          </a:prstGeom>
          <a:noFill/>
        </p:spPr>
        <p:txBody>
          <a:bodyPr wrap="square">
            <a:spAutoFit/>
          </a:bodyPr>
          <a:lstStyle/>
          <a:p>
            <a:r>
              <a:rPr lang="en-US" dirty="0"/>
              <a:t>Allow physical partitions to accumulate up to maximum of 5 minutes of unused capacity</a:t>
            </a:r>
          </a:p>
          <a:p>
            <a:r>
              <a:rPr lang="en-US" dirty="0"/>
              <a:t>This “burst capacity” can be used to burst at rate of 3000 RU/s per partition (max)</a:t>
            </a:r>
          </a:p>
          <a:p>
            <a:r>
              <a:rPr lang="en-US" dirty="0"/>
              <a:t>//100 – 1000 RU/s – accumulate up to 1000 RU/s </a:t>
            </a:r>
          </a:p>
          <a:p>
            <a:endParaRPr lang="en-US" dirty="0"/>
          </a:p>
          <a:p>
            <a:r>
              <a:rPr lang="en-US" sz="1400" dirty="0">
                <a:solidFill>
                  <a:schemeClr val="accent1"/>
                </a:solidFill>
                <a:latin typeface="+mj-lt"/>
              </a:rPr>
              <a:t>Example</a:t>
            </a:r>
          </a:p>
          <a:p>
            <a:pPr lvl="1"/>
            <a:r>
              <a:rPr lang="en-US" sz="1400" dirty="0"/>
              <a:t>Partition has 100 RU/s</a:t>
            </a:r>
          </a:p>
          <a:p>
            <a:pPr lvl="1"/>
            <a:r>
              <a:rPr lang="en-US" sz="1400" dirty="0"/>
              <a:t>Idle for 300 seconds</a:t>
            </a:r>
          </a:p>
          <a:p>
            <a:pPr lvl="1"/>
            <a:r>
              <a:rPr lang="en-US" sz="1400" dirty="0"/>
              <a:t>Accumulates 300 * 100 = 30,000 RUs</a:t>
            </a:r>
          </a:p>
          <a:p>
            <a:pPr lvl="1"/>
            <a:r>
              <a:rPr lang="en-US" sz="1400" dirty="0"/>
              <a:t>Can burst for 30,000 / 3000 = 10 seconds at 3000 RU/s</a:t>
            </a:r>
          </a:p>
          <a:p>
            <a:pPr lvl="1"/>
            <a:endParaRPr lang="en-US" sz="1400" dirty="0"/>
          </a:p>
          <a:p>
            <a:r>
              <a:rPr lang="en-US" sz="1400" dirty="0"/>
              <a:t>Any unused capacity in each second can be accumulated toward </a:t>
            </a:r>
            <a:r>
              <a:rPr lang="en-US" dirty="0"/>
              <a:t>the burst capacity</a:t>
            </a:r>
          </a:p>
        </p:txBody>
      </p:sp>
      <p:pic>
        <p:nvPicPr>
          <p:cNvPr id="7" name="Picture 2" descr="Burst capacity - Log analytics query shows unused capacity which is used to allow future spikes in traffic">
            <a:hlinkClick r:id="rId2"/>
            <a:extLst>
              <a:ext uri="{FF2B5EF4-FFF2-40B4-BE49-F238E27FC236}">
                <a16:creationId xmlns:a16="http://schemas.microsoft.com/office/drawing/2014/main" id="{B00BC913-0E57-EFCB-4418-F027A2A544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3107" y="3539473"/>
            <a:ext cx="5899605" cy="33185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36211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166506-B205-6A4D-163F-0AF1847794F1}"/>
              </a:ext>
            </a:extLst>
          </p:cNvPr>
          <p:cNvSpPr>
            <a:spLocks noGrp="1"/>
          </p:cNvSpPr>
          <p:nvPr>
            <p:ph type="title"/>
          </p:nvPr>
        </p:nvSpPr>
        <p:spPr/>
        <p:txBody>
          <a:bodyPr/>
          <a:lstStyle/>
          <a:p>
            <a:r>
              <a:rPr lang="en-US" dirty="0"/>
              <a:t>RU Provisioning – Serverless</a:t>
            </a:r>
          </a:p>
        </p:txBody>
      </p:sp>
      <p:sp>
        <p:nvSpPr>
          <p:cNvPr id="3" name="Text Placeholder 2">
            <a:extLst>
              <a:ext uri="{FF2B5EF4-FFF2-40B4-BE49-F238E27FC236}">
                <a16:creationId xmlns:a16="http://schemas.microsoft.com/office/drawing/2014/main" id="{3EB86E02-C9F1-4BAE-2868-0410CA3C7208}"/>
              </a:ext>
            </a:extLst>
          </p:cNvPr>
          <p:cNvSpPr>
            <a:spLocks noGrp="1"/>
          </p:cNvSpPr>
          <p:nvPr>
            <p:ph type="body" sz="quarter" idx="10"/>
          </p:nvPr>
        </p:nvSpPr>
        <p:spPr>
          <a:xfrm>
            <a:off x="426424" y="1179840"/>
            <a:ext cx="7772550" cy="2559162"/>
          </a:xfrm>
        </p:spPr>
        <p:txBody>
          <a:bodyPr/>
          <a:lstStyle/>
          <a:p>
            <a:pPr marL="0" indent="0" algn="l" rtl="0" fontAlgn="base">
              <a:buNone/>
            </a:pPr>
            <a:r>
              <a:rPr lang="en-US" sz="1600" b="0" i="0" u="none" strike="noStrike" dirty="0">
                <a:solidFill>
                  <a:srgbClr val="000000"/>
                </a:solidFill>
                <a:effectLst/>
                <a:latin typeface="Calibri" panose="020F0502020204030204" pitchFamily="34" charset="0"/>
              </a:rPr>
              <a:t>Allows customers to use Cosmos DB and get billed only for consumed RUs and storage</a:t>
            </a:r>
            <a:r>
              <a:rPr lang="en-US" sz="1600" b="0" i="0" dirty="0">
                <a:solidFill>
                  <a:srgbClr val="000000"/>
                </a:solidFill>
                <a:effectLst/>
                <a:latin typeface="Calibri" panose="020F0502020204030204" pitchFamily="34" charset="0"/>
              </a:rPr>
              <a:t>​</a:t>
            </a:r>
            <a:endParaRPr lang="en-US" sz="1600"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600" b="0" i="0" u="none" strike="noStrike" dirty="0">
                <a:solidFill>
                  <a:srgbClr val="000000"/>
                </a:solidFill>
                <a:effectLst/>
                <a:latin typeface="Calibri" panose="020F0502020204030204" pitchFamily="34" charset="0"/>
              </a:rPr>
              <a:t>$0.25 / GB of storage; $0.25 / 1 million RUs consumed</a:t>
            </a:r>
          </a:p>
          <a:p>
            <a:pPr marL="0" indent="0" algn="l" rtl="0" fontAlgn="base">
              <a:buNone/>
            </a:pPr>
            <a:r>
              <a:rPr lang="en-US" sz="1200" b="1" i="0" u="none" strike="noStrike" dirty="0">
                <a:solidFill>
                  <a:srgbClr val="000000"/>
                </a:solidFill>
                <a:effectLst/>
                <a:latin typeface="Calibri" panose="020F0502020204030204" pitchFamily="34" charset="0"/>
              </a:rPr>
              <a:t>No guarantees on latency or throughput</a:t>
            </a:r>
            <a:r>
              <a:rPr lang="en-US" sz="1200" b="0" i="0" dirty="0">
                <a:solidFill>
                  <a:srgbClr val="000000"/>
                </a:solidFill>
                <a:effectLst/>
                <a:latin typeface="Calibri" panose="020F0502020204030204" pitchFamily="34" charset="0"/>
              </a:rPr>
              <a:t>​</a:t>
            </a:r>
            <a:endParaRPr lang="en-US" sz="1200" b="0" i="0" dirty="0">
              <a:solidFill>
                <a:srgbClr val="000000"/>
              </a:solidFill>
              <a:effectLst/>
              <a:latin typeface="Arial" panose="020B0604020202020204" pitchFamily="34" charset="0"/>
            </a:endParaRPr>
          </a:p>
          <a:p>
            <a:pPr marL="0" indent="0" algn="l" rtl="0" fontAlgn="base">
              <a:buNone/>
            </a:pPr>
            <a:r>
              <a:rPr lang="en-US" sz="1200" b="0" i="0" u="none" strike="noStrike" dirty="0">
                <a:solidFill>
                  <a:srgbClr val="000000"/>
                </a:solidFill>
                <a:effectLst/>
                <a:latin typeface="Calibri" panose="020F0502020204030204" pitchFamily="34" charset="0"/>
              </a:rPr>
              <a:t>Availability SLA</a:t>
            </a:r>
            <a:r>
              <a:rPr lang="en-US" sz="1200" b="0" i="0" dirty="0">
                <a:solidFill>
                  <a:srgbClr val="000000"/>
                </a:solidFill>
                <a:effectLst/>
                <a:latin typeface="Calibri" panose="020F0502020204030204" pitchFamily="34" charset="0"/>
              </a:rPr>
              <a:t>​</a:t>
            </a:r>
            <a:endParaRPr lang="en-US" sz="1200"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200" b="0" i="0" u="none" strike="noStrike" dirty="0">
                <a:solidFill>
                  <a:srgbClr val="000000"/>
                </a:solidFill>
                <a:effectLst/>
                <a:latin typeface="Calibri" panose="020F0502020204030204" pitchFamily="34" charset="0"/>
              </a:rPr>
              <a:t>99.9 without AZ</a:t>
            </a:r>
            <a:r>
              <a:rPr lang="en-US" sz="1200" b="0" i="0" dirty="0">
                <a:solidFill>
                  <a:srgbClr val="000000"/>
                </a:solidFill>
                <a:effectLst/>
                <a:latin typeface="Calibri" panose="020F0502020204030204" pitchFamily="34" charset="0"/>
              </a:rPr>
              <a:t>​</a:t>
            </a:r>
            <a:endParaRPr lang="en-US" sz="1200"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100" b="0" i="0" u="none" strike="noStrike" dirty="0">
                <a:solidFill>
                  <a:srgbClr val="000000"/>
                </a:solidFill>
                <a:effectLst/>
                <a:latin typeface="Calibri" panose="020F0502020204030204" pitchFamily="34" charset="0"/>
              </a:rPr>
              <a:t>99.95 with AZ</a:t>
            </a:r>
            <a:endParaRPr lang="en-US" sz="1100" b="0" i="0" dirty="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sz="1600" b="0" i="0" dirty="0">
              <a:solidFill>
                <a:srgbClr val="000000"/>
              </a:solidFill>
              <a:effectLst/>
              <a:latin typeface="Arial" panose="020B0604020202020204" pitchFamily="34" charset="0"/>
            </a:endParaRPr>
          </a:p>
          <a:p>
            <a:pPr marL="0" indent="0">
              <a:buNone/>
            </a:pPr>
            <a:endParaRPr lang="en-US" sz="1200" dirty="0"/>
          </a:p>
        </p:txBody>
      </p:sp>
      <p:pic>
        <p:nvPicPr>
          <p:cNvPr id="2050" name="Picture 2">
            <a:extLst>
              <a:ext uri="{FF2B5EF4-FFF2-40B4-BE49-F238E27FC236}">
                <a16:creationId xmlns:a16="http://schemas.microsoft.com/office/drawing/2014/main" id="{FCC46068-02CB-333A-F39D-10761050AB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424" y="3276104"/>
            <a:ext cx="7996260" cy="307356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E7E4729-8379-40D2-D5E4-342F7B8A79D0}"/>
              </a:ext>
            </a:extLst>
          </p:cNvPr>
          <p:cNvSpPr txBox="1"/>
          <p:nvPr/>
        </p:nvSpPr>
        <p:spPr>
          <a:xfrm>
            <a:off x="8855485" y="1179840"/>
            <a:ext cx="3018833" cy="211134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New 1TB container preview </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Signup on Azure portal </a:t>
            </a:r>
          </a:p>
        </p:txBody>
      </p:sp>
    </p:spTree>
    <p:extLst>
      <p:ext uri="{BB962C8B-B14F-4D97-AF65-F5344CB8AC3E}">
        <p14:creationId xmlns:p14="http://schemas.microsoft.com/office/powerpoint/2010/main" val="336435703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48E30-09F7-4138-9AC8-1DC9720C87D2}"/>
              </a:ext>
            </a:extLst>
          </p:cNvPr>
          <p:cNvSpPr>
            <a:spLocks noGrp="1"/>
          </p:cNvSpPr>
          <p:nvPr>
            <p:ph type="title"/>
          </p:nvPr>
        </p:nvSpPr>
        <p:spPr/>
        <p:txBody>
          <a:bodyPr wrap="square" anchor="ctr">
            <a:normAutofit/>
          </a:bodyPr>
          <a:lstStyle/>
          <a:p>
            <a:r>
              <a:rPr lang="en-US" dirty="0"/>
              <a:t>Other </a:t>
            </a:r>
            <a:r>
              <a:rPr lang="en-US" sz="3600" dirty="0"/>
              <a:t>Elasticity Preview features</a:t>
            </a:r>
          </a:p>
        </p:txBody>
      </p:sp>
      <p:sp>
        <p:nvSpPr>
          <p:cNvPr id="5" name="Content Placeholder 4">
            <a:extLst>
              <a:ext uri="{FF2B5EF4-FFF2-40B4-BE49-F238E27FC236}">
                <a16:creationId xmlns:a16="http://schemas.microsoft.com/office/drawing/2014/main" id="{EC1E2B5F-E556-487E-BC60-413711BC767C}"/>
              </a:ext>
            </a:extLst>
          </p:cNvPr>
          <p:cNvSpPr>
            <a:spLocks noGrp="1"/>
          </p:cNvSpPr>
          <p:nvPr>
            <p:ph type="body" sz="quarter" idx="11"/>
          </p:nvPr>
        </p:nvSpPr>
        <p:spPr/>
        <p:txBody>
          <a:bodyPr wrap="square" anchor="ctr">
            <a:normAutofit/>
          </a:bodyPr>
          <a:lstStyle/>
          <a:p>
            <a:r>
              <a:rPr lang="en-US" dirty="0">
                <a:latin typeface="Segoe UI"/>
                <a:cs typeface="Segoe UI"/>
              </a:rPr>
              <a:t>Adaptive RUs – Private Preview</a:t>
            </a:r>
            <a:endParaRPr lang="en-US" dirty="0"/>
          </a:p>
          <a:p>
            <a:r>
              <a:rPr lang="en-US" dirty="0">
                <a:latin typeface="Segoe UI"/>
                <a:cs typeface="Segoe UI"/>
              </a:rPr>
              <a:t>Burstable RUs – Private Preview</a:t>
            </a:r>
            <a:endParaRPr lang="en-US" dirty="0"/>
          </a:p>
          <a:p>
            <a:r>
              <a:rPr lang="en-US" dirty="0" err="1">
                <a:latin typeface="Segoe UI"/>
                <a:cs typeface="Segoe UI"/>
              </a:rPr>
              <a:t>Subpartitioning</a:t>
            </a:r>
            <a:r>
              <a:rPr lang="en-US" dirty="0">
                <a:latin typeface="Segoe UI"/>
                <a:cs typeface="Segoe UI"/>
              </a:rPr>
              <a:t> – Preview</a:t>
            </a:r>
          </a:p>
          <a:p>
            <a:r>
              <a:rPr lang="en-US" dirty="0">
                <a:latin typeface="Segoe UI"/>
                <a:cs typeface="Segoe UI"/>
              </a:rPr>
              <a:t>Lower </a:t>
            </a:r>
            <a:r>
              <a:rPr lang="en-US" dirty="0" err="1">
                <a:latin typeface="Segoe UI"/>
                <a:cs typeface="Segoe UI"/>
              </a:rPr>
              <a:t>autoscale</a:t>
            </a:r>
            <a:r>
              <a:rPr lang="en-US" dirty="0">
                <a:latin typeface="Segoe UI"/>
                <a:cs typeface="Segoe UI"/>
              </a:rPr>
              <a:t> minimums - Preview</a:t>
            </a:r>
          </a:p>
          <a:p>
            <a:r>
              <a:rPr lang="en-US" dirty="0">
                <a:latin typeface="Segoe UI"/>
                <a:cs typeface="Segoe UI"/>
              </a:rPr>
              <a:t>Materialized Views - Preview</a:t>
            </a:r>
          </a:p>
        </p:txBody>
      </p:sp>
    </p:spTree>
    <p:extLst>
      <p:ext uri="{BB962C8B-B14F-4D97-AF65-F5344CB8AC3E}">
        <p14:creationId xmlns:p14="http://schemas.microsoft.com/office/powerpoint/2010/main" val="248122848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accent2">
            <a:alpha val="86000"/>
          </a:schemeClr>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790802" y="2760618"/>
            <a:ext cx="10852769" cy="1057166"/>
          </a:xfrm>
        </p:spPr>
        <p:txBody>
          <a:bodyPr/>
          <a:lstStyle/>
          <a:p>
            <a:pPr algn="ctr"/>
            <a:r>
              <a:rPr lang="en-US" sz="4800" dirty="0">
                <a:solidFill>
                  <a:schemeClr val="bg1"/>
                </a:solidFill>
                <a:latin typeface="+mn-lt"/>
              </a:rPr>
              <a:t>Azure Cosmos DB HTAP for OLTP &amp; OLAP</a:t>
            </a:r>
            <a:br>
              <a:rPr lang="en-US" sz="3600" dirty="0">
                <a:solidFill>
                  <a:schemeClr val="bg2"/>
                </a:solidFill>
                <a:latin typeface="Calibri" panose="020F0502020204030204" pitchFamily="34" charset="0"/>
                <a:ea typeface="Calibri" panose="020F0502020204030204" pitchFamily="34" charset="0"/>
                <a:cs typeface="Times New Roman" panose="02020603050405020304" pitchFamily="18" charset="0"/>
              </a:rPr>
            </a:br>
            <a:br>
              <a:rPr lang="en-US" sz="4800" dirty="0">
                <a:solidFill>
                  <a:schemeClr val="bg1"/>
                </a:solidFill>
                <a:latin typeface="+mn-lt"/>
              </a:rPr>
            </a:br>
            <a:endParaRPr lang="en-US" sz="4800" dirty="0">
              <a:solidFill>
                <a:schemeClr val="bg1"/>
              </a:solidFill>
              <a:latin typeface="+mn-lt"/>
            </a:endParaRPr>
          </a:p>
        </p:txBody>
      </p:sp>
      <p:sp>
        <p:nvSpPr>
          <p:cNvPr id="3" name="Rectangle 2">
            <a:extLst>
              <a:ext uri="{FF2B5EF4-FFF2-40B4-BE49-F238E27FC236}">
                <a16:creationId xmlns:a16="http://schemas.microsoft.com/office/drawing/2014/main" id="{7540F09F-ADE9-4A93-BCF9-A185A198C1B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2" name="Title 9">
            <a:extLst>
              <a:ext uri="{FF2B5EF4-FFF2-40B4-BE49-F238E27FC236}">
                <a16:creationId xmlns:a16="http://schemas.microsoft.com/office/drawing/2014/main" id="{68410213-2627-4B9C-924C-292F66A11726}"/>
              </a:ext>
            </a:extLst>
          </p:cNvPr>
          <p:cNvSpPr txBox="1">
            <a:spLocks/>
          </p:cNvSpPr>
          <p:nvPr/>
        </p:nvSpPr>
        <p:spPr>
          <a:xfrm>
            <a:off x="1339231" y="2964736"/>
            <a:ext cx="10852769" cy="648930"/>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2800" b="0" kern="1200" cap="none" spc="-147" baseline="0">
                <a:ln w="3175">
                  <a:noFill/>
                </a:ln>
                <a:solidFill>
                  <a:srgbClr val="000000"/>
                </a:soli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dirty="0">
              <a:ln w="3175">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6F16C0E7-CD90-4716-9AB3-712BD732A74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B28A260A-40D2-40A1-A914-FE8EB22356CF}"/>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393239078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22CBA015-CAFF-0045-80C0-F5319A32F174}"/>
              </a:ext>
            </a:extLst>
          </p:cNvPr>
          <p:cNvSpPr/>
          <p:nvPr/>
        </p:nvSpPr>
        <p:spPr bwMode="auto">
          <a:xfrm>
            <a:off x="572571" y="1761892"/>
            <a:ext cx="5212079" cy="4733487"/>
          </a:xfrm>
          <a:prstGeom prst="rect">
            <a:avLst/>
          </a:prstGeom>
          <a:solidFill>
            <a:schemeClr val="bg1"/>
          </a:solidFill>
          <a:ln w="9525">
            <a:noFill/>
            <a:headEnd type="none" w="med" len="med"/>
            <a:tailEnd type="none" w="med" len="med"/>
          </a:ln>
          <a:effectLst>
            <a:outerShdw blurRad="177800" dist="50800" dir="24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82880" bIns="146304" numCol="1" spcCol="0" rtlCol="0" fromWordArt="0" anchor="t" anchorCtr="0" forceAA="0" compatLnSpc="1">
            <a:prstTxWarp prst="textNoShape">
              <a:avLst/>
            </a:prstTxWarp>
            <a:noAutofit/>
          </a:bodyPr>
          <a:lstStyle/>
          <a:p>
            <a:pPr marL="0" marR="0" lvl="0" indent="0" algn="l" defTabSz="710593" rtl="0" eaLnBrk="1" fontAlgn="auto" latinLnBrk="0" hangingPunct="1">
              <a:lnSpc>
                <a:spcPts val="1400"/>
              </a:lnSpc>
              <a:spcBef>
                <a:spcPct val="0"/>
              </a:spcBef>
              <a:spcAft>
                <a:spcPts val="0"/>
              </a:spcAft>
              <a:buClrTx/>
              <a:buSzTx/>
              <a:buFontTx/>
              <a:buNone/>
              <a:tabLst/>
              <a:defRPr/>
            </a:pPr>
            <a:endParaRPr kumimoji="0" lang="en-US" sz="1050" b="0" i="0" u="none" strike="noStrike" kern="0" cap="none" spc="0" normalizeH="0" baseline="0" noProof="0">
              <a:ln>
                <a:noFill/>
              </a:ln>
              <a:solidFill>
                <a:srgbClr val="282828"/>
              </a:solidFill>
              <a:effectLst/>
              <a:uLnTx/>
              <a:uFillTx/>
              <a:latin typeface="Segoe UI Semibold" panose="020B0702040204020203" pitchFamily="34" charset="0"/>
              <a:ea typeface="+mn-ea"/>
              <a:cs typeface="Segoe UI Semibold" panose="020B0702040204020203" pitchFamily="34" charset="0"/>
            </a:endParaRPr>
          </a:p>
        </p:txBody>
      </p:sp>
      <p:sp>
        <p:nvSpPr>
          <p:cNvPr id="5" name="TextBox 4">
            <a:extLst>
              <a:ext uri="{FF2B5EF4-FFF2-40B4-BE49-F238E27FC236}">
                <a16:creationId xmlns:a16="http://schemas.microsoft.com/office/drawing/2014/main" id="{D45AEBDA-53BD-4D82-93CD-5BC84B21BF39}"/>
              </a:ext>
            </a:extLst>
          </p:cNvPr>
          <p:cNvSpPr txBox="1"/>
          <p:nvPr/>
        </p:nvSpPr>
        <p:spPr>
          <a:xfrm>
            <a:off x="6407352" y="2481441"/>
            <a:ext cx="5212077"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panose="020B0402040204020203" pitchFamily="34" charset="0"/>
              <a:ea typeface="Segoe UI Semilight" charset="0"/>
              <a:cs typeface="Segoe UI Semilight" panose="020B04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a:ea typeface="Segoe UI Semilight" charset="0"/>
                <a:cs typeface="Segoe UI Semilight" panose="020B0402040204020203" pitchFamily="34" charset="0"/>
              </a:rPr>
              <a:t>If you have large amounts of data, analytical queries will take a long time to run and will be resource intensiv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panose="020B0402040204020203" pitchFamily="34" charset="0"/>
              <a:ea typeface="Segoe UI Semilight" charset="0"/>
              <a:cs typeface="Segoe UI Semilight" panose="020B04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Segoe UI Semibold"/>
                <a:ea typeface="+mn-ea"/>
                <a:cs typeface="Segoe UI Semilight" panose="020B0402040204020203" pitchFamily="34" charset="0"/>
              </a:rPr>
              <a:t>HUGE performance impact </a:t>
            </a:r>
            <a:r>
              <a:rPr kumimoji="0" lang="en-US" sz="18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on</a:t>
            </a:r>
            <a:r>
              <a:rPr kumimoji="0" lang="en-US" sz="1800" b="1"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 </a:t>
            </a:r>
            <a:r>
              <a:rPr kumimoji="0" lang="en-US" sz="18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the OLTP workloads.</a:t>
            </a:r>
          </a:p>
        </p:txBody>
      </p:sp>
      <p:pic>
        <p:nvPicPr>
          <p:cNvPr id="7" name="Graphic 6" descr="Warning">
            <a:extLst>
              <a:ext uri="{FF2B5EF4-FFF2-40B4-BE49-F238E27FC236}">
                <a16:creationId xmlns:a16="http://schemas.microsoft.com/office/drawing/2014/main" id="{20AA30FF-4A73-4DBF-A1BA-54ABF64D9F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21377" y="1813709"/>
            <a:ext cx="697116" cy="697116"/>
          </a:xfrm>
          <a:prstGeom prst="rect">
            <a:avLst/>
          </a:prstGeom>
        </p:spPr>
      </p:pic>
      <p:pic>
        <p:nvPicPr>
          <p:cNvPr id="26" name="Picture 25">
            <a:extLst>
              <a:ext uri="{FF2B5EF4-FFF2-40B4-BE49-F238E27FC236}">
                <a16:creationId xmlns:a16="http://schemas.microsoft.com/office/drawing/2014/main" id="{18F70564-B4F7-46B2-88E3-3A6A1133741C}"/>
              </a:ext>
            </a:extLst>
          </p:cNvPr>
          <p:cNvPicPr>
            <a:picLocks noChangeAspect="1"/>
          </p:cNvPicPr>
          <p:nvPr/>
        </p:nvPicPr>
        <p:blipFill>
          <a:blip r:embed="rId5"/>
          <a:stretch>
            <a:fillRect/>
          </a:stretch>
        </p:blipFill>
        <p:spPr>
          <a:xfrm>
            <a:off x="3579583" y="5078552"/>
            <a:ext cx="713232" cy="713232"/>
          </a:xfrm>
          <a:prstGeom prst="rect">
            <a:avLst/>
          </a:prstGeom>
        </p:spPr>
      </p:pic>
      <p:pic>
        <p:nvPicPr>
          <p:cNvPr id="2" name="Picture 4">
            <a:extLst>
              <a:ext uri="{FF2B5EF4-FFF2-40B4-BE49-F238E27FC236}">
                <a16:creationId xmlns:a16="http://schemas.microsoft.com/office/drawing/2014/main" id="{96C0FC04-DAD8-474E-8827-AD08EB9E5F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34919" y="2030976"/>
            <a:ext cx="914400" cy="479849"/>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FB5036B2-7E2C-BE4B-9935-21AA94A1A881}"/>
              </a:ext>
            </a:extLst>
          </p:cNvPr>
          <p:cNvSpPr>
            <a:spLocks noGrp="1"/>
          </p:cNvSpPr>
          <p:nvPr>
            <p:ph type="title"/>
          </p:nvPr>
        </p:nvSpPr>
        <p:spPr>
          <a:xfrm>
            <a:off x="572571" y="330905"/>
            <a:ext cx="11235677" cy="553998"/>
          </a:xfrm>
        </p:spPr>
        <p:txBody>
          <a:bodyPr/>
          <a:lstStyle/>
          <a:p>
            <a:r>
              <a:rPr lang="en-US">
                <a:solidFill>
                  <a:srgbClr val="0078DC"/>
                </a:solidFill>
                <a:latin typeface="Segoe UI Semibold" panose="020B0702040204020203" pitchFamily="34" charset="0"/>
                <a:ea typeface="Segoe UI Semilight" charset="0"/>
                <a:cs typeface="Segoe UI Semibold" panose="020B0702040204020203" pitchFamily="34" charset="0"/>
              </a:rPr>
              <a:t>Running OLTP and OLAP workloads on the same database</a:t>
            </a:r>
            <a:endParaRPr lang="en-US">
              <a:solidFill>
                <a:srgbClr val="0078DC"/>
              </a:solidFill>
            </a:endParaRPr>
          </a:p>
        </p:txBody>
      </p:sp>
      <p:cxnSp>
        <p:nvCxnSpPr>
          <p:cNvPr id="32" name="Straight Arrow Connector 31">
            <a:extLst>
              <a:ext uri="{FF2B5EF4-FFF2-40B4-BE49-F238E27FC236}">
                <a16:creationId xmlns:a16="http://schemas.microsoft.com/office/drawing/2014/main" id="{FABC7078-9718-6848-8B29-1EABABFDCB32}"/>
              </a:ext>
            </a:extLst>
          </p:cNvPr>
          <p:cNvCxnSpPr>
            <a:cxnSpLocks/>
          </p:cNvCxnSpPr>
          <p:nvPr/>
        </p:nvCxnSpPr>
        <p:spPr>
          <a:xfrm flipV="1">
            <a:off x="3880860" y="2661663"/>
            <a:ext cx="0" cy="523962"/>
          </a:xfrm>
          <a:prstGeom prst="straightConnector1">
            <a:avLst/>
          </a:prstGeom>
          <a:ln w="15875">
            <a:solidFill>
              <a:schemeClr val="tx1"/>
            </a:solidFill>
            <a:prstDash val="solid"/>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0794415-F063-E341-9AC8-7BFBAB9146B6}"/>
              </a:ext>
            </a:extLst>
          </p:cNvPr>
          <p:cNvCxnSpPr>
            <a:cxnSpLocks/>
          </p:cNvCxnSpPr>
          <p:nvPr/>
        </p:nvCxnSpPr>
        <p:spPr>
          <a:xfrm flipV="1">
            <a:off x="4015157" y="2661663"/>
            <a:ext cx="0" cy="523962"/>
          </a:xfrm>
          <a:prstGeom prst="straightConnector1">
            <a:avLst/>
          </a:prstGeom>
          <a:ln w="15875">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E7698D0F-EA5F-1744-A976-7CB72FD29902}"/>
              </a:ext>
            </a:extLst>
          </p:cNvPr>
          <p:cNvSpPr txBox="1"/>
          <p:nvPr/>
        </p:nvSpPr>
        <p:spPr>
          <a:xfrm>
            <a:off x="1045378" y="4089107"/>
            <a:ext cx="1152194" cy="64633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panose="020B0502040204020203" pitchFamily="34" charset="0"/>
                <a:ea typeface="+mn-ea"/>
                <a:cs typeface="Segoe UI Semibold" panose="020B0502040204020203" pitchFamily="34" charset="0"/>
              </a:rPr>
              <a:t>Real-ti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panose="020B0502040204020203" pitchFamily="34" charset="0"/>
                <a:ea typeface="+mn-ea"/>
                <a:cs typeface="Segoe UI Semibold" panose="020B0502040204020203" pitchFamily="34" charset="0"/>
              </a:rPr>
              <a:t>Applications &amp; Services</a:t>
            </a:r>
          </a:p>
        </p:txBody>
      </p:sp>
      <p:pic>
        <p:nvPicPr>
          <p:cNvPr id="65" name="Picture 64">
            <a:extLst>
              <a:ext uri="{FF2B5EF4-FFF2-40B4-BE49-F238E27FC236}">
                <a16:creationId xmlns:a16="http://schemas.microsoft.com/office/drawing/2014/main" id="{AE43A5F4-646E-1240-AD57-1052AC9F974C}"/>
              </a:ext>
            </a:extLst>
          </p:cNvPr>
          <p:cNvPicPr>
            <a:picLocks noChangeAspect="1"/>
          </p:cNvPicPr>
          <p:nvPr/>
        </p:nvPicPr>
        <p:blipFill>
          <a:blip r:embed="rId7"/>
          <a:stretch>
            <a:fillRect/>
          </a:stretch>
        </p:blipFill>
        <p:spPr>
          <a:xfrm>
            <a:off x="3501466" y="3320917"/>
            <a:ext cx="882756" cy="713232"/>
          </a:xfrm>
          <a:prstGeom prst="rect">
            <a:avLst/>
          </a:prstGeom>
        </p:spPr>
      </p:pic>
      <p:sp>
        <p:nvSpPr>
          <p:cNvPr id="66" name="TextBox 65">
            <a:extLst>
              <a:ext uri="{FF2B5EF4-FFF2-40B4-BE49-F238E27FC236}">
                <a16:creationId xmlns:a16="http://schemas.microsoft.com/office/drawing/2014/main" id="{333A27B2-B4F8-F248-894F-19FB6E5E55F0}"/>
              </a:ext>
            </a:extLst>
          </p:cNvPr>
          <p:cNvSpPr txBox="1"/>
          <p:nvPr/>
        </p:nvSpPr>
        <p:spPr>
          <a:xfrm>
            <a:off x="3501466" y="4089107"/>
            <a:ext cx="1152194" cy="47585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panose="020B0502040204020203" pitchFamily="34" charset="0"/>
                <a:ea typeface="+mn-ea"/>
                <a:cs typeface="Segoe UI Semibold" panose="020B0502040204020203" pitchFamily="34" charset="0"/>
              </a:rPr>
              <a:t>Az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panose="020B0502040204020203" pitchFamily="34" charset="0"/>
                <a:ea typeface="+mn-ea"/>
                <a:cs typeface="Segoe UI Semibold" panose="020B0502040204020203" pitchFamily="34" charset="0"/>
              </a:rPr>
              <a:t>Cosmos DB</a:t>
            </a:r>
          </a:p>
        </p:txBody>
      </p:sp>
      <p:cxnSp>
        <p:nvCxnSpPr>
          <p:cNvPr id="67" name="Straight Arrow Connector 66">
            <a:extLst>
              <a:ext uri="{FF2B5EF4-FFF2-40B4-BE49-F238E27FC236}">
                <a16:creationId xmlns:a16="http://schemas.microsoft.com/office/drawing/2014/main" id="{74C200C6-10DD-A846-B91E-16A6F562B009}"/>
              </a:ext>
            </a:extLst>
          </p:cNvPr>
          <p:cNvCxnSpPr>
            <a:cxnSpLocks/>
          </p:cNvCxnSpPr>
          <p:nvPr/>
        </p:nvCxnSpPr>
        <p:spPr>
          <a:xfrm flipH="1">
            <a:off x="2197572" y="3727546"/>
            <a:ext cx="1021588" cy="0"/>
          </a:xfrm>
          <a:prstGeom prst="straightConnector1">
            <a:avLst/>
          </a:prstGeom>
          <a:ln w="15875">
            <a:solidFill>
              <a:schemeClr val="tx1"/>
            </a:solidFill>
            <a:prstDash val="solid"/>
            <a:headEnd type="triangle" w="lg" len="med"/>
            <a:tailEnd type="none" w="lg" len="med"/>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D9A82C06-5259-AC43-9546-D7D9AB4D77A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045378" y="3320917"/>
            <a:ext cx="709982" cy="709982"/>
          </a:xfrm>
          <a:prstGeom prst="rect">
            <a:avLst/>
          </a:prstGeom>
        </p:spPr>
      </p:pic>
      <p:sp>
        <p:nvSpPr>
          <p:cNvPr id="69" name="TextBox 68">
            <a:extLst>
              <a:ext uri="{FF2B5EF4-FFF2-40B4-BE49-F238E27FC236}">
                <a16:creationId xmlns:a16="http://schemas.microsoft.com/office/drawing/2014/main" id="{35371040-3C56-3D47-91DE-A31B344B023C}"/>
              </a:ext>
            </a:extLst>
          </p:cNvPr>
          <p:cNvSpPr txBox="1"/>
          <p:nvPr/>
        </p:nvSpPr>
        <p:spPr>
          <a:xfrm>
            <a:off x="3579583" y="5788431"/>
            <a:ext cx="1152194"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panose="020B0502040204020203" pitchFamily="34" charset="0"/>
                <a:ea typeface="+mn-ea"/>
                <a:cs typeface="Segoe UI Semibold" panose="020B0502040204020203" pitchFamily="34" charset="0"/>
              </a:rPr>
              <a:t>Reporting &amp; Dashboards</a:t>
            </a:r>
          </a:p>
        </p:txBody>
      </p:sp>
      <p:cxnSp>
        <p:nvCxnSpPr>
          <p:cNvPr id="71" name="Straight Arrow Connector 70">
            <a:extLst>
              <a:ext uri="{FF2B5EF4-FFF2-40B4-BE49-F238E27FC236}">
                <a16:creationId xmlns:a16="http://schemas.microsoft.com/office/drawing/2014/main" id="{884AD901-264D-B749-BB69-9413EA9D10E3}"/>
              </a:ext>
            </a:extLst>
          </p:cNvPr>
          <p:cNvCxnSpPr>
            <a:cxnSpLocks/>
          </p:cNvCxnSpPr>
          <p:nvPr/>
        </p:nvCxnSpPr>
        <p:spPr>
          <a:xfrm flipV="1">
            <a:off x="3947767" y="4512766"/>
            <a:ext cx="0" cy="523962"/>
          </a:xfrm>
          <a:prstGeom prst="straightConnector1">
            <a:avLst/>
          </a:prstGeom>
          <a:ln w="15875">
            <a:solidFill>
              <a:schemeClr val="tx1"/>
            </a:solidFill>
            <a:prstDash val="solid"/>
            <a:headEnd type="triangl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981094"/>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9" name="Picture 2" descr="http://counterinception.com/sites/default/files/pictures/MatrixBluePillRedPill.jpg">
            <a:extLst>
              <a:ext uri="{FF2B5EF4-FFF2-40B4-BE49-F238E27FC236}">
                <a16:creationId xmlns:a16="http://schemas.microsoft.com/office/drawing/2014/main" id="{433E6D40-7EE9-4953-9984-8A9944FA0142}"/>
              </a:ext>
            </a:extLst>
          </p:cNvPr>
          <p:cNvPicPr>
            <a:picLocks noGrp="1" noChangeAspect="1" noChangeArrowheads="1"/>
          </p:cNvPicPr>
          <p:nvPr>
            <p:ph type="pic" sz="quarter" idx="11"/>
          </p:nvPr>
        </p:nvPicPr>
        <p:blipFill rotWithShape="1">
          <a:blip r:embed="rId3" cstate="print">
            <a:extLst>
              <a:ext uri="{28A0092B-C50C-407E-A947-70E740481C1C}">
                <a14:useLocalDpi xmlns:a14="http://schemas.microsoft.com/office/drawing/2010/main" val="0"/>
              </a:ext>
            </a:extLst>
          </a:blip>
          <a:srcRect l="7251" r="7251"/>
          <a:stretch/>
        </p:blipFill>
        <p:spPr bwMode="auto">
          <a:xfrm>
            <a:off x="5919788" y="1829383"/>
            <a:ext cx="6272212" cy="38253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495F590-6B5A-4233-8B18-5B6C45994E18}"/>
              </a:ext>
            </a:extLst>
          </p:cNvPr>
          <p:cNvSpPr>
            <a:spLocks noGrp="1"/>
          </p:cNvSpPr>
          <p:nvPr>
            <p:ph type="title"/>
          </p:nvPr>
        </p:nvSpPr>
        <p:spPr>
          <a:xfrm>
            <a:off x="410528" y="520995"/>
            <a:ext cx="11018520" cy="430887"/>
          </a:xfrm>
        </p:spPr>
        <p:txBody>
          <a:bodyPr/>
          <a:lstStyle/>
          <a:p>
            <a:pPr algn="l"/>
            <a:r>
              <a:rPr lang="en-US">
                <a:solidFill>
                  <a:schemeClr val="accent1"/>
                </a:solidFill>
              </a:rPr>
              <a:t>Benefits of running HTAP in Cosmos DB and Synapse</a:t>
            </a:r>
            <a:endParaRPr lang="en-US" sz="2400">
              <a:solidFill>
                <a:schemeClr val="accent1"/>
              </a:solidFill>
            </a:endParaRPr>
          </a:p>
        </p:txBody>
      </p:sp>
      <p:sp>
        <p:nvSpPr>
          <p:cNvPr id="28" name="Text Placeholder 27">
            <a:extLst>
              <a:ext uri="{FF2B5EF4-FFF2-40B4-BE49-F238E27FC236}">
                <a16:creationId xmlns:a16="http://schemas.microsoft.com/office/drawing/2014/main" id="{1BC4194D-A233-4F32-8445-F344E1804FEF}"/>
              </a:ext>
            </a:extLst>
          </p:cNvPr>
          <p:cNvSpPr>
            <a:spLocks noGrp="1"/>
          </p:cNvSpPr>
          <p:nvPr>
            <p:ph type="body" sz="quarter" idx="12"/>
          </p:nvPr>
        </p:nvSpPr>
        <p:spPr>
          <a:xfrm>
            <a:off x="207206" y="1593808"/>
            <a:ext cx="5555561" cy="2077492"/>
          </a:xfrm>
        </p:spPr>
        <p:txBody>
          <a:bodyPr/>
          <a:lstStyle/>
          <a:p>
            <a:r>
              <a:rPr lang="en-US" b="1">
                <a:solidFill>
                  <a:schemeClr val="accent1"/>
                </a:solidFill>
              </a:rPr>
              <a:t>Operational Needs</a:t>
            </a:r>
          </a:p>
          <a:p>
            <a:pPr marL="285750" indent="-285750">
              <a:spcAft>
                <a:spcPts val="0"/>
              </a:spcAft>
              <a:buFont typeface="Arial" panose="020B0604020202020204" pitchFamily="34" charset="0"/>
              <a:buChar char="•"/>
            </a:pPr>
            <a:r>
              <a:rPr lang="en-US" sz="1400">
                <a:solidFill>
                  <a:schemeClr val="bg1"/>
                </a:solidFill>
              </a:rPr>
              <a:t>High throughput ingestion of both batch &amp; streaming feeds with real-time indexing</a:t>
            </a:r>
          </a:p>
          <a:p>
            <a:pPr marL="285750" indent="-285750">
              <a:spcAft>
                <a:spcPts val="0"/>
              </a:spcAft>
              <a:buFont typeface="Arial" panose="020B0604020202020204" pitchFamily="34" charset="0"/>
              <a:buChar char="•"/>
            </a:pPr>
            <a:r>
              <a:rPr lang="en-US" sz="1400">
                <a:solidFill>
                  <a:schemeClr val="bg1"/>
                </a:solidFill>
              </a:rPr>
              <a:t>Global distribution with active-active setup</a:t>
            </a:r>
          </a:p>
          <a:p>
            <a:pPr marL="285750" indent="-285750">
              <a:spcAft>
                <a:spcPts val="0"/>
              </a:spcAft>
              <a:buFont typeface="Arial" panose="020B0604020202020204" pitchFamily="34" charset="0"/>
              <a:buChar char="•"/>
            </a:pPr>
            <a:r>
              <a:rPr lang="en-US" sz="1400">
                <a:solidFill>
                  <a:schemeClr val="bg1"/>
                </a:solidFill>
              </a:rPr>
              <a:t>Apps to perform real-time CRUD &amp; queries using developer friendly NoSQL APIs</a:t>
            </a:r>
          </a:p>
          <a:p>
            <a:pPr marL="285750" indent="-285750">
              <a:spcAft>
                <a:spcPts val="0"/>
              </a:spcAft>
              <a:buFont typeface="Arial" panose="020B0604020202020204" pitchFamily="34" charset="0"/>
              <a:buChar char="•"/>
            </a:pPr>
            <a:r>
              <a:rPr lang="en-US" sz="1400">
                <a:solidFill>
                  <a:schemeClr val="bg1"/>
                </a:solidFill>
              </a:rPr>
              <a:t>No downtime elastic scaling of database</a:t>
            </a:r>
          </a:p>
          <a:p>
            <a:pPr marL="285750" indent="-285750">
              <a:spcAft>
                <a:spcPts val="0"/>
              </a:spcAft>
              <a:buFont typeface="Arial" panose="020B0604020202020204" pitchFamily="34" charset="0"/>
              <a:buChar char="•"/>
            </a:pPr>
            <a:r>
              <a:rPr lang="en-US" sz="1400">
                <a:solidFill>
                  <a:schemeClr val="bg1"/>
                </a:solidFill>
              </a:rPr>
              <a:t>SLAs for latency/availability/consistency/throughput</a:t>
            </a:r>
          </a:p>
        </p:txBody>
      </p:sp>
      <p:sp>
        <p:nvSpPr>
          <p:cNvPr id="87" name="Text Placeholder 27">
            <a:extLst>
              <a:ext uri="{FF2B5EF4-FFF2-40B4-BE49-F238E27FC236}">
                <a16:creationId xmlns:a16="http://schemas.microsoft.com/office/drawing/2014/main" id="{4689A296-DA28-4FCC-A6E9-75A061753513}"/>
              </a:ext>
            </a:extLst>
          </p:cNvPr>
          <p:cNvSpPr txBox="1">
            <a:spLocks/>
          </p:cNvSpPr>
          <p:nvPr/>
        </p:nvSpPr>
        <p:spPr>
          <a:xfrm>
            <a:off x="207205" y="3939529"/>
            <a:ext cx="5555561" cy="250837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200" kern="1200" spc="0" baseline="0">
                <a:solidFill>
                  <a:schemeClr val="accent2">
                    <a:lumMod val="75000"/>
                  </a:schemeClr>
                </a:soli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800" b="1" i="0" u="none" strike="noStrike" kern="1200" cap="none" spc="0" normalizeH="0" baseline="0" noProof="0">
                <a:ln>
                  <a:noFill/>
                </a:ln>
                <a:solidFill>
                  <a:srgbClr val="0078D4"/>
                </a:solidFill>
                <a:effectLst/>
                <a:uLnTx/>
                <a:uFillTx/>
                <a:latin typeface="Segoe UI"/>
                <a:ea typeface="+mn-ea"/>
                <a:cs typeface="Segoe UI" panose="020B0502040204020203" pitchFamily="34" charset="0"/>
              </a:rPr>
              <a:t>Analytics Needs</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un analytics without impacting operational performance</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Low cost on storage and compute to run near-real time analytics workloads</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alyze in-place data, eliminating ETL complexity, with Synapse Spark and SQL</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ich BI ecosystem of SQL available for cheaper &amp; faster queries over analytical storage</a:t>
            </a:r>
          </a:p>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Native integration of Azure Enterprise AI ecosystem for training and scoring ML models over analytical storage</a:t>
            </a:r>
          </a:p>
        </p:txBody>
      </p:sp>
    </p:spTree>
    <p:extLst>
      <p:ext uri="{BB962C8B-B14F-4D97-AF65-F5344CB8AC3E}">
        <p14:creationId xmlns:p14="http://schemas.microsoft.com/office/powerpoint/2010/main" val="1665215003"/>
      </p:ext>
    </p:extLst>
  </p:cSld>
  <p:clrMapOvr>
    <a:overrideClrMapping bg1="dk1" tx1="lt1" bg2="dk2" tx2="lt2" accent1="accent1" accent2="accent2" accent3="accent3" accent4="accent4" accent5="accent5" accent6="accent6" hlink="hlink" folHlink="folHlink"/>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82866127-8ACA-4DCB-821C-7394BFBA10F8}"/>
              </a:ext>
            </a:extLst>
          </p:cNvPr>
          <p:cNvSpPr txBox="1"/>
          <p:nvPr/>
        </p:nvSpPr>
        <p:spPr>
          <a:xfrm>
            <a:off x="415891" y="202568"/>
            <a:ext cx="1152647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78DC"/>
                </a:solidFill>
                <a:effectLst/>
                <a:uLnTx/>
                <a:uFillTx/>
                <a:latin typeface="Segoe UI Semibold" panose="020B0702040204020203" pitchFamily="34" charset="0"/>
                <a:ea typeface="+mn-ea"/>
                <a:cs typeface="Segoe UI Semibold" panose="020B0702040204020203" pitchFamily="34" charset="0"/>
              </a:rPr>
              <a:t>Azure Synapse Link : How it works?</a:t>
            </a:r>
          </a:p>
        </p:txBody>
      </p:sp>
      <p:sp>
        <p:nvSpPr>
          <p:cNvPr id="42" name="TextBox 41">
            <a:extLst>
              <a:ext uri="{FF2B5EF4-FFF2-40B4-BE49-F238E27FC236}">
                <a16:creationId xmlns:a16="http://schemas.microsoft.com/office/drawing/2014/main" id="{EF35E2E8-235D-2442-8EBC-465BC8BD5A11}"/>
              </a:ext>
            </a:extLst>
          </p:cNvPr>
          <p:cNvSpPr txBox="1"/>
          <p:nvPr/>
        </p:nvSpPr>
        <p:spPr>
          <a:xfrm>
            <a:off x="5311913" y="1240993"/>
            <a:ext cx="266127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Light" panose="020F0302020204030204"/>
                <a:ea typeface="+mn-ea"/>
                <a:cs typeface="+mn-cs"/>
              </a:rPr>
              <a:t>Analytical St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a:ln>
                  <a:noFill/>
                </a:ln>
                <a:solidFill>
                  <a:prstClr val="black"/>
                </a:solidFill>
                <a:effectLst/>
                <a:uLnTx/>
                <a:uFillTx/>
                <a:latin typeface="Calibri" panose="020F0502020204030204"/>
                <a:ea typeface="+mn-ea"/>
                <a:cs typeface="+mn-cs"/>
              </a:rPr>
              <a:t>Column store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optimized for analytical queries</a:t>
            </a:r>
          </a:p>
        </p:txBody>
      </p:sp>
      <p:sp>
        <p:nvSpPr>
          <p:cNvPr id="43" name="TextBox 42">
            <a:extLst>
              <a:ext uri="{FF2B5EF4-FFF2-40B4-BE49-F238E27FC236}">
                <a16:creationId xmlns:a16="http://schemas.microsoft.com/office/drawing/2014/main" id="{4B21A8F2-EF9D-EA41-A091-F900BC463DBF}"/>
              </a:ext>
            </a:extLst>
          </p:cNvPr>
          <p:cNvSpPr txBox="1"/>
          <p:nvPr/>
        </p:nvSpPr>
        <p:spPr>
          <a:xfrm>
            <a:off x="489974" y="1128113"/>
            <a:ext cx="244974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Light" panose="020F0302020204030204"/>
                <a:ea typeface="+mn-ea"/>
                <a:cs typeface="+mn-cs"/>
              </a:rPr>
              <a:t>Transactional St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a:ln>
                  <a:noFill/>
                </a:ln>
                <a:solidFill>
                  <a:prstClr val="black"/>
                </a:solidFill>
                <a:effectLst/>
                <a:uLnTx/>
                <a:uFillTx/>
                <a:latin typeface="Calibri" panose="020F0502020204030204"/>
                <a:ea typeface="+mn-ea"/>
                <a:cs typeface="+mn-cs"/>
              </a:rPr>
              <a:t>Row store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optimized for transactional operations</a:t>
            </a:r>
          </a:p>
        </p:txBody>
      </p:sp>
      <p:pic>
        <p:nvPicPr>
          <p:cNvPr id="44" name="Graphic 43">
            <a:extLst>
              <a:ext uri="{FF2B5EF4-FFF2-40B4-BE49-F238E27FC236}">
                <a16:creationId xmlns:a16="http://schemas.microsoft.com/office/drawing/2014/main" id="{27C2D98B-9F76-B542-B579-8348D3CBA7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44675" y="5126934"/>
            <a:ext cx="333115" cy="382983"/>
          </a:xfrm>
          <a:prstGeom prst="rect">
            <a:avLst/>
          </a:prstGeom>
        </p:spPr>
      </p:pic>
      <p:pic>
        <p:nvPicPr>
          <p:cNvPr id="45" name="Graphic 44">
            <a:extLst>
              <a:ext uri="{FF2B5EF4-FFF2-40B4-BE49-F238E27FC236}">
                <a16:creationId xmlns:a16="http://schemas.microsoft.com/office/drawing/2014/main" id="{F6E04FDC-8256-8C4B-B5B8-88579F1292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2613666" y="5101094"/>
            <a:ext cx="434662" cy="434662"/>
          </a:xfrm>
          <a:prstGeom prst="rect">
            <a:avLst/>
          </a:prstGeom>
        </p:spPr>
      </p:pic>
      <p:sp>
        <p:nvSpPr>
          <p:cNvPr id="46" name="Right Brace 45">
            <a:extLst>
              <a:ext uri="{FF2B5EF4-FFF2-40B4-BE49-F238E27FC236}">
                <a16:creationId xmlns:a16="http://schemas.microsoft.com/office/drawing/2014/main" id="{57E8B43E-8CF9-CD45-AF97-825529FDC09D}"/>
              </a:ext>
            </a:extLst>
          </p:cNvPr>
          <p:cNvSpPr/>
          <p:nvPr/>
        </p:nvSpPr>
        <p:spPr>
          <a:xfrm>
            <a:off x="9430667" y="2488585"/>
            <a:ext cx="208792" cy="2520144"/>
          </a:xfrm>
          <a:prstGeom prst="rightBrace">
            <a:avLst>
              <a:gd name="adj1" fmla="val 44540"/>
              <a:gd name="adj2" fmla="val 50000"/>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9F2A025E-7195-E946-9519-6720F0C05B0C}"/>
              </a:ext>
            </a:extLst>
          </p:cNvPr>
          <p:cNvSpPr/>
          <p:nvPr/>
        </p:nvSpPr>
        <p:spPr>
          <a:xfrm>
            <a:off x="3055198" y="5225610"/>
            <a:ext cx="2045753" cy="279244"/>
          </a:xfrm>
          <a:prstGeom prst="rect">
            <a:avLst/>
          </a:prstGeom>
        </p:spPr>
        <p:txBody>
          <a:bodyPr wrap="none">
            <a:spAutoFit/>
          </a:bodyPr>
          <a:lstStyle/>
          <a:p>
            <a:pPr marL="0" marR="0" lvl="0" indent="0" algn="l" defTabSz="710593" rtl="0" eaLnBrk="1" fontAlgn="auto" latinLnBrk="0" hangingPunct="1">
              <a:lnSpc>
                <a:spcPts val="1400"/>
              </a:lnSpc>
              <a:spcBef>
                <a:spcPct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zure Cosmos DB</a:t>
            </a:r>
          </a:p>
        </p:txBody>
      </p:sp>
      <p:sp>
        <p:nvSpPr>
          <p:cNvPr id="48" name="Rectangle 47">
            <a:extLst>
              <a:ext uri="{FF2B5EF4-FFF2-40B4-BE49-F238E27FC236}">
                <a16:creationId xmlns:a16="http://schemas.microsoft.com/office/drawing/2014/main" id="{FA84BD4D-87F6-FD4D-ADF5-7C3F36351948}"/>
              </a:ext>
            </a:extLst>
          </p:cNvPr>
          <p:cNvSpPr/>
          <p:nvPr/>
        </p:nvSpPr>
        <p:spPr>
          <a:xfrm>
            <a:off x="8707015" y="5236444"/>
            <a:ext cx="2719014" cy="279244"/>
          </a:xfrm>
          <a:prstGeom prst="rect">
            <a:avLst/>
          </a:prstGeom>
        </p:spPr>
        <p:txBody>
          <a:bodyPr wrap="none">
            <a:spAutoFit/>
          </a:bodyPr>
          <a:lstStyle/>
          <a:p>
            <a:pPr marL="0" marR="0" lvl="0" indent="0" algn="l" defTabSz="710593" rtl="0" eaLnBrk="1" fontAlgn="auto" latinLnBrk="0" hangingPunct="1">
              <a:lnSpc>
                <a:spcPts val="1400"/>
              </a:lnSpc>
              <a:spcBef>
                <a:spcPct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zure Synapse Analytics</a:t>
            </a:r>
          </a:p>
        </p:txBody>
      </p:sp>
      <p:sp>
        <p:nvSpPr>
          <p:cNvPr id="54" name="Rectangle 53">
            <a:extLst>
              <a:ext uri="{FF2B5EF4-FFF2-40B4-BE49-F238E27FC236}">
                <a16:creationId xmlns:a16="http://schemas.microsoft.com/office/drawing/2014/main" id="{3C6EC41B-83E0-C848-9D68-BC015554B156}"/>
              </a:ext>
            </a:extLst>
          </p:cNvPr>
          <p:cNvSpPr/>
          <p:nvPr/>
        </p:nvSpPr>
        <p:spPr bwMode="auto">
          <a:xfrm>
            <a:off x="3189656" y="2752020"/>
            <a:ext cx="1325470" cy="374904"/>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55" name="TextBox 54">
            <a:extLst>
              <a:ext uri="{FF2B5EF4-FFF2-40B4-BE49-F238E27FC236}">
                <a16:creationId xmlns:a16="http://schemas.microsoft.com/office/drawing/2014/main" id="{27CFE599-0A11-504B-8EF2-88D0BC394831}"/>
              </a:ext>
            </a:extLst>
          </p:cNvPr>
          <p:cNvSpPr txBox="1"/>
          <p:nvPr/>
        </p:nvSpPr>
        <p:spPr>
          <a:xfrm>
            <a:off x="6043135" y="3152518"/>
            <a:ext cx="17735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Cloud-Native HTAP</a:t>
            </a:r>
          </a:p>
        </p:txBody>
      </p:sp>
      <p:sp>
        <p:nvSpPr>
          <p:cNvPr id="56" name="TextBox 55">
            <a:extLst>
              <a:ext uri="{FF2B5EF4-FFF2-40B4-BE49-F238E27FC236}">
                <a16:creationId xmlns:a16="http://schemas.microsoft.com/office/drawing/2014/main" id="{864FCD35-1EA1-4145-A2F9-D5F623BF6779}"/>
              </a:ext>
            </a:extLst>
          </p:cNvPr>
          <p:cNvSpPr txBox="1"/>
          <p:nvPr/>
        </p:nvSpPr>
        <p:spPr>
          <a:xfrm>
            <a:off x="5837436" y="4085860"/>
            <a:ext cx="216056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Azure Synapse Link</a:t>
            </a:r>
          </a:p>
        </p:txBody>
      </p:sp>
      <p:sp>
        <p:nvSpPr>
          <p:cNvPr id="59" name="TextBox 58">
            <a:extLst>
              <a:ext uri="{FF2B5EF4-FFF2-40B4-BE49-F238E27FC236}">
                <a16:creationId xmlns:a16="http://schemas.microsoft.com/office/drawing/2014/main" id="{47665578-B176-7A4A-9380-B7E81933115A}"/>
              </a:ext>
            </a:extLst>
          </p:cNvPr>
          <p:cNvSpPr txBox="1"/>
          <p:nvPr/>
        </p:nvSpPr>
        <p:spPr>
          <a:xfrm>
            <a:off x="8809583" y="4229779"/>
            <a:ext cx="455158"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SQL</a:t>
            </a:r>
          </a:p>
        </p:txBody>
      </p:sp>
      <p:pic>
        <p:nvPicPr>
          <p:cNvPr id="60" name="Graphic 59">
            <a:extLst>
              <a:ext uri="{FF2B5EF4-FFF2-40B4-BE49-F238E27FC236}">
                <a16:creationId xmlns:a16="http://schemas.microsoft.com/office/drawing/2014/main" id="{6532937E-B4CB-BF4D-9C7A-3A49C1F855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67957" y="3396383"/>
            <a:ext cx="741532" cy="852543"/>
          </a:xfrm>
          <a:prstGeom prst="rect">
            <a:avLst/>
          </a:prstGeom>
        </p:spPr>
      </p:pic>
      <p:pic>
        <p:nvPicPr>
          <p:cNvPr id="61" name="Picture 4" descr="Image result for spark logo transparent">
            <a:extLst>
              <a:ext uri="{FF2B5EF4-FFF2-40B4-BE49-F238E27FC236}">
                <a16:creationId xmlns:a16="http://schemas.microsoft.com/office/drawing/2014/main" id="{B26124AE-3B6A-684F-A17A-D9439BB57F9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738723" y="2991990"/>
            <a:ext cx="648997" cy="339132"/>
          </a:xfrm>
          <a:prstGeom prst="rect">
            <a:avLst/>
          </a:prstGeom>
          <a:noFill/>
          <a:extLst>
            <a:ext uri="{909E8E84-426E-40DD-AFC4-6F175D3DCCD1}">
              <a14:hiddenFill xmlns:a14="http://schemas.microsoft.com/office/drawing/2010/main">
                <a:solidFill>
                  <a:srgbClr val="FFFFFF"/>
                </a:solidFill>
              </a14:hiddenFill>
            </a:ext>
          </a:extLst>
        </p:spPr>
      </p:pic>
      <p:pic>
        <p:nvPicPr>
          <p:cNvPr id="63" name="Graphic 62">
            <a:extLst>
              <a:ext uri="{FF2B5EF4-FFF2-40B4-BE49-F238E27FC236}">
                <a16:creationId xmlns:a16="http://schemas.microsoft.com/office/drawing/2014/main" id="{6E59C9F5-8599-C640-8F7B-C43872F154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400000">
            <a:off x="4505842" y="3152518"/>
            <a:ext cx="1162031" cy="1162031"/>
          </a:xfrm>
          <a:prstGeom prst="rect">
            <a:avLst/>
          </a:prstGeom>
        </p:spPr>
      </p:pic>
      <p:sp>
        <p:nvSpPr>
          <p:cNvPr id="64" name="TextBox 63">
            <a:extLst>
              <a:ext uri="{FF2B5EF4-FFF2-40B4-BE49-F238E27FC236}">
                <a16:creationId xmlns:a16="http://schemas.microsoft.com/office/drawing/2014/main" id="{ADA23A03-5222-4240-9A3F-E0BD294582E8}"/>
              </a:ext>
            </a:extLst>
          </p:cNvPr>
          <p:cNvSpPr txBox="1"/>
          <p:nvPr/>
        </p:nvSpPr>
        <p:spPr>
          <a:xfrm>
            <a:off x="3219968" y="3779612"/>
            <a:ext cx="118221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uto-Sync</a:t>
            </a:r>
          </a:p>
        </p:txBody>
      </p:sp>
      <p:pic>
        <p:nvPicPr>
          <p:cNvPr id="65" name="Graphic 64">
            <a:extLst>
              <a:ext uri="{FF2B5EF4-FFF2-40B4-BE49-F238E27FC236}">
                <a16:creationId xmlns:a16="http://schemas.microsoft.com/office/drawing/2014/main" id="{34850670-33E7-294F-89D4-A28F3355617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99289" y="3181530"/>
            <a:ext cx="1091145" cy="1091145"/>
          </a:xfrm>
          <a:prstGeom prst="rect">
            <a:avLst/>
          </a:prstGeom>
        </p:spPr>
      </p:pic>
      <p:sp>
        <p:nvSpPr>
          <p:cNvPr id="67" name="Rectangle 66">
            <a:extLst>
              <a:ext uri="{FF2B5EF4-FFF2-40B4-BE49-F238E27FC236}">
                <a16:creationId xmlns:a16="http://schemas.microsoft.com/office/drawing/2014/main" id="{42D5FE45-B826-3144-8075-8B4D0BB1DAED}"/>
              </a:ext>
            </a:extLst>
          </p:cNvPr>
          <p:cNvSpPr/>
          <p:nvPr/>
        </p:nvSpPr>
        <p:spPr bwMode="auto">
          <a:xfrm>
            <a:off x="9801960" y="2586703"/>
            <a:ext cx="1684482" cy="492689"/>
          </a:xfrm>
          <a:prstGeom prst="rect">
            <a:avLst/>
          </a:prstGeom>
          <a:solidFill>
            <a:schemeClr val="bg1"/>
          </a:solidFill>
          <a:ln w="158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0" rIns="0" bIns="0" numCol="1" spcCol="0" rtlCol="0" fromWordArt="0" anchor="ctr" anchorCtr="0" forceAA="0" compatLnSpc="1">
            <a:prstTxWarp prst="textNoShape">
              <a:avLst/>
            </a:prstTxWarp>
            <a:noAutofit/>
          </a:bodyPr>
          <a:lstStyle/>
          <a:p>
            <a:pPr marL="0" marR="0" lvl="0" indent="0" algn="l" defTabSz="710593" rtl="0" eaLnBrk="1" fontAlgn="auto" latinLnBrk="0" hangingPunct="1">
              <a:lnSpc>
                <a:spcPts val="1300"/>
              </a:lnSpc>
              <a:spcBef>
                <a:spcPct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Machine learning</a:t>
            </a:r>
          </a:p>
        </p:txBody>
      </p:sp>
      <p:sp>
        <p:nvSpPr>
          <p:cNvPr id="68" name="Rectangle 67">
            <a:extLst>
              <a:ext uri="{FF2B5EF4-FFF2-40B4-BE49-F238E27FC236}">
                <a16:creationId xmlns:a16="http://schemas.microsoft.com/office/drawing/2014/main" id="{0022CEC3-0111-164D-B4E4-1EE21067D3F3}"/>
              </a:ext>
            </a:extLst>
          </p:cNvPr>
          <p:cNvSpPr/>
          <p:nvPr/>
        </p:nvSpPr>
        <p:spPr bwMode="auto">
          <a:xfrm>
            <a:off x="9789840" y="3501230"/>
            <a:ext cx="1684482" cy="493776"/>
          </a:xfrm>
          <a:prstGeom prst="rect">
            <a:avLst/>
          </a:prstGeom>
          <a:solidFill>
            <a:schemeClr val="bg1"/>
          </a:solidFill>
          <a:ln w="158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0" rIns="0" bIns="0" numCol="1" spcCol="0" rtlCol="0" fromWordArt="0" anchor="ctr" anchorCtr="0" forceAA="0" compatLnSpc="1">
            <a:prstTxWarp prst="textNoShape">
              <a:avLst/>
            </a:prstTxWarp>
            <a:noAutofit/>
          </a:bodyPr>
          <a:lstStyle/>
          <a:p>
            <a:pPr marL="0" marR="0" lvl="0" indent="0" algn="l" defTabSz="710593" rtl="0" eaLnBrk="1" fontAlgn="auto" latinLnBrk="0" hangingPunct="1">
              <a:lnSpc>
                <a:spcPts val="1300"/>
              </a:lnSpc>
              <a:spcBef>
                <a:spcPct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Big data analytics</a:t>
            </a:r>
          </a:p>
        </p:txBody>
      </p:sp>
      <p:sp>
        <p:nvSpPr>
          <p:cNvPr id="69" name="Rectangle 68">
            <a:extLst>
              <a:ext uri="{FF2B5EF4-FFF2-40B4-BE49-F238E27FC236}">
                <a16:creationId xmlns:a16="http://schemas.microsoft.com/office/drawing/2014/main" id="{7B5EC029-3E8C-1243-ACD7-AF5817D16E9D}"/>
              </a:ext>
            </a:extLst>
          </p:cNvPr>
          <p:cNvSpPr/>
          <p:nvPr/>
        </p:nvSpPr>
        <p:spPr bwMode="auto">
          <a:xfrm>
            <a:off x="9782160" y="4391680"/>
            <a:ext cx="1684482" cy="493776"/>
          </a:xfrm>
          <a:prstGeom prst="rect">
            <a:avLst/>
          </a:prstGeom>
          <a:solidFill>
            <a:schemeClr val="bg1"/>
          </a:solidFill>
          <a:ln w="158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0" rIns="0" bIns="0" numCol="1" spcCol="0" rtlCol="0" fromWordArt="0" anchor="ctr" anchorCtr="0" forceAA="0" compatLnSpc="1">
            <a:prstTxWarp prst="textNoShape">
              <a:avLst/>
            </a:prstTxWarp>
            <a:noAutofit/>
          </a:bodyPr>
          <a:lstStyle/>
          <a:p>
            <a:pPr marL="0" marR="0" lvl="0" indent="0" algn="l" defTabSz="710593" rtl="0" eaLnBrk="1" fontAlgn="auto" latinLnBrk="0" hangingPunct="1">
              <a:lnSpc>
                <a:spcPts val="1300"/>
              </a:lnSpc>
              <a:spcBef>
                <a:spcPct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BI Dashboards</a:t>
            </a:r>
          </a:p>
        </p:txBody>
      </p:sp>
      <p:cxnSp>
        <p:nvCxnSpPr>
          <p:cNvPr id="70" name="Straight Arrow Connector 69">
            <a:extLst>
              <a:ext uri="{FF2B5EF4-FFF2-40B4-BE49-F238E27FC236}">
                <a16:creationId xmlns:a16="http://schemas.microsoft.com/office/drawing/2014/main" id="{DD073A79-F4C5-614A-A8AE-174F77D81ABC}"/>
              </a:ext>
            </a:extLst>
          </p:cNvPr>
          <p:cNvCxnSpPr>
            <a:cxnSpLocks/>
          </p:cNvCxnSpPr>
          <p:nvPr/>
        </p:nvCxnSpPr>
        <p:spPr>
          <a:xfrm flipH="1">
            <a:off x="3048963" y="3733534"/>
            <a:ext cx="1557135" cy="0"/>
          </a:xfrm>
          <a:prstGeom prst="straightConnector1">
            <a:avLst/>
          </a:prstGeom>
          <a:ln w="15875">
            <a:solidFill>
              <a:schemeClr val="tx1"/>
            </a:solidFill>
            <a:prstDash val="solid"/>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12FB4FE1-8B52-6E47-9300-6EFF00648440}"/>
              </a:ext>
            </a:extLst>
          </p:cNvPr>
          <p:cNvCxnSpPr>
            <a:cxnSpLocks/>
          </p:cNvCxnSpPr>
          <p:nvPr/>
        </p:nvCxnSpPr>
        <p:spPr>
          <a:xfrm flipV="1">
            <a:off x="5086857" y="1616626"/>
            <a:ext cx="0" cy="1686839"/>
          </a:xfrm>
          <a:prstGeom prst="straightConnector1">
            <a:avLst/>
          </a:prstGeom>
          <a:ln w="15875">
            <a:solidFill>
              <a:schemeClr val="bg1">
                <a:lumMod val="65000"/>
              </a:schemeClr>
            </a:solidFill>
            <a:prstDash val="solid"/>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678405-083F-174C-BDAC-C1FAC3A0766B}"/>
              </a:ext>
            </a:extLst>
          </p:cNvPr>
          <p:cNvCxnSpPr>
            <a:cxnSpLocks/>
          </p:cNvCxnSpPr>
          <p:nvPr/>
        </p:nvCxnSpPr>
        <p:spPr>
          <a:xfrm>
            <a:off x="5086857" y="1616626"/>
            <a:ext cx="225056" cy="0"/>
          </a:xfrm>
          <a:prstGeom prst="line">
            <a:avLst/>
          </a:prstGeom>
          <a:ln w="15875">
            <a:solidFill>
              <a:srgbClr val="A6A6A7"/>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D5B68F8-3637-ED41-B27A-E0B3042EA1F1}"/>
              </a:ext>
            </a:extLst>
          </p:cNvPr>
          <p:cNvCxnSpPr/>
          <p:nvPr/>
        </p:nvCxnSpPr>
        <p:spPr>
          <a:xfrm>
            <a:off x="2501138" y="1616626"/>
            <a:ext cx="225056" cy="0"/>
          </a:xfrm>
          <a:prstGeom prst="line">
            <a:avLst/>
          </a:prstGeom>
          <a:ln w="15875">
            <a:solidFill>
              <a:srgbClr val="A6A6A7"/>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861511E8-81D3-2944-B017-76206A7A5129}"/>
              </a:ext>
            </a:extLst>
          </p:cNvPr>
          <p:cNvCxnSpPr>
            <a:cxnSpLocks/>
          </p:cNvCxnSpPr>
          <p:nvPr/>
        </p:nvCxnSpPr>
        <p:spPr>
          <a:xfrm flipV="1">
            <a:off x="2718684" y="1616626"/>
            <a:ext cx="0" cy="1714496"/>
          </a:xfrm>
          <a:prstGeom prst="straightConnector1">
            <a:avLst/>
          </a:prstGeom>
          <a:ln w="15875">
            <a:solidFill>
              <a:schemeClr val="bg1">
                <a:lumMod val="65000"/>
              </a:schemeClr>
            </a:solidFill>
            <a:prstDash val="solid"/>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8A28EF41-D5CD-4EC7-91D8-7B4A9C4F9239}"/>
              </a:ext>
            </a:extLst>
          </p:cNvPr>
          <p:cNvGrpSpPr/>
          <p:nvPr/>
        </p:nvGrpSpPr>
        <p:grpSpPr>
          <a:xfrm>
            <a:off x="1880164" y="2272291"/>
            <a:ext cx="3980965" cy="3468082"/>
            <a:chOff x="1865045" y="2268678"/>
            <a:chExt cx="3980965" cy="3468082"/>
          </a:xfrm>
          <a:effectLst>
            <a:outerShdw blurRad="63500" sx="102000" sy="102000" algn="ctr" rotWithShape="0">
              <a:prstClr val="black">
                <a:alpha val="40000"/>
              </a:prstClr>
            </a:outerShdw>
          </a:effectLst>
        </p:grpSpPr>
        <p:cxnSp>
          <p:nvCxnSpPr>
            <p:cNvPr id="89" name="Straight Connector 88">
              <a:extLst>
                <a:ext uri="{FF2B5EF4-FFF2-40B4-BE49-F238E27FC236}">
                  <a16:creationId xmlns:a16="http://schemas.microsoft.com/office/drawing/2014/main" id="{26E3D762-CB0D-41D0-9364-56CC8986CFDF}"/>
                </a:ext>
              </a:extLst>
            </p:cNvPr>
            <p:cNvCxnSpPr>
              <a:cxnSpLocks/>
            </p:cNvCxnSpPr>
            <p:nvPr/>
          </p:nvCxnSpPr>
          <p:spPr>
            <a:xfrm>
              <a:off x="1865045" y="2268678"/>
              <a:ext cx="3980965" cy="0"/>
            </a:xfrm>
            <a:prstGeom prst="line">
              <a:avLst/>
            </a:prstGeom>
          </p:spPr>
          <p:style>
            <a:lnRef idx="1">
              <a:schemeClr val="accent3"/>
            </a:lnRef>
            <a:fillRef idx="0">
              <a:schemeClr val="accent3"/>
            </a:fillRef>
            <a:effectRef idx="0">
              <a:schemeClr val="accent3"/>
            </a:effectRef>
            <a:fontRef idx="minor">
              <a:schemeClr val="tx1"/>
            </a:fontRef>
          </p:style>
        </p:cxnSp>
        <p:cxnSp>
          <p:nvCxnSpPr>
            <p:cNvPr id="90" name="Straight Connector 89">
              <a:extLst>
                <a:ext uri="{FF2B5EF4-FFF2-40B4-BE49-F238E27FC236}">
                  <a16:creationId xmlns:a16="http://schemas.microsoft.com/office/drawing/2014/main" id="{25FA0BAD-A266-4002-9EDB-8771377AB169}"/>
                </a:ext>
              </a:extLst>
            </p:cNvPr>
            <p:cNvCxnSpPr>
              <a:cxnSpLocks/>
            </p:cNvCxnSpPr>
            <p:nvPr/>
          </p:nvCxnSpPr>
          <p:spPr>
            <a:xfrm>
              <a:off x="1865045" y="2268678"/>
              <a:ext cx="0" cy="3449439"/>
            </a:xfrm>
            <a:prstGeom prst="line">
              <a:avLst/>
            </a:prstGeom>
          </p:spPr>
          <p:style>
            <a:lnRef idx="1">
              <a:schemeClr val="accent3"/>
            </a:lnRef>
            <a:fillRef idx="0">
              <a:schemeClr val="accent3"/>
            </a:fillRef>
            <a:effectRef idx="0">
              <a:schemeClr val="accent3"/>
            </a:effectRef>
            <a:fontRef idx="minor">
              <a:schemeClr val="tx1"/>
            </a:fontRef>
          </p:style>
        </p:cxnSp>
        <p:cxnSp>
          <p:nvCxnSpPr>
            <p:cNvPr id="91" name="Straight Connector 90">
              <a:extLst>
                <a:ext uri="{FF2B5EF4-FFF2-40B4-BE49-F238E27FC236}">
                  <a16:creationId xmlns:a16="http://schemas.microsoft.com/office/drawing/2014/main" id="{5CBABAFE-A719-4AA1-BE62-0A4AC74BF4CA}"/>
                </a:ext>
              </a:extLst>
            </p:cNvPr>
            <p:cNvCxnSpPr>
              <a:cxnSpLocks/>
            </p:cNvCxnSpPr>
            <p:nvPr/>
          </p:nvCxnSpPr>
          <p:spPr>
            <a:xfrm>
              <a:off x="1865045" y="5718117"/>
              <a:ext cx="3980965" cy="11566"/>
            </a:xfrm>
            <a:prstGeom prst="line">
              <a:avLst/>
            </a:prstGeom>
          </p:spPr>
          <p:style>
            <a:lnRef idx="1">
              <a:schemeClr val="accent3"/>
            </a:lnRef>
            <a:fillRef idx="0">
              <a:schemeClr val="accent3"/>
            </a:fillRef>
            <a:effectRef idx="0">
              <a:schemeClr val="accent3"/>
            </a:effectRef>
            <a:fontRef idx="minor">
              <a:schemeClr val="tx1"/>
            </a:fontRef>
          </p:style>
        </p:cxnSp>
        <p:cxnSp>
          <p:nvCxnSpPr>
            <p:cNvPr id="92" name="Straight Connector 91">
              <a:extLst>
                <a:ext uri="{FF2B5EF4-FFF2-40B4-BE49-F238E27FC236}">
                  <a16:creationId xmlns:a16="http://schemas.microsoft.com/office/drawing/2014/main" id="{F673B5B6-9DA3-480F-8833-689971E59FDC}"/>
                </a:ext>
              </a:extLst>
            </p:cNvPr>
            <p:cNvCxnSpPr>
              <a:cxnSpLocks/>
            </p:cNvCxnSpPr>
            <p:nvPr/>
          </p:nvCxnSpPr>
          <p:spPr>
            <a:xfrm>
              <a:off x="5846010" y="2268678"/>
              <a:ext cx="0" cy="1000634"/>
            </a:xfrm>
            <a:prstGeom prst="line">
              <a:avLst/>
            </a:prstGeom>
          </p:spPr>
          <p:style>
            <a:lnRef idx="1">
              <a:schemeClr val="accent3"/>
            </a:lnRef>
            <a:fillRef idx="0">
              <a:schemeClr val="accent3"/>
            </a:fillRef>
            <a:effectRef idx="0">
              <a:schemeClr val="accent3"/>
            </a:effectRef>
            <a:fontRef idx="minor">
              <a:schemeClr val="tx1"/>
            </a:fontRef>
          </p:style>
        </p:cxnSp>
        <p:cxnSp>
          <p:nvCxnSpPr>
            <p:cNvPr id="93" name="Straight Connector 92">
              <a:extLst>
                <a:ext uri="{FF2B5EF4-FFF2-40B4-BE49-F238E27FC236}">
                  <a16:creationId xmlns:a16="http://schemas.microsoft.com/office/drawing/2014/main" id="{7ACB74BB-5C93-41AA-9AB9-A23CED2B454A}"/>
                </a:ext>
              </a:extLst>
            </p:cNvPr>
            <p:cNvCxnSpPr>
              <a:cxnSpLocks/>
            </p:cNvCxnSpPr>
            <p:nvPr/>
          </p:nvCxnSpPr>
          <p:spPr>
            <a:xfrm flipH="1">
              <a:off x="5833230" y="4285511"/>
              <a:ext cx="10862" cy="1451249"/>
            </a:xfrm>
            <a:prstGeom prst="line">
              <a:avLst/>
            </a:prstGeom>
          </p:spPr>
          <p:style>
            <a:lnRef idx="1">
              <a:schemeClr val="accent3"/>
            </a:lnRef>
            <a:fillRef idx="0">
              <a:schemeClr val="accent3"/>
            </a:fillRef>
            <a:effectRef idx="0">
              <a:schemeClr val="accent3"/>
            </a:effectRef>
            <a:fontRef idx="minor">
              <a:schemeClr val="tx1"/>
            </a:fontRef>
          </p:style>
        </p:cxnSp>
      </p:grpSp>
      <p:cxnSp>
        <p:nvCxnSpPr>
          <p:cNvPr id="113" name="Straight Connector 112">
            <a:extLst>
              <a:ext uri="{FF2B5EF4-FFF2-40B4-BE49-F238E27FC236}">
                <a16:creationId xmlns:a16="http://schemas.microsoft.com/office/drawing/2014/main" id="{D63B1760-EB1D-43AE-9CF0-DDB7907065D1}"/>
              </a:ext>
            </a:extLst>
          </p:cNvPr>
          <p:cNvCxnSpPr>
            <a:cxnSpLocks/>
          </p:cNvCxnSpPr>
          <p:nvPr/>
        </p:nvCxnSpPr>
        <p:spPr>
          <a:xfrm>
            <a:off x="7901798" y="5738291"/>
            <a:ext cx="3828519" cy="0"/>
          </a:xfrm>
          <a:prstGeom prst="line">
            <a:avLst/>
          </a:prstGeom>
          <a:effectLst>
            <a:outerShdw blurRad="63500" sx="102000" sy="102000" algn="ctr" rotWithShape="0">
              <a:prstClr val="black">
                <a:alpha val="40000"/>
              </a:prstClr>
            </a:outerShdw>
          </a:effectLst>
        </p:spPr>
        <p:style>
          <a:lnRef idx="1">
            <a:schemeClr val="accent3"/>
          </a:lnRef>
          <a:fillRef idx="0">
            <a:schemeClr val="accent3"/>
          </a:fillRef>
          <a:effectRef idx="0">
            <a:schemeClr val="accent3"/>
          </a:effectRef>
          <a:fontRef idx="minor">
            <a:schemeClr val="tx1"/>
          </a:fontRef>
        </p:style>
      </p:cxnSp>
      <p:cxnSp>
        <p:nvCxnSpPr>
          <p:cNvPr id="115" name="Straight Connector 114">
            <a:extLst>
              <a:ext uri="{FF2B5EF4-FFF2-40B4-BE49-F238E27FC236}">
                <a16:creationId xmlns:a16="http://schemas.microsoft.com/office/drawing/2014/main" id="{70261FA7-6860-4737-AB4B-B07FBDF8ED54}"/>
              </a:ext>
            </a:extLst>
          </p:cNvPr>
          <p:cNvCxnSpPr>
            <a:cxnSpLocks/>
          </p:cNvCxnSpPr>
          <p:nvPr/>
        </p:nvCxnSpPr>
        <p:spPr>
          <a:xfrm>
            <a:off x="11730317" y="2272291"/>
            <a:ext cx="0" cy="3468082"/>
          </a:xfrm>
          <a:prstGeom prst="line">
            <a:avLst/>
          </a:prstGeom>
          <a:effectLst>
            <a:outerShdw blurRad="63500" sx="102000" sy="102000" algn="ctr" rotWithShape="0">
              <a:prstClr val="black">
                <a:alpha val="40000"/>
              </a:prstClr>
            </a:outerShdw>
          </a:effectLst>
        </p:spPr>
        <p:style>
          <a:lnRef idx="1">
            <a:schemeClr val="accent3"/>
          </a:lnRef>
          <a:fillRef idx="0">
            <a:schemeClr val="accent3"/>
          </a:fillRef>
          <a:effectRef idx="0">
            <a:schemeClr val="accent3"/>
          </a:effectRef>
          <a:fontRef idx="minor">
            <a:schemeClr val="tx1"/>
          </a:fontRef>
        </p:style>
      </p:cxnSp>
      <p:cxnSp>
        <p:nvCxnSpPr>
          <p:cNvPr id="119" name="Straight Connector 118">
            <a:extLst>
              <a:ext uri="{FF2B5EF4-FFF2-40B4-BE49-F238E27FC236}">
                <a16:creationId xmlns:a16="http://schemas.microsoft.com/office/drawing/2014/main" id="{C438968B-ECA7-4100-AD25-80E30B593C30}"/>
              </a:ext>
            </a:extLst>
          </p:cNvPr>
          <p:cNvCxnSpPr>
            <a:cxnSpLocks/>
          </p:cNvCxnSpPr>
          <p:nvPr/>
        </p:nvCxnSpPr>
        <p:spPr>
          <a:xfrm>
            <a:off x="7890459" y="2262898"/>
            <a:ext cx="3839858" cy="0"/>
          </a:xfrm>
          <a:prstGeom prst="line">
            <a:avLst/>
          </a:prstGeom>
          <a:effectLst>
            <a:outerShdw blurRad="63500" sx="102000" sy="102000" algn="ctr" rotWithShape="0">
              <a:prstClr val="black">
                <a:alpha val="40000"/>
              </a:prstClr>
            </a:outerShdw>
          </a:effectLst>
        </p:spPr>
        <p:style>
          <a:lnRef idx="1">
            <a:schemeClr val="accent3"/>
          </a:lnRef>
          <a:fillRef idx="0">
            <a:schemeClr val="accent3"/>
          </a:fillRef>
          <a:effectRef idx="0">
            <a:schemeClr val="accent3"/>
          </a:effectRef>
          <a:fontRef idx="minor">
            <a:schemeClr val="tx1"/>
          </a:fontRef>
        </p:style>
      </p:cxnSp>
      <p:cxnSp>
        <p:nvCxnSpPr>
          <p:cNvPr id="121" name="Straight Connector 120">
            <a:extLst>
              <a:ext uri="{FF2B5EF4-FFF2-40B4-BE49-F238E27FC236}">
                <a16:creationId xmlns:a16="http://schemas.microsoft.com/office/drawing/2014/main" id="{63E4D06A-D17E-4022-8456-20E8A6D64531}"/>
              </a:ext>
            </a:extLst>
          </p:cNvPr>
          <p:cNvCxnSpPr>
            <a:cxnSpLocks/>
          </p:cNvCxnSpPr>
          <p:nvPr/>
        </p:nvCxnSpPr>
        <p:spPr>
          <a:xfrm flipH="1">
            <a:off x="7890459" y="2274076"/>
            <a:ext cx="11339" cy="983730"/>
          </a:xfrm>
          <a:prstGeom prst="line">
            <a:avLst/>
          </a:prstGeom>
          <a:effectLst>
            <a:outerShdw blurRad="63500" sx="102000" sy="102000" algn="ctr" rotWithShape="0">
              <a:prstClr val="black">
                <a:alpha val="40000"/>
              </a:prstClr>
            </a:outerShdw>
          </a:effectLst>
        </p:spPr>
        <p:style>
          <a:lnRef idx="1">
            <a:schemeClr val="accent3"/>
          </a:lnRef>
          <a:fillRef idx="0">
            <a:schemeClr val="accent3"/>
          </a:fillRef>
          <a:effectRef idx="0">
            <a:schemeClr val="accent3"/>
          </a:effectRef>
          <a:fontRef idx="minor">
            <a:schemeClr val="tx1"/>
          </a:fontRef>
        </p:style>
      </p:cxnSp>
      <p:cxnSp>
        <p:nvCxnSpPr>
          <p:cNvPr id="128" name="Straight Connector 127">
            <a:extLst>
              <a:ext uri="{FF2B5EF4-FFF2-40B4-BE49-F238E27FC236}">
                <a16:creationId xmlns:a16="http://schemas.microsoft.com/office/drawing/2014/main" id="{DDDAA4A1-303C-48AE-B1BE-1636EDDE8B89}"/>
              </a:ext>
            </a:extLst>
          </p:cNvPr>
          <p:cNvCxnSpPr>
            <a:cxnSpLocks/>
          </p:cNvCxnSpPr>
          <p:nvPr/>
        </p:nvCxnSpPr>
        <p:spPr>
          <a:xfrm>
            <a:off x="7901798" y="4316652"/>
            <a:ext cx="0" cy="1423721"/>
          </a:xfrm>
          <a:prstGeom prst="line">
            <a:avLst/>
          </a:prstGeom>
          <a:effectLst>
            <a:outerShdw blurRad="63500" sx="102000" sy="102000" algn="ctr" rotWithShape="0">
              <a:prstClr val="black">
                <a:alpha val="40000"/>
              </a:prstClr>
            </a:outerShdw>
          </a:effectLst>
        </p:spPr>
        <p:style>
          <a:lnRef idx="1">
            <a:schemeClr val="accent3"/>
          </a:lnRef>
          <a:fillRef idx="0">
            <a:schemeClr val="accent3"/>
          </a:fillRef>
          <a:effectRef idx="0">
            <a:schemeClr val="accent3"/>
          </a:effectRef>
          <a:fontRef idx="minor">
            <a:schemeClr val="tx1"/>
          </a:fontRef>
        </p:style>
      </p:cxnSp>
      <p:grpSp>
        <p:nvGrpSpPr>
          <p:cNvPr id="5" name="Group 4">
            <a:extLst>
              <a:ext uri="{FF2B5EF4-FFF2-40B4-BE49-F238E27FC236}">
                <a16:creationId xmlns:a16="http://schemas.microsoft.com/office/drawing/2014/main" id="{698C774E-A972-4426-9D43-53DE83E355E4}"/>
              </a:ext>
            </a:extLst>
          </p:cNvPr>
          <p:cNvGrpSpPr/>
          <p:nvPr/>
        </p:nvGrpSpPr>
        <p:grpSpPr>
          <a:xfrm>
            <a:off x="5398749" y="3480910"/>
            <a:ext cx="2945926" cy="660840"/>
            <a:chOff x="5398749" y="3480910"/>
            <a:chExt cx="2945926" cy="660840"/>
          </a:xfrm>
        </p:grpSpPr>
        <p:pic>
          <p:nvPicPr>
            <p:cNvPr id="53" name="Picture 14">
              <a:extLst>
                <a:ext uri="{FF2B5EF4-FFF2-40B4-BE49-F238E27FC236}">
                  <a16:creationId xmlns:a16="http://schemas.microsoft.com/office/drawing/2014/main" id="{BD376011-5273-0D4F-8A74-AE4053DE211F}"/>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9043" b="89894" l="372" r="99257">
                          <a14:foregroundMark x1="42379" y1="51064" x2="34201" y2="49468"/>
                          <a14:foregroundMark x1="88476" y1="49468" x2="99257" y2="45213"/>
                          <a14:foregroundMark x1="15242" y1="49468" x2="372" y2="49468"/>
                        </a14:backgroundRemoval>
                      </a14:imgEffect>
                    </a14:imgLayer>
                  </a14:imgProps>
                </a:ext>
                <a:ext uri="{28A0092B-C50C-407E-A947-70E740481C1C}">
                  <a14:useLocalDpi xmlns:a14="http://schemas.microsoft.com/office/drawing/2010/main" val="0"/>
                </a:ext>
              </a:extLst>
            </a:blip>
            <a:srcRect/>
            <a:stretch>
              <a:fillRect/>
            </a:stretch>
          </p:blipFill>
          <p:spPr bwMode="auto">
            <a:xfrm>
              <a:off x="6347087" y="3480910"/>
              <a:ext cx="1049249" cy="66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3" name="Straight Connector 142">
              <a:extLst>
                <a:ext uri="{FF2B5EF4-FFF2-40B4-BE49-F238E27FC236}">
                  <a16:creationId xmlns:a16="http://schemas.microsoft.com/office/drawing/2014/main" id="{B7272251-2D32-44F7-97EA-33D887318304}"/>
                </a:ext>
              </a:extLst>
            </p:cNvPr>
            <p:cNvCxnSpPr>
              <a:cxnSpLocks/>
            </p:cNvCxnSpPr>
            <p:nvPr/>
          </p:nvCxnSpPr>
          <p:spPr>
            <a:xfrm>
              <a:off x="5398749" y="3779612"/>
              <a:ext cx="2945926" cy="0"/>
            </a:xfrm>
            <a:prstGeom prst="line">
              <a:avLst/>
            </a:prstGeom>
            <a:ln w="76200">
              <a:solidFill>
                <a:srgbClr val="0078DC"/>
              </a:solidFill>
            </a:ln>
          </p:spPr>
          <p:style>
            <a:lnRef idx="1">
              <a:schemeClr val="accent1"/>
            </a:lnRef>
            <a:fillRef idx="0">
              <a:schemeClr val="accent1"/>
            </a:fillRef>
            <a:effectRef idx="0">
              <a:schemeClr val="accent1"/>
            </a:effectRef>
            <a:fontRef idx="minor">
              <a:schemeClr val="tx1"/>
            </a:fontRef>
          </p:style>
        </p:cxnSp>
      </p:grpSp>
      <p:cxnSp>
        <p:nvCxnSpPr>
          <p:cNvPr id="8" name="Straight Arrow Connector 7">
            <a:extLst>
              <a:ext uri="{FF2B5EF4-FFF2-40B4-BE49-F238E27FC236}">
                <a16:creationId xmlns:a16="http://schemas.microsoft.com/office/drawing/2014/main" id="{3B335850-2903-451E-B81C-C841FC26C5AE}"/>
              </a:ext>
            </a:extLst>
          </p:cNvPr>
          <p:cNvCxnSpPr>
            <a:cxnSpLocks/>
          </p:cNvCxnSpPr>
          <p:nvPr/>
        </p:nvCxnSpPr>
        <p:spPr>
          <a:xfrm flipH="1">
            <a:off x="1045029" y="3745201"/>
            <a:ext cx="1050451" cy="2917"/>
          </a:xfrm>
          <a:prstGeom prst="straightConnector1">
            <a:avLst/>
          </a:prstGeom>
          <a:ln w="15875">
            <a:solidFill>
              <a:schemeClr val="tx1"/>
            </a:solidFill>
            <a:prstDash val="solid"/>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1DF78595-E921-412E-ADB2-1B1E434CBE63}"/>
              </a:ext>
            </a:extLst>
          </p:cNvPr>
          <p:cNvSpPr txBox="1"/>
          <p:nvPr/>
        </p:nvSpPr>
        <p:spPr>
          <a:xfrm>
            <a:off x="642157" y="2962473"/>
            <a:ext cx="1044401" cy="41549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Opera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Data</a:t>
            </a:r>
          </a:p>
        </p:txBody>
      </p:sp>
      <p:pic>
        <p:nvPicPr>
          <p:cNvPr id="120" name="Picture 119">
            <a:extLst>
              <a:ext uri="{FF2B5EF4-FFF2-40B4-BE49-F238E27FC236}">
                <a16:creationId xmlns:a16="http://schemas.microsoft.com/office/drawing/2014/main" id="{A1C7B26F-C212-487C-8079-C0FA61F5EFC3}"/>
              </a:ext>
            </a:extLst>
          </p:cNvPr>
          <p:cNvPicPr>
            <a:picLocks noChangeAspect="1"/>
          </p:cNvPicPr>
          <p:nvPr/>
        </p:nvPicPr>
        <p:blipFill>
          <a:blip r:embed="rId12" cstate="print">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tretch>
            <a:fillRect/>
          </a:stretch>
        </p:blipFill>
        <p:spPr>
          <a:xfrm>
            <a:off x="566706" y="3444406"/>
            <a:ext cx="493878" cy="598653"/>
          </a:xfrm>
          <a:prstGeom prst="rect">
            <a:avLst/>
          </a:prstGeom>
        </p:spPr>
      </p:pic>
      <p:pic>
        <p:nvPicPr>
          <p:cNvPr id="122" name="Picture 121">
            <a:extLst>
              <a:ext uri="{FF2B5EF4-FFF2-40B4-BE49-F238E27FC236}">
                <a16:creationId xmlns:a16="http://schemas.microsoft.com/office/drawing/2014/main" id="{B47E786E-D17B-4DAD-81A4-828E63879111}"/>
              </a:ext>
            </a:extLst>
          </p:cNvPr>
          <p:cNvPicPr>
            <a:picLocks noChangeAspect="1"/>
          </p:cNvPicPr>
          <p:nvPr/>
        </p:nvPicPr>
        <p:blipFill rotWithShape="1">
          <a:blip r:embed="rId14">
            <a:duotone>
              <a:prstClr val="black"/>
              <a:schemeClr val="bg1">
                <a:tint val="45000"/>
                <a:satMod val="400000"/>
              </a:schemeClr>
            </a:duotone>
            <a:extLst>
              <a:ext uri="{BEBA8EAE-BF5A-486C-A8C5-ECC9F3942E4B}">
                <a14:imgProps xmlns:a14="http://schemas.microsoft.com/office/drawing/2010/main">
                  <a14:imgLayer r:embed="rId15">
                    <a14:imgEffect>
                      <a14:brightnessContrast contrast="-40000"/>
                    </a14:imgEffect>
                  </a14:imgLayer>
                </a14:imgProps>
              </a:ext>
            </a:extLst>
          </a:blip>
          <a:srcRect l="6099" t="18345" r="90073" b="74899"/>
          <a:stretch/>
        </p:blipFill>
        <p:spPr>
          <a:xfrm>
            <a:off x="583942" y="4141750"/>
            <a:ext cx="483304" cy="415498"/>
          </a:xfrm>
          <a:prstGeom prst="rect">
            <a:avLst/>
          </a:prstGeom>
          <a:ln>
            <a:noFill/>
          </a:ln>
        </p:spPr>
      </p:pic>
      <p:sp>
        <p:nvSpPr>
          <p:cNvPr id="52" name="TextBox 51">
            <a:extLst>
              <a:ext uri="{FF2B5EF4-FFF2-40B4-BE49-F238E27FC236}">
                <a16:creationId xmlns:a16="http://schemas.microsoft.com/office/drawing/2014/main" id="{98EC1DEC-E12F-4C24-A9E1-7D7CEE3A4343}"/>
              </a:ext>
            </a:extLst>
          </p:cNvPr>
          <p:cNvSpPr txBox="1"/>
          <p:nvPr/>
        </p:nvSpPr>
        <p:spPr>
          <a:xfrm>
            <a:off x="2102577" y="6159388"/>
            <a:ext cx="7486866" cy="46971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t> </a:t>
            </a:r>
            <a:r>
              <a:rPr kumimoji="0" lang="en-US" sz="2400"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t>Generate near real-time insights on your operational data</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49" name="Straight Connector 48">
            <a:extLst>
              <a:ext uri="{FF2B5EF4-FFF2-40B4-BE49-F238E27FC236}">
                <a16:creationId xmlns:a16="http://schemas.microsoft.com/office/drawing/2014/main" id="{2E0D881C-D2E8-45A8-AAE3-F8203FC3D702}"/>
              </a:ext>
            </a:extLst>
          </p:cNvPr>
          <p:cNvCxnSpPr>
            <a:cxnSpLocks/>
          </p:cNvCxnSpPr>
          <p:nvPr/>
        </p:nvCxnSpPr>
        <p:spPr>
          <a:xfrm>
            <a:off x="5861129" y="3257806"/>
            <a:ext cx="0" cy="1031318"/>
          </a:xfrm>
          <a:prstGeom prst="line">
            <a:avLst/>
          </a:prstGeom>
          <a:effectLst>
            <a:outerShdw blurRad="63500" sx="102000" sy="102000" algn="ctr" rotWithShape="0">
              <a:prstClr val="black">
                <a:alpha val="40000"/>
              </a:prstClr>
            </a:outerShdw>
          </a:effectLst>
        </p:spPr>
        <p:style>
          <a:lnRef idx="1">
            <a:schemeClr val="accent3"/>
          </a:lnRef>
          <a:fillRef idx="0">
            <a:schemeClr val="accent3"/>
          </a:fillRef>
          <a:effectRef idx="0">
            <a:schemeClr val="accent3"/>
          </a:effectRef>
          <a:fontRef idx="minor">
            <a:schemeClr val="tx1"/>
          </a:fontRef>
        </p:style>
      </p:cxnSp>
      <p:sp>
        <p:nvSpPr>
          <p:cNvPr id="3" name="Footer Placeholder 2">
            <a:extLst>
              <a:ext uri="{FF2B5EF4-FFF2-40B4-BE49-F238E27FC236}">
                <a16:creationId xmlns:a16="http://schemas.microsoft.com/office/drawing/2014/main" id="{D9F8A845-593E-4BF8-A131-D452A1FBA1B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sk Questions : http://aka.ms/cosmos-qa</a:t>
            </a:r>
          </a:p>
        </p:txBody>
      </p:sp>
    </p:spTree>
    <p:extLst>
      <p:ext uri="{BB962C8B-B14F-4D97-AF65-F5344CB8AC3E}">
        <p14:creationId xmlns:p14="http://schemas.microsoft.com/office/powerpoint/2010/main" val="3955322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par>
                                <p:cTn id="21" presetID="1" presetClass="exit" presetSubtype="0" fill="hold" nodeType="withEffect">
                                  <p:stCondLst>
                                    <p:cond delay="0"/>
                                  </p:stCondLst>
                                  <p:childTnLst>
                                    <p:set>
                                      <p:cBhvr>
                                        <p:cTn id="22" dur="1" fill="hold">
                                          <p:stCondLst>
                                            <p:cond delay="0"/>
                                          </p:stCondLst>
                                        </p:cTn>
                                        <p:tgtEl>
                                          <p:spTgt spid="49"/>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6" grpId="0" animBg="1"/>
      <p:bldP spid="48" grpId="0"/>
      <p:bldP spid="55" grpId="0"/>
      <p:bldP spid="56" grpId="0"/>
      <p:bldP spid="59" grpId="0"/>
      <p:bldP spid="64" grpId="0"/>
      <p:bldP spid="67" grpId="0" animBg="1"/>
      <p:bldP spid="68" grpId="0" animBg="1"/>
      <p:bldP spid="69" grpId="0" animBg="1"/>
      <p:bldP spid="52" grpId="0"/>
    </p:bld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1B043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CAC6C-1132-4944-91A6-AFB9737552FF}"/>
              </a:ext>
            </a:extLst>
          </p:cNvPr>
          <p:cNvSpPr>
            <a:spLocks noGrp="1"/>
          </p:cNvSpPr>
          <p:nvPr>
            <p:ph type="title"/>
          </p:nvPr>
        </p:nvSpPr>
        <p:spPr>
          <a:xfrm>
            <a:off x="588263" y="457200"/>
            <a:ext cx="11018520" cy="492443"/>
          </a:xfrm>
        </p:spPr>
        <p:txBody>
          <a:bodyPr/>
          <a:lstStyle/>
          <a:p>
            <a:pPr algn="ctr"/>
            <a:r>
              <a:rPr lang="en-US" sz="3200"/>
              <a:t>Azure Cosmos DB: What Comes Next</a:t>
            </a:r>
          </a:p>
        </p:txBody>
      </p:sp>
      <p:graphicFrame>
        <p:nvGraphicFramePr>
          <p:cNvPr id="6" name="Diagram 5">
            <a:extLst>
              <a:ext uri="{FF2B5EF4-FFF2-40B4-BE49-F238E27FC236}">
                <a16:creationId xmlns:a16="http://schemas.microsoft.com/office/drawing/2014/main" id="{5F4A25F8-338D-4CF2-9500-0A65DE421FA4}"/>
              </a:ext>
            </a:extLst>
          </p:cNvPr>
          <p:cNvGraphicFramePr/>
          <p:nvPr/>
        </p:nvGraphicFramePr>
        <p:xfrm>
          <a:off x="1063169" y="1736120"/>
          <a:ext cx="9871529" cy="44769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8180E613-57D5-4920-902F-CD474150490D}"/>
              </a:ext>
            </a:extLst>
          </p:cNvPr>
          <p:cNvSpPr txBox="1"/>
          <p:nvPr/>
        </p:nvSpPr>
        <p:spPr>
          <a:xfrm>
            <a:off x="588263" y="1582232"/>
            <a:ext cx="1085189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50E6FF"/>
                </a:solidFill>
                <a:effectLst/>
                <a:uLnTx/>
                <a:uFillTx/>
                <a:latin typeface="Segoe UI Semibold"/>
                <a:ea typeface="+mn-ea"/>
                <a:cs typeface="+mn-cs"/>
              </a:rPr>
              <a:t>Product is evolving quickly with investments across 3 key pillars:</a:t>
            </a:r>
          </a:p>
        </p:txBody>
      </p:sp>
    </p:spTree>
    <p:extLst>
      <p:ext uri="{BB962C8B-B14F-4D97-AF65-F5344CB8AC3E}">
        <p14:creationId xmlns:p14="http://schemas.microsoft.com/office/powerpoint/2010/main" val="284186237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26A531D-5D57-4809-980D-F5B53B2298A2}"/>
              </a:ext>
            </a:extLst>
          </p:cNvPr>
          <p:cNvSpPr>
            <a:spLocks noGrp="1"/>
          </p:cNvSpPr>
          <p:nvPr>
            <p:ph type="body" sz="quarter" idx="10"/>
          </p:nvPr>
        </p:nvSpPr>
        <p:spPr>
          <a:xfrm>
            <a:off x="460379" y="504264"/>
            <a:ext cx="11018520" cy="6024470"/>
          </a:xfrm>
        </p:spPr>
        <p:txBody>
          <a:bodyPr anchor="t"/>
          <a:lstStyle/>
          <a:p>
            <a:pPr marL="571500" lvl="1" indent="-342900">
              <a:buFont typeface="Arial" panose="020B0604020202020204" pitchFamily="34" charset="0"/>
              <a:buChar char="•"/>
            </a:pPr>
            <a:endParaRPr lang="en-US" sz="1400" dirty="0"/>
          </a:p>
          <a:p>
            <a:pPr>
              <a:lnSpc>
                <a:spcPct val="100000"/>
              </a:lnSpc>
              <a:spcAft>
                <a:spcPts val="600"/>
              </a:spcAft>
            </a:pPr>
            <a:r>
              <a:rPr lang="en-US" dirty="0"/>
              <a:t>Closing</a:t>
            </a:r>
          </a:p>
          <a:p>
            <a:pPr marL="342900" indent="-342900">
              <a:lnSpc>
                <a:spcPct val="100000"/>
              </a:lnSpc>
              <a:spcAft>
                <a:spcPts val="600"/>
              </a:spcAft>
              <a:buFont typeface="Arial" panose="020B0604020202020204" pitchFamily="34" charset="0"/>
              <a:buChar char="•"/>
            </a:pPr>
            <a:r>
              <a:rPr lang="en-US" sz="1600" dirty="0"/>
              <a:t>Azure Cosmos DB Certification : DP 420</a:t>
            </a:r>
          </a:p>
          <a:p>
            <a:pPr marL="342900" indent="-342900">
              <a:lnSpc>
                <a:spcPct val="100000"/>
              </a:lnSpc>
              <a:spcAft>
                <a:spcPts val="600"/>
              </a:spcAft>
              <a:buFont typeface="Arial" panose="020B0604020202020204" pitchFamily="34" charset="0"/>
              <a:buChar char="•"/>
            </a:pPr>
            <a:r>
              <a:rPr lang="en-US" sz="1600" dirty="0"/>
              <a:t>Provide feedback , comments, topics you want to hear about : please send email to </a:t>
            </a:r>
            <a:r>
              <a:rPr lang="en-US" sz="1400" dirty="0">
                <a:gradFill>
                  <a:gsLst>
                    <a:gs pos="2917">
                      <a:schemeClr val="tx1"/>
                    </a:gs>
                    <a:gs pos="30000">
                      <a:schemeClr val="tx1"/>
                    </a:gs>
                  </a:gsLst>
                  <a:lin ang="5400000" scaled="0"/>
                </a:gradFill>
                <a:hlinkClick r:id="rId2"/>
              </a:rPr>
              <a:t>cosmospartnersuccess@microsoft.com</a:t>
            </a:r>
            <a:r>
              <a:rPr lang="en-US" sz="1400" dirty="0">
                <a:gradFill>
                  <a:gsLst>
                    <a:gs pos="2917">
                      <a:schemeClr val="tx1"/>
                    </a:gs>
                    <a:gs pos="30000">
                      <a:schemeClr val="tx1"/>
                    </a:gs>
                  </a:gsLst>
                  <a:lin ang="5400000" scaled="0"/>
                </a:gradFill>
              </a:rPr>
              <a:t> </a:t>
            </a:r>
          </a:p>
          <a:p>
            <a:pPr marL="342900" indent="-342900">
              <a:lnSpc>
                <a:spcPct val="10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Attend</a:t>
            </a:r>
            <a:r>
              <a:rPr lang="en-US" sz="1400" dirty="0">
                <a:gradFill>
                  <a:gsLst>
                    <a:gs pos="2917">
                      <a:schemeClr val="tx1"/>
                    </a:gs>
                    <a:gs pos="30000">
                      <a:schemeClr val="tx1"/>
                    </a:gs>
                  </a:gsLst>
                  <a:lin ang="5400000" scaled="0"/>
                </a:gradFill>
              </a:rPr>
              <a:t> </a:t>
            </a:r>
            <a:r>
              <a:rPr lang="en-US" sz="1400" dirty="0">
                <a:hlinkClick r:id="rId3"/>
              </a:rPr>
              <a:t>Partner Tech Connect (gotcosmos.com)</a:t>
            </a:r>
            <a:r>
              <a:rPr lang="en-US" sz="1400" dirty="0">
                <a:gradFill>
                  <a:gsLst>
                    <a:gs pos="2917">
                      <a:schemeClr val="tx1"/>
                    </a:gs>
                    <a:gs pos="30000">
                      <a:schemeClr val="tx1"/>
                    </a:gs>
                  </a:gsLst>
                  <a:lin ang="5400000" scaled="0"/>
                </a:gradFill>
              </a:rPr>
              <a:t> </a:t>
            </a:r>
            <a:r>
              <a:rPr lang="en-US" sz="1600" dirty="0">
                <a:gradFill>
                  <a:gsLst>
                    <a:gs pos="2917">
                      <a:schemeClr val="tx1"/>
                    </a:gs>
                    <a:gs pos="30000">
                      <a:schemeClr val="tx1"/>
                    </a:gs>
                  </a:gsLst>
                  <a:lin ang="5400000" scaled="0"/>
                </a:gradFill>
              </a:rPr>
              <a:t>for upcoming special topic sessions and Q&amp;A sessions.</a:t>
            </a:r>
          </a:p>
          <a:p>
            <a:pPr marL="342900" indent="-342900">
              <a:lnSpc>
                <a:spcPct val="10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rPr>
              <a:t>Ask technical questions on </a:t>
            </a:r>
            <a:r>
              <a:rPr lang="en-US" sz="1400" dirty="0">
                <a:hlinkClick r:id="rId4"/>
              </a:rPr>
              <a:t>Posts containing 'cosmos </a:t>
            </a:r>
            <a:r>
              <a:rPr lang="en-US" sz="1400" dirty="0" err="1">
                <a:hlinkClick r:id="rId4"/>
              </a:rPr>
              <a:t>db</a:t>
            </a:r>
            <a:r>
              <a:rPr lang="en-US" sz="1400" dirty="0">
                <a:hlinkClick r:id="rId4"/>
              </a:rPr>
              <a:t>' - Stack Overflow</a:t>
            </a:r>
            <a:r>
              <a:rPr lang="en-US" sz="1400" dirty="0">
                <a:gradFill>
                  <a:gsLst>
                    <a:gs pos="2917">
                      <a:schemeClr val="tx1"/>
                    </a:gs>
                    <a:gs pos="30000">
                      <a:schemeClr val="tx1"/>
                    </a:gs>
                  </a:gsLst>
                  <a:lin ang="5400000" scaled="0"/>
                </a:gradFill>
              </a:rPr>
              <a:t> </a:t>
            </a:r>
            <a:r>
              <a:rPr lang="en-US" sz="1600" dirty="0">
                <a:gradFill>
                  <a:gsLst>
                    <a:gs pos="2917">
                      <a:schemeClr val="tx1"/>
                    </a:gs>
                    <a:gs pos="30000">
                      <a:schemeClr val="tx1"/>
                    </a:gs>
                  </a:gsLst>
                  <a:lin ang="5400000" scaled="0"/>
                </a:gradFill>
              </a:rPr>
              <a:t>with tag :cosmos </a:t>
            </a:r>
            <a:r>
              <a:rPr lang="en-US" sz="1600" dirty="0" err="1">
                <a:gradFill>
                  <a:gsLst>
                    <a:gs pos="2917">
                      <a:schemeClr val="tx1"/>
                    </a:gs>
                    <a:gs pos="30000">
                      <a:schemeClr val="tx1"/>
                    </a:gs>
                  </a:gsLst>
                  <a:lin ang="5400000" scaled="0"/>
                </a:gradFill>
              </a:rPr>
              <a:t>db</a:t>
            </a:r>
            <a:r>
              <a:rPr lang="en-US" sz="1600" dirty="0">
                <a:gradFill>
                  <a:gsLst>
                    <a:gs pos="2917">
                      <a:schemeClr val="tx1"/>
                    </a:gs>
                    <a:gs pos="30000">
                      <a:schemeClr val="tx1"/>
                    </a:gs>
                  </a:gsLst>
                  <a:lin ang="5400000" scaled="0"/>
                </a:gradFill>
              </a:rPr>
              <a:t>”. We will answer this here. Any Other ideas welcome ? </a:t>
            </a:r>
            <a:endParaRPr lang="en-US" sz="1400" dirty="0">
              <a:gradFill>
                <a:gsLst>
                  <a:gs pos="2917">
                    <a:schemeClr val="tx1"/>
                  </a:gs>
                  <a:gs pos="30000">
                    <a:schemeClr val="tx1"/>
                  </a:gs>
                </a:gsLst>
                <a:lin ang="5400000" scaled="0"/>
              </a:gradFill>
            </a:endParaRPr>
          </a:p>
          <a:p>
            <a:pPr lvl="1"/>
            <a:endParaRPr lang="en-US" dirty="0"/>
          </a:p>
          <a:p>
            <a:pPr>
              <a:lnSpc>
                <a:spcPct val="100000"/>
              </a:lnSpc>
            </a:pPr>
            <a:r>
              <a:rPr lang="en-US" dirty="0"/>
              <a:t>Resources </a:t>
            </a:r>
          </a:p>
          <a:p>
            <a:pPr marL="571500" lvl="1" indent="-342900">
              <a:lnSpc>
                <a:spcPct val="100000"/>
              </a:lnSpc>
              <a:spcAft>
                <a:spcPts val="400"/>
              </a:spcAft>
              <a:buFont typeface="Arial" panose="020B0604020202020204" pitchFamily="34" charset="0"/>
              <a:buChar char="•"/>
            </a:pPr>
            <a:r>
              <a:rPr lang="en-US" sz="1600" dirty="0"/>
              <a:t>Workshops &amp; Slideware: </a:t>
            </a:r>
            <a:r>
              <a:rPr lang="en-US" sz="1600" i="0" dirty="0">
                <a:effectLst/>
                <a:hlinkClick r:id="rId5" tooltip="https://azurecosmosdb.github.io/cosmosdbworkshops/#slides"/>
              </a:rPr>
              <a:t>https://azurecosmosdb.github.io/CosmosDBWorkshops/#slides</a:t>
            </a:r>
            <a:endParaRPr lang="en-US" sz="1600" i="0" dirty="0">
              <a:effectLst/>
            </a:endParaRPr>
          </a:p>
          <a:p>
            <a:pPr marL="571500" lvl="1" indent="-342900">
              <a:lnSpc>
                <a:spcPct val="100000"/>
              </a:lnSpc>
              <a:spcAft>
                <a:spcPts val="400"/>
              </a:spcAft>
              <a:buFont typeface="Arial" panose="020B0604020202020204" pitchFamily="34" charset="0"/>
              <a:buChar char="•"/>
            </a:pPr>
            <a:r>
              <a:rPr lang="en-US" sz="1600" dirty="0"/>
              <a:t>Cosmos DB Blog : </a:t>
            </a:r>
            <a:r>
              <a:rPr lang="en-US" sz="1600" i="0" dirty="0">
                <a:effectLst/>
                <a:hlinkClick r:id="rId6" tooltip="https://devblogs.microsoft.com/cosmosdb/"/>
              </a:rPr>
              <a:t>https://devblogs.microsoft.com/cosmosdb/</a:t>
            </a:r>
            <a:endParaRPr lang="en-US" sz="1600" dirty="0"/>
          </a:p>
          <a:p>
            <a:pPr marL="571500" lvl="1" indent="-342900">
              <a:lnSpc>
                <a:spcPct val="100000"/>
              </a:lnSpc>
              <a:spcAft>
                <a:spcPts val="400"/>
              </a:spcAft>
              <a:buFont typeface="Arial" panose="020B0604020202020204" pitchFamily="34" charset="0"/>
              <a:buChar char="•"/>
            </a:pPr>
            <a:r>
              <a:rPr lang="en-US" sz="1600" i="0" dirty="0">
                <a:effectLst/>
              </a:rPr>
              <a:t>Main Documentation: </a:t>
            </a:r>
            <a:r>
              <a:rPr lang="en-US" sz="1600" i="0" dirty="0">
                <a:effectLst/>
                <a:hlinkClick r:id="rId7" tooltip="https://docs.microsoft.com/en-us/azure/cosmos-db/"/>
              </a:rPr>
              <a:t>https://docs.microsoft.com/en-us/azure/cosmos-db/</a:t>
            </a:r>
            <a:endParaRPr lang="en-US" sz="1600" i="0" dirty="0">
              <a:effectLst/>
            </a:endParaRPr>
          </a:p>
          <a:p>
            <a:pPr marL="571500" lvl="1" indent="-342900">
              <a:lnSpc>
                <a:spcPct val="100000"/>
              </a:lnSpc>
              <a:spcAft>
                <a:spcPts val="400"/>
              </a:spcAft>
              <a:buFont typeface="Arial" panose="020B0604020202020204" pitchFamily="34" charset="0"/>
              <a:buChar char="•"/>
            </a:pPr>
            <a:r>
              <a:rPr lang="en-US" sz="1600" dirty="0"/>
              <a:t>Cosmos DB </a:t>
            </a:r>
            <a:r>
              <a:rPr lang="en-US" sz="1600" dirty="0" err="1"/>
              <a:t>Youtube</a:t>
            </a:r>
            <a:r>
              <a:rPr lang="en-US" sz="1600" dirty="0"/>
              <a:t> Channel : </a:t>
            </a:r>
            <a:r>
              <a:rPr lang="en-US" sz="1600" i="0" dirty="0">
                <a:effectLst/>
                <a:hlinkClick r:id="rId8" tooltip="https://www.youtube.com/azurecosmosdb"/>
              </a:rPr>
              <a:t>https://www.youtube.com/azurecosmosdb</a:t>
            </a:r>
            <a:endParaRPr lang="en-US" sz="1600" i="0" dirty="0">
              <a:effectLst/>
            </a:endParaRPr>
          </a:p>
          <a:p>
            <a:pPr marL="571500" lvl="1" indent="-342900">
              <a:lnSpc>
                <a:spcPct val="100000"/>
              </a:lnSpc>
              <a:spcAft>
                <a:spcPts val="400"/>
              </a:spcAft>
              <a:buFont typeface="Arial" panose="020B0604020202020204" pitchFamily="34" charset="0"/>
              <a:buChar char="•"/>
            </a:pPr>
            <a:r>
              <a:rPr lang="en-US" sz="1600" dirty="0"/>
              <a:t>MS Learn: </a:t>
            </a:r>
            <a:r>
              <a:rPr lang="en-US" sz="1600" dirty="0">
                <a:hlinkClick r:id="rId9"/>
              </a:rPr>
              <a:t>https://docs.microsoft.com/en-us/learn/paths/work-with-nosql-data-in-azure-cosmos-db/</a:t>
            </a:r>
            <a:endParaRPr lang="en-US" sz="1600" dirty="0"/>
          </a:p>
          <a:p>
            <a:pPr marL="571500" lvl="1" indent="-342900">
              <a:lnSpc>
                <a:spcPct val="100000"/>
              </a:lnSpc>
              <a:spcAft>
                <a:spcPts val="400"/>
              </a:spcAft>
              <a:buFont typeface="Arial" panose="020B0604020202020204" pitchFamily="34" charset="0"/>
              <a:buChar char="•"/>
            </a:pPr>
            <a:r>
              <a:rPr lang="en-US" sz="1600" i="0" dirty="0">
                <a:effectLst/>
              </a:rPr>
              <a:t>Pluralsight courses (free MS FTE access): </a:t>
            </a:r>
            <a:r>
              <a:rPr lang="en-US" sz="1600" i="0" dirty="0">
                <a:effectLst/>
                <a:hlinkClick r:id="rId10" tooltip="https://microsoft.sharepoint.com/_layouts/15/search.aspx/?q=pluralsight"/>
              </a:rPr>
              <a:t>https://microsoft.sharepoint.com/_layouts/15/search.aspx/?q=pluralsight</a:t>
            </a:r>
            <a:endParaRPr lang="en-US" sz="1600" i="0" dirty="0">
              <a:effectLst/>
            </a:endParaRPr>
          </a:p>
          <a:p>
            <a:pPr marL="571500" lvl="1" indent="-342900">
              <a:lnSpc>
                <a:spcPct val="100000"/>
              </a:lnSpc>
              <a:spcAft>
                <a:spcPts val="400"/>
              </a:spcAft>
              <a:buFont typeface="Arial" panose="020B0604020202020204" pitchFamily="34" charset="0"/>
              <a:buChar char="•"/>
            </a:pPr>
            <a:r>
              <a:rPr lang="en-US" sz="1600" dirty="0"/>
              <a:t>Channel 9  events (Build, Ignite) : </a:t>
            </a:r>
            <a:r>
              <a:rPr lang="en-US" sz="1600" i="0" dirty="0">
                <a:effectLst/>
                <a:hlinkClick r:id="rId11" tooltip="https://channel9.msdn.com/"/>
              </a:rPr>
              <a:t>https://channel9.msdn.com/</a:t>
            </a:r>
            <a:endParaRPr lang="en-US" sz="1600" i="0" dirty="0">
              <a:effectLst/>
            </a:endParaRPr>
          </a:p>
          <a:p>
            <a:pPr marL="571500" lvl="1" indent="-342900">
              <a:lnSpc>
                <a:spcPct val="100000"/>
              </a:lnSpc>
              <a:spcAft>
                <a:spcPts val="400"/>
              </a:spcAft>
              <a:buFont typeface="Arial" panose="020B0604020202020204" pitchFamily="34" charset="0"/>
              <a:buChar char="•"/>
            </a:pPr>
            <a:r>
              <a:rPr lang="en-US" sz="1600" i="0" dirty="0">
                <a:effectLst/>
              </a:rPr>
              <a:t>Twitter : @AzureCosmosDB ; #AzureCosmosDB , #CosmosDB</a:t>
            </a:r>
          </a:p>
          <a:p>
            <a:pPr marL="571500" lvl="1" indent="-342900">
              <a:lnSpc>
                <a:spcPct val="100000"/>
              </a:lnSpc>
              <a:buFont typeface="Arial" panose="020B0604020202020204" pitchFamily="34" charset="0"/>
              <a:buChar char="•"/>
            </a:pPr>
            <a:endParaRPr lang="en-US" b="0" i="0" dirty="0">
              <a:effectLst/>
              <a:latin typeface="Segoe UI" panose="020B0502040204020203" pitchFamily="34" charset="0"/>
            </a:endParaRPr>
          </a:p>
          <a:p>
            <a:pPr lvl="1"/>
            <a:endParaRPr lang="en-US" dirty="0"/>
          </a:p>
        </p:txBody>
      </p:sp>
    </p:spTree>
    <p:extLst>
      <p:ext uri="{BB962C8B-B14F-4D97-AF65-F5344CB8AC3E}">
        <p14:creationId xmlns:p14="http://schemas.microsoft.com/office/powerpoint/2010/main" val="1183162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553998"/>
          </a:xfrm>
        </p:spPr>
        <p:txBody>
          <a:bodyPr>
            <a:noAutofit/>
          </a:bodyPr>
          <a:lstStyle/>
          <a:p>
            <a:r>
              <a:rPr lang="en-US"/>
              <a:t>Azure Cosmos DB</a:t>
            </a:r>
            <a:br>
              <a:rPr lang="en-US"/>
            </a:br>
            <a:endParaRPr lang="en-US"/>
          </a:p>
        </p:txBody>
      </p:sp>
      <p:sp>
        <p:nvSpPr>
          <p:cNvPr id="18" name="Text Placeholder 17">
            <a:extLst>
              <a:ext uri="{FF2B5EF4-FFF2-40B4-BE49-F238E27FC236}">
                <a16:creationId xmlns:a16="http://schemas.microsoft.com/office/drawing/2014/main" id="{0D4F8A8A-10A6-451B-9686-607E87D52F95}"/>
              </a:ext>
            </a:extLst>
          </p:cNvPr>
          <p:cNvSpPr>
            <a:spLocks noGrp="1"/>
          </p:cNvSpPr>
          <p:nvPr>
            <p:ph type="body" sz="quarter" idx="12"/>
          </p:nvPr>
        </p:nvSpPr>
        <p:spPr>
          <a:xfrm>
            <a:off x="584200" y="1128911"/>
            <a:ext cx="11018520" cy="307777"/>
          </a:xfrm>
        </p:spPr>
        <p:txBody>
          <a:bodyPr/>
          <a:lstStyle/>
          <a:p>
            <a:r>
              <a:rPr lang="en-US">
                <a:solidFill>
                  <a:schemeClr val="bg2"/>
                </a:solidFill>
              </a:rPr>
              <a:t>Fast, distributed database with relational and non-relational APIs for any scale</a:t>
            </a:r>
          </a:p>
        </p:txBody>
      </p:sp>
      <p:grpSp>
        <p:nvGrpSpPr>
          <p:cNvPr id="64" name="Group 63">
            <a:extLst>
              <a:ext uri="{FF2B5EF4-FFF2-40B4-BE49-F238E27FC236}">
                <a16:creationId xmlns:a16="http://schemas.microsoft.com/office/drawing/2014/main" id="{E7CC0E87-5894-46C8-9852-ADD258F560F5}"/>
              </a:ext>
            </a:extLst>
          </p:cNvPr>
          <p:cNvGrpSpPr/>
          <p:nvPr/>
        </p:nvGrpSpPr>
        <p:grpSpPr>
          <a:xfrm>
            <a:off x="568212" y="1765634"/>
            <a:ext cx="2073795" cy="3790603"/>
            <a:chOff x="707281" y="2478434"/>
            <a:chExt cx="2073795" cy="3790603"/>
          </a:xfrm>
        </p:grpSpPr>
        <p:sp>
          <p:nvSpPr>
            <p:cNvPr id="24" name="Freeform: Shape 23">
              <a:extLst>
                <a:ext uri="{FF2B5EF4-FFF2-40B4-BE49-F238E27FC236}">
                  <a16:creationId xmlns:a16="http://schemas.microsoft.com/office/drawing/2014/main" id="{47547475-625D-4EB5-9AA8-6BE37FCD2AE1}"/>
                </a:ext>
              </a:extLst>
            </p:cNvPr>
            <p:cNvSpPr/>
            <p:nvPr/>
          </p:nvSpPr>
          <p:spPr>
            <a:xfrm>
              <a:off x="707281" y="2478434"/>
              <a:ext cx="2073795"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117475" marR="0" lvl="1"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lumMod val="20000"/>
                      <a:lumOff val="80000"/>
                    </a:srgbClr>
                  </a:solidFill>
                  <a:effectLst/>
                  <a:uLnTx/>
                  <a:uFillTx/>
                  <a:latin typeface="Segoe UI Semibold" charset="0"/>
                  <a:ea typeface="+mn-ea"/>
                  <a:cs typeface="Segoe UI Semibold" charset="0"/>
                </a:rPr>
                <a:t>Serverless Guaranteed speed at any scale,</a:t>
              </a:r>
            </a:p>
            <a:p>
              <a:pPr marL="117475" marR="0" lvl="1"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lumMod val="20000"/>
                      <a:lumOff val="80000"/>
                    </a:srgbClr>
                  </a:solidFill>
                  <a:effectLst/>
                  <a:uLnTx/>
                  <a:uFillTx/>
                  <a:latin typeface="Segoe UI Semibold" charset="0"/>
                  <a:ea typeface="+mn-ea"/>
                  <a:cs typeface="Segoe UI Semibold" charset="0"/>
                </a:rPr>
                <a:t>best TCO</a:t>
              </a:r>
            </a:p>
          </p:txBody>
        </p:sp>
        <p:grpSp>
          <p:nvGrpSpPr>
            <p:cNvPr id="9" name="Group 4">
              <a:extLst>
                <a:ext uri="{FF2B5EF4-FFF2-40B4-BE49-F238E27FC236}">
                  <a16:creationId xmlns:a16="http://schemas.microsoft.com/office/drawing/2014/main" id="{6D701B06-EB39-473F-ADF8-522D63DF3C0E}"/>
                </a:ext>
              </a:extLst>
            </p:cNvPr>
            <p:cNvGrpSpPr>
              <a:grpSpLocks noChangeAspect="1"/>
            </p:cNvGrpSpPr>
            <p:nvPr/>
          </p:nvGrpSpPr>
          <p:grpSpPr bwMode="auto">
            <a:xfrm>
              <a:off x="1346841" y="2857414"/>
              <a:ext cx="824000" cy="824000"/>
              <a:chOff x="1084" y="1911"/>
              <a:chExt cx="418" cy="418"/>
            </a:xfrm>
          </p:grpSpPr>
          <p:sp>
            <p:nvSpPr>
              <p:cNvPr id="10" name="AutoShape 3">
                <a:extLst>
                  <a:ext uri="{FF2B5EF4-FFF2-40B4-BE49-F238E27FC236}">
                    <a16:creationId xmlns:a16="http://schemas.microsoft.com/office/drawing/2014/main" id="{56328F51-E31F-47B4-A4AF-829EC8322654}"/>
                  </a:ext>
                </a:extLst>
              </p:cNvPr>
              <p:cNvSpPr>
                <a:spLocks noChangeAspect="1" noChangeArrowheads="1" noTextEdit="1"/>
              </p:cNvSpPr>
              <p:nvPr/>
            </p:nvSpPr>
            <p:spPr bwMode="auto">
              <a:xfrm>
                <a:off x="1084" y="1911"/>
                <a:ext cx="418" cy="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11" name="Freeform 5">
                <a:extLst>
                  <a:ext uri="{FF2B5EF4-FFF2-40B4-BE49-F238E27FC236}">
                    <a16:creationId xmlns:a16="http://schemas.microsoft.com/office/drawing/2014/main" id="{8BBACAAC-9FA5-4701-BDAB-346D353E9A41}"/>
                  </a:ext>
                </a:extLst>
              </p:cNvPr>
              <p:cNvSpPr>
                <a:spLocks/>
              </p:cNvSpPr>
              <p:nvPr/>
            </p:nvSpPr>
            <p:spPr bwMode="auto">
              <a:xfrm>
                <a:off x="1138" y="1960"/>
                <a:ext cx="324" cy="230"/>
              </a:xfrm>
              <a:custGeom>
                <a:avLst/>
                <a:gdLst>
                  <a:gd name="T0" fmla="*/ 320 w 320"/>
                  <a:gd name="T1" fmla="*/ 0 h 227"/>
                  <a:gd name="T2" fmla="*/ 320 w 320"/>
                  <a:gd name="T3" fmla="*/ 0 h 227"/>
                  <a:gd name="T4" fmla="*/ 0 w 320"/>
                  <a:gd name="T5" fmla="*/ 0 h 227"/>
                  <a:gd name="T6" fmla="*/ 0 w 320"/>
                  <a:gd name="T7" fmla="*/ 214 h 227"/>
                  <a:gd name="T8" fmla="*/ 31 w 320"/>
                  <a:gd name="T9" fmla="*/ 214 h 227"/>
                  <a:gd name="T10" fmla="*/ 54 w 320"/>
                  <a:gd name="T11" fmla="*/ 191 h 227"/>
                  <a:gd name="T12" fmla="*/ 63 w 320"/>
                  <a:gd name="T13" fmla="*/ 187 h 227"/>
                  <a:gd name="T14" fmla="*/ 73 w 320"/>
                  <a:gd name="T15" fmla="*/ 191 h 227"/>
                  <a:gd name="T16" fmla="*/ 109 w 320"/>
                  <a:gd name="T17" fmla="*/ 227 h 227"/>
                  <a:gd name="T18" fmla="*/ 160 w 320"/>
                  <a:gd name="T19" fmla="*/ 30 h 227"/>
                  <a:gd name="T20" fmla="*/ 165 w 320"/>
                  <a:gd name="T21" fmla="*/ 23 h 227"/>
                  <a:gd name="T22" fmla="*/ 173 w 320"/>
                  <a:gd name="T23" fmla="*/ 20 h 227"/>
                  <a:gd name="T24" fmla="*/ 181 w 320"/>
                  <a:gd name="T25" fmla="*/ 23 h 227"/>
                  <a:gd name="T26" fmla="*/ 186 w 320"/>
                  <a:gd name="T27" fmla="*/ 30 h 227"/>
                  <a:gd name="T28" fmla="*/ 207 w 320"/>
                  <a:gd name="T29" fmla="*/ 117 h 227"/>
                  <a:gd name="T30" fmla="*/ 240 w 320"/>
                  <a:gd name="T31" fmla="*/ 117 h 227"/>
                  <a:gd name="T32" fmla="*/ 248 w 320"/>
                  <a:gd name="T33" fmla="*/ 120 h 227"/>
                  <a:gd name="T34" fmla="*/ 253 w 320"/>
                  <a:gd name="T35" fmla="*/ 127 h 227"/>
                  <a:gd name="T36" fmla="*/ 268 w 320"/>
                  <a:gd name="T37" fmla="*/ 187 h 227"/>
                  <a:gd name="T38" fmla="*/ 320 w 320"/>
                  <a:gd name="T39" fmla="*/ 187 h 227"/>
                  <a:gd name="T40" fmla="*/ 320 w 320"/>
                  <a:gd name="T41"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227">
                    <a:moveTo>
                      <a:pt x="320" y="0"/>
                    </a:moveTo>
                    <a:lnTo>
                      <a:pt x="320" y="0"/>
                    </a:lnTo>
                    <a:lnTo>
                      <a:pt x="0" y="0"/>
                    </a:lnTo>
                    <a:lnTo>
                      <a:pt x="0" y="214"/>
                    </a:lnTo>
                    <a:lnTo>
                      <a:pt x="31" y="214"/>
                    </a:lnTo>
                    <a:lnTo>
                      <a:pt x="54" y="191"/>
                    </a:lnTo>
                    <a:cubicBezTo>
                      <a:pt x="56" y="188"/>
                      <a:pt x="60" y="187"/>
                      <a:pt x="63" y="187"/>
                    </a:cubicBezTo>
                    <a:cubicBezTo>
                      <a:pt x="67" y="187"/>
                      <a:pt x="70" y="188"/>
                      <a:pt x="73" y="191"/>
                    </a:cubicBezTo>
                    <a:lnTo>
                      <a:pt x="109" y="227"/>
                    </a:lnTo>
                    <a:lnTo>
                      <a:pt x="160" y="30"/>
                    </a:lnTo>
                    <a:cubicBezTo>
                      <a:pt x="161" y="27"/>
                      <a:pt x="162" y="25"/>
                      <a:pt x="165" y="23"/>
                    </a:cubicBezTo>
                    <a:cubicBezTo>
                      <a:pt x="167" y="21"/>
                      <a:pt x="170" y="20"/>
                      <a:pt x="173" y="20"/>
                    </a:cubicBezTo>
                    <a:cubicBezTo>
                      <a:pt x="176" y="20"/>
                      <a:pt x="179" y="21"/>
                      <a:pt x="181" y="23"/>
                    </a:cubicBezTo>
                    <a:cubicBezTo>
                      <a:pt x="184" y="25"/>
                      <a:pt x="185" y="27"/>
                      <a:pt x="186" y="30"/>
                    </a:cubicBezTo>
                    <a:lnTo>
                      <a:pt x="207" y="117"/>
                    </a:lnTo>
                    <a:lnTo>
                      <a:pt x="240" y="117"/>
                    </a:lnTo>
                    <a:cubicBezTo>
                      <a:pt x="243" y="117"/>
                      <a:pt x="246" y="118"/>
                      <a:pt x="248" y="120"/>
                    </a:cubicBezTo>
                    <a:cubicBezTo>
                      <a:pt x="250" y="122"/>
                      <a:pt x="252" y="124"/>
                      <a:pt x="253" y="127"/>
                    </a:cubicBezTo>
                    <a:lnTo>
                      <a:pt x="268" y="187"/>
                    </a:lnTo>
                    <a:lnTo>
                      <a:pt x="320" y="187"/>
                    </a:lnTo>
                    <a:lnTo>
                      <a:pt x="320" y="0"/>
                    </a:lnTo>
                    <a:close/>
                  </a:path>
                </a:pathLst>
              </a:custGeom>
              <a:solidFill>
                <a:schemeClr val="accent2">
                  <a:lumMod val="75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3C40B215-2D43-438B-A837-94927F950349}"/>
                  </a:ext>
                </a:extLst>
              </p:cNvPr>
              <p:cNvSpPr>
                <a:spLocks/>
              </p:cNvSpPr>
              <p:nvPr/>
            </p:nvSpPr>
            <p:spPr bwMode="auto">
              <a:xfrm>
                <a:off x="1138" y="2049"/>
                <a:ext cx="324" cy="235"/>
              </a:xfrm>
              <a:custGeom>
                <a:avLst/>
                <a:gdLst>
                  <a:gd name="T0" fmla="*/ 320 w 320"/>
                  <a:gd name="T1" fmla="*/ 126 h 232"/>
                  <a:gd name="T2" fmla="*/ 320 w 320"/>
                  <a:gd name="T3" fmla="*/ 126 h 232"/>
                  <a:gd name="T4" fmla="*/ 257 w 320"/>
                  <a:gd name="T5" fmla="*/ 126 h 232"/>
                  <a:gd name="T6" fmla="*/ 249 w 320"/>
                  <a:gd name="T7" fmla="*/ 123 h 232"/>
                  <a:gd name="T8" fmla="*/ 244 w 320"/>
                  <a:gd name="T9" fmla="*/ 115 h 232"/>
                  <a:gd name="T10" fmla="*/ 229 w 320"/>
                  <a:gd name="T11" fmla="*/ 56 h 232"/>
                  <a:gd name="T12" fmla="*/ 197 w 320"/>
                  <a:gd name="T13" fmla="*/ 56 h 232"/>
                  <a:gd name="T14" fmla="*/ 189 w 320"/>
                  <a:gd name="T15" fmla="*/ 53 h 232"/>
                  <a:gd name="T16" fmla="*/ 184 w 320"/>
                  <a:gd name="T17" fmla="*/ 46 h 232"/>
                  <a:gd name="T18" fmla="*/ 173 w 320"/>
                  <a:gd name="T19" fmla="*/ 0 h 232"/>
                  <a:gd name="T20" fmla="*/ 129 w 320"/>
                  <a:gd name="T21" fmla="*/ 169 h 232"/>
                  <a:gd name="T22" fmla="*/ 125 w 320"/>
                  <a:gd name="T23" fmla="*/ 176 h 232"/>
                  <a:gd name="T24" fmla="*/ 116 w 320"/>
                  <a:gd name="T25" fmla="*/ 179 h 232"/>
                  <a:gd name="T26" fmla="*/ 107 w 320"/>
                  <a:gd name="T27" fmla="*/ 175 h 232"/>
                  <a:gd name="T28" fmla="*/ 63 w 320"/>
                  <a:gd name="T29" fmla="*/ 131 h 232"/>
                  <a:gd name="T30" fmla="*/ 46 w 320"/>
                  <a:gd name="T31" fmla="*/ 148 h 232"/>
                  <a:gd name="T32" fmla="*/ 36 w 320"/>
                  <a:gd name="T33" fmla="*/ 152 h 232"/>
                  <a:gd name="T34" fmla="*/ 0 w 320"/>
                  <a:gd name="T35" fmla="*/ 152 h 232"/>
                  <a:gd name="T36" fmla="*/ 0 w 320"/>
                  <a:gd name="T37" fmla="*/ 232 h 232"/>
                  <a:gd name="T38" fmla="*/ 320 w 320"/>
                  <a:gd name="T39" fmla="*/ 232 h 232"/>
                  <a:gd name="T40" fmla="*/ 320 w 320"/>
                  <a:gd name="T4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232">
                    <a:moveTo>
                      <a:pt x="320" y="126"/>
                    </a:moveTo>
                    <a:lnTo>
                      <a:pt x="320" y="126"/>
                    </a:lnTo>
                    <a:lnTo>
                      <a:pt x="257" y="126"/>
                    </a:lnTo>
                    <a:cubicBezTo>
                      <a:pt x="254" y="126"/>
                      <a:pt x="251" y="125"/>
                      <a:pt x="249" y="123"/>
                    </a:cubicBezTo>
                    <a:cubicBezTo>
                      <a:pt x="247" y="121"/>
                      <a:pt x="245" y="118"/>
                      <a:pt x="244" y="115"/>
                    </a:cubicBezTo>
                    <a:lnTo>
                      <a:pt x="229" y="56"/>
                    </a:lnTo>
                    <a:lnTo>
                      <a:pt x="197" y="56"/>
                    </a:lnTo>
                    <a:cubicBezTo>
                      <a:pt x="194" y="56"/>
                      <a:pt x="191" y="55"/>
                      <a:pt x="189" y="53"/>
                    </a:cubicBezTo>
                    <a:cubicBezTo>
                      <a:pt x="186" y="51"/>
                      <a:pt x="185" y="49"/>
                      <a:pt x="184" y="46"/>
                    </a:cubicBezTo>
                    <a:lnTo>
                      <a:pt x="173" y="0"/>
                    </a:lnTo>
                    <a:lnTo>
                      <a:pt x="129" y="169"/>
                    </a:lnTo>
                    <a:cubicBezTo>
                      <a:pt x="129" y="172"/>
                      <a:pt x="127" y="174"/>
                      <a:pt x="125" y="176"/>
                    </a:cubicBezTo>
                    <a:cubicBezTo>
                      <a:pt x="122" y="178"/>
                      <a:pt x="120" y="179"/>
                      <a:pt x="116" y="179"/>
                    </a:cubicBezTo>
                    <a:cubicBezTo>
                      <a:pt x="113" y="179"/>
                      <a:pt x="110" y="178"/>
                      <a:pt x="107" y="175"/>
                    </a:cubicBezTo>
                    <a:lnTo>
                      <a:pt x="63" y="131"/>
                    </a:lnTo>
                    <a:lnTo>
                      <a:pt x="46" y="148"/>
                    </a:lnTo>
                    <a:cubicBezTo>
                      <a:pt x="43" y="151"/>
                      <a:pt x="40" y="152"/>
                      <a:pt x="36" y="152"/>
                    </a:cubicBezTo>
                    <a:lnTo>
                      <a:pt x="0" y="152"/>
                    </a:lnTo>
                    <a:lnTo>
                      <a:pt x="0" y="232"/>
                    </a:lnTo>
                    <a:lnTo>
                      <a:pt x="320" y="232"/>
                    </a:lnTo>
                    <a:lnTo>
                      <a:pt x="320" y="126"/>
                    </a:ln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3CE71ED8-FF70-4388-9167-F68E02A76B1A}"/>
              </a:ext>
            </a:extLst>
          </p:cNvPr>
          <p:cNvGrpSpPr/>
          <p:nvPr/>
        </p:nvGrpSpPr>
        <p:grpSpPr>
          <a:xfrm>
            <a:off x="2788427" y="1765634"/>
            <a:ext cx="2002564" cy="3790603"/>
            <a:chOff x="2892728" y="2478434"/>
            <a:chExt cx="2002564" cy="3790603"/>
          </a:xfrm>
        </p:grpSpPr>
        <p:sp>
          <p:nvSpPr>
            <p:cNvPr id="7" name="Freeform: Shape 6">
              <a:extLst>
                <a:ext uri="{FF2B5EF4-FFF2-40B4-BE49-F238E27FC236}">
                  <a16:creationId xmlns:a16="http://schemas.microsoft.com/office/drawing/2014/main" id="{7962018F-8E8A-4F6F-8456-9A50EA413A78}"/>
                </a:ext>
              </a:extLst>
            </p:cNvPr>
            <p:cNvSpPr/>
            <p:nvPr/>
          </p:nvSpPr>
          <p:spPr>
            <a:xfrm>
              <a:off x="2892728" y="2478434"/>
              <a:ext cx="2002564"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117475" marR="0" lvl="1"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lumMod val="20000"/>
                      <a:lumOff val="80000"/>
                    </a:srgbClr>
                  </a:solidFill>
                  <a:effectLst/>
                  <a:uLnTx/>
                  <a:uFillTx/>
                  <a:latin typeface="Segoe UI Semibold" charset="0"/>
                  <a:ea typeface="+mn-ea"/>
                  <a:cs typeface="Segoe UI Semibold" charset="0"/>
                </a:rPr>
                <a:t>Schema-less, flexible app development</a:t>
              </a:r>
            </a:p>
          </p:txBody>
        </p:sp>
        <p:grpSp>
          <p:nvGrpSpPr>
            <p:cNvPr id="14" name="Group 9">
              <a:extLst>
                <a:ext uri="{FF2B5EF4-FFF2-40B4-BE49-F238E27FC236}">
                  <a16:creationId xmlns:a16="http://schemas.microsoft.com/office/drawing/2014/main" id="{9C0AE114-7C44-4CD8-889B-44CBD70A2EC8}"/>
                </a:ext>
              </a:extLst>
            </p:cNvPr>
            <p:cNvGrpSpPr>
              <a:grpSpLocks noChangeAspect="1"/>
            </p:cNvGrpSpPr>
            <p:nvPr/>
          </p:nvGrpSpPr>
          <p:grpSpPr bwMode="auto">
            <a:xfrm>
              <a:off x="3596914" y="2935130"/>
              <a:ext cx="693895" cy="693895"/>
              <a:chOff x="2325" y="1909"/>
              <a:chExt cx="352" cy="352"/>
            </a:xfrm>
          </p:grpSpPr>
          <p:sp>
            <p:nvSpPr>
              <p:cNvPr id="16" name="AutoShape 8">
                <a:extLst>
                  <a:ext uri="{FF2B5EF4-FFF2-40B4-BE49-F238E27FC236}">
                    <a16:creationId xmlns:a16="http://schemas.microsoft.com/office/drawing/2014/main" id="{D7B382CE-8E35-4AAD-BA21-2DE6C1BD6762}"/>
                  </a:ext>
                </a:extLst>
              </p:cNvPr>
              <p:cNvSpPr>
                <a:spLocks noChangeAspect="1" noChangeArrowheads="1" noTextEdit="1"/>
              </p:cNvSpPr>
              <p:nvPr/>
            </p:nvSpPr>
            <p:spPr bwMode="auto">
              <a:xfrm>
                <a:off x="2325" y="1909"/>
                <a:ext cx="352"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17" name="Freeform 10">
                <a:extLst>
                  <a:ext uri="{FF2B5EF4-FFF2-40B4-BE49-F238E27FC236}">
                    <a16:creationId xmlns:a16="http://schemas.microsoft.com/office/drawing/2014/main" id="{F2541060-D09F-45DA-9C6E-6D06BC96308F}"/>
                  </a:ext>
                </a:extLst>
              </p:cNvPr>
              <p:cNvSpPr>
                <a:spLocks/>
              </p:cNvSpPr>
              <p:nvPr/>
            </p:nvSpPr>
            <p:spPr bwMode="auto">
              <a:xfrm>
                <a:off x="2336" y="1916"/>
                <a:ext cx="342" cy="341"/>
              </a:xfrm>
              <a:custGeom>
                <a:avLst/>
                <a:gdLst>
                  <a:gd name="T0" fmla="*/ 200 w 400"/>
                  <a:gd name="T1" fmla="*/ 0 h 400"/>
                  <a:gd name="T2" fmla="*/ 200 w 400"/>
                  <a:gd name="T3" fmla="*/ 0 h 400"/>
                  <a:gd name="T4" fmla="*/ 253 w 400"/>
                  <a:gd name="T5" fmla="*/ 7 h 400"/>
                  <a:gd name="T6" fmla="*/ 301 w 400"/>
                  <a:gd name="T7" fmla="*/ 28 h 400"/>
                  <a:gd name="T8" fmla="*/ 341 w 400"/>
                  <a:gd name="T9" fmla="*/ 59 h 400"/>
                  <a:gd name="T10" fmla="*/ 372 w 400"/>
                  <a:gd name="T11" fmla="*/ 99 h 400"/>
                  <a:gd name="T12" fmla="*/ 393 w 400"/>
                  <a:gd name="T13" fmla="*/ 147 h 400"/>
                  <a:gd name="T14" fmla="*/ 400 w 400"/>
                  <a:gd name="T15" fmla="*/ 200 h 400"/>
                  <a:gd name="T16" fmla="*/ 393 w 400"/>
                  <a:gd name="T17" fmla="*/ 253 h 400"/>
                  <a:gd name="T18" fmla="*/ 372 w 400"/>
                  <a:gd name="T19" fmla="*/ 301 h 400"/>
                  <a:gd name="T20" fmla="*/ 341 w 400"/>
                  <a:gd name="T21" fmla="*/ 342 h 400"/>
                  <a:gd name="T22" fmla="*/ 301 w 400"/>
                  <a:gd name="T23" fmla="*/ 373 h 400"/>
                  <a:gd name="T24" fmla="*/ 253 w 400"/>
                  <a:gd name="T25" fmla="*/ 393 h 400"/>
                  <a:gd name="T26" fmla="*/ 200 w 400"/>
                  <a:gd name="T27" fmla="*/ 400 h 400"/>
                  <a:gd name="T28" fmla="*/ 147 w 400"/>
                  <a:gd name="T29" fmla="*/ 393 h 400"/>
                  <a:gd name="T30" fmla="*/ 99 w 400"/>
                  <a:gd name="T31" fmla="*/ 373 h 400"/>
                  <a:gd name="T32" fmla="*/ 58 w 400"/>
                  <a:gd name="T33" fmla="*/ 342 h 400"/>
                  <a:gd name="T34" fmla="*/ 27 w 400"/>
                  <a:gd name="T35" fmla="*/ 301 h 400"/>
                  <a:gd name="T36" fmla="*/ 7 w 400"/>
                  <a:gd name="T37" fmla="*/ 253 h 400"/>
                  <a:gd name="T38" fmla="*/ 0 w 400"/>
                  <a:gd name="T39" fmla="*/ 200 h 400"/>
                  <a:gd name="T40" fmla="*/ 7 w 400"/>
                  <a:gd name="T41" fmla="*/ 147 h 400"/>
                  <a:gd name="T42" fmla="*/ 27 w 400"/>
                  <a:gd name="T43" fmla="*/ 99 h 400"/>
                  <a:gd name="T44" fmla="*/ 58 w 400"/>
                  <a:gd name="T45" fmla="*/ 59 h 400"/>
                  <a:gd name="T46" fmla="*/ 99 w 400"/>
                  <a:gd name="T47" fmla="*/ 28 h 400"/>
                  <a:gd name="T48" fmla="*/ 147 w 400"/>
                  <a:gd name="T49" fmla="*/ 7 h 400"/>
                  <a:gd name="T50" fmla="*/ 200 w 400"/>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400">
                    <a:moveTo>
                      <a:pt x="200" y="0"/>
                    </a:moveTo>
                    <a:lnTo>
                      <a:pt x="200" y="0"/>
                    </a:lnTo>
                    <a:cubicBezTo>
                      <a:pt x="218" y="0"/>
                      <a:pt x="236" y="3"/>
                      <a:pt x="253" y="7"/>
                    </a:cubicBezTo>
                    <a:cubicBezTo>
                      <a:pt x="270" y="12"/>
                      <a:pt x="286" y="19"/>
                      <a:pt x="301" y="28"/>
                    </a:cubicBezTo>
                    <a:cubicBezTo>
                      <a:pt x="316" y="36"/>
                      <a:pt x="329" y="47"/>
                      <a:pt x="341" y="59"/>
                    </a:cubicBezTo>
                    <a:cubicBezTo>
                      <a:pt x="353" y="71"/>
                      <a:pt x="364" y="84"/>
                      <a:pt x="372" y="99"/>
                    </a:cubicBezTo>
                    <a:cubicBezTo>
                      <a:pt x="381" y="114"/>
                      <a:pt x="388" y="130"/>
                      <a:pt x="393" y="147"/>
                    </a:cubicBezTo>
                    <a:cubicBezTo>
                      <a:pt x="397" y="164"/>
                      <a:pt x="400" y="182"/>
                      <a:pt x="400" y="200"/>
                    </a:cubicBezTo>
                    <a:cubicBezTo>
                      <a:pt x="400" y="219"/>
                      <a:pt x="397" y="236"/>
                      <a:pt x="393" y="253"/>
                    </a:cubicBezTo>
                    <a:cubicBezTo>
                      <a:pt x="388" y="270"/>
                      <a:pt x="381" y="286"/>
                      <a:pt x="372" y="301"/>
                    </a:cubicBezTo>
                    <a:cubicBezTo>
                      <a:pt x="364" y="316"/>
                      <a:pt x="353" y="329"/>
                      <a:pt x="341" y="342"/>
                    </a:cubicBezTo>
                    <a:cubicBezTo>
                      <a:pt x="329" y="354"/>
                      <a:pt x="316" y="364"/>
                      <a:pt x="301" y="373"/>
                    </a:cubicBezTo>
                    <a:cubicBezTo>
                      <a:pt x="286" y="381"/>
                      <a:pt x="270" y="388"/>
                      <a:pt x="253" y="393"/>
                    </a:cubicBezTo>
                    <a:cubicBezTo>
                      <a:pt x="236" y="398"/>
                      <a:pt x="218" y="400"/>
                      <a:pt x="200" y="400"/>
                    </a:cubicBezTo>
                    <a:cubicBezTo>
                      <a:pt x="181" y="400"/>
                      <a:pt x="164" y="398"/>
                      <a:pt x="147" y="393"/>
                    </a:cubicBezTo>
                    <a:cubicBezTo>
                      <a:pt x="130" y="388"/>
                      <a:pt x="114" y="381"/>
                      <a:pt x="99" y="373"/>
                    </a:cubicBezTo>
                    <a:cubicBezTo>
                      <a:pt x="84" y="364"/>
                      <a:pt x="71" y="354"/>
                      <a:pt x="58" y="342"/>
                    </a:cubicBezTo>
                    <a:cubicBezTo>
                      <a:pt x="46" y="329"/>
                      <a:pt x="36" y="316"/>
                      <a:pt x="27" y="301"/>
                    </a:cubicBezTo>
                    <a:cubicBezTo>
                      <a:pt x="19" y="286"/>
                      <a:pt x="12" y="270"/>
                      <a:pt x="7" y="253"/>
                    </a:cubicBezTo>
                    <a:cubicBezTo>
                      <a:pt x="2" y="236"/>
                      <a:pt x="0" y="219"/>
                      <a:pt x="0" y="200"/>
                    </a:cubicBezTo>
                    <a:cubicBezTo>
                      <a:pt x="0" y="182"/>
                      <a:pt x="2" y="164"/>
                      <a:pt x="7" y="147"/>
                    </a:cubicBezTo>
                    <a:cubicBezTo>
                      <a:pt x="12" y="130"/>
                      <a:pt x="19" y="114"/>
                      <a:pt x="27" y="99"/>
                    </a:cubicBezTo>
                    <a:cubicBezTo>
                      <a:pt x="36" y="84"/>
                      <a:pt x="46" y="71"/>
                      <a:pt x="58" y="59"/>
                    </a:cubicBezTo>
                    <a:cubicBezTo>
                      <a:pt x="71" y="47"/>
                      <a:pt x="84" y="36"/>
                      <a:pt x="99" y="28"/>
                    </a:cubicBezTo>
                    <a:cubicBezTo>
                      <a:pt x="114" y="19"/>
                      <a:pt x="130" y="12"/>
                      <a:pt x="147" y="7"/>
                    </a:cubicBezTo>
                    <a:cubicBezTo>
                      <a:pt x="164" y="3"/>
                      <a:pt x="181" y="0"/>
                      <a:pt x="200" y="0"/>
                    </a:cubicBezTo>
                    <a:close/>
                  </a:path>
                </a:pathLst>
              </a:custGeom>
              <a:solidFill>
                <a:schemeClr val="accent2"/>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19" name="Freeform 11">
                <a:extLst>
                  <a:ext uri="{FF2B5EF4-FFF2-40B4-BE49-F238E27FC236}">
                    <a16:creationId xmlns:a16="http://schemas.microsoft.com/office/drawing/2014/main" id="{4C2843A4-B465-4F66-A87A-95E30F1BACA1}"/>
                  </a:ext>
                </a:extLst>
              </p:cNvPr>
              <p:cNvSpPr>
                <a:spLocks/>
              </p:cNvSpPr>
              <p:nvPr/>
            </p:nvSpPr>
            <p:spPr bwMode="auto">
              <a:xfrm>
                <a:off x="2473" y="1990"/>
                <a:ext cx="130" cy="131"/>
              </a:xfrm>
              <a:custGeom>
                <a:avLst/>
                <a:gdLst>
                  <a:gd name="T0" fmla="*/ 76 w 153"/>
                  <a:gd name="T1" fmla="*/ 96 h 153"/>
                  <a:gd name="T2" fmla="*/ 76 w 153"/>
                  <a:gd name="T3" fmla="*/ 96 h 153"/>
                  <a:gd name="T4" fmla="*/ 80 w 153"/>
                  <a:gd name="T5" fmla="*/ 113 h 153"/>
                  <a:gd name="T6" fmla="*/ 77 w 153"/>
                  <a:gd name="T7" fmla="*/ 129 h 153"/>
                  <a:gd name="T8" fmla="*/ 68 w 153"/>
                  <a:gd name="T9" fmla="*/ 142 h 153"/>
                  <a:gd name="T10" fmla="*/ 55 w 153"/>
                  <a:gd name="T11" fmla="*/ 150 h 153"/>
                  <a:gd name="T12" fmla="*/ 40 w 153"/>
                  <a:gd name="T13" fmla="*/ 153 h 153"/>
                  <a:gd name="T14" fmla="*/ 24 w 153"/>
                  <a:gd name="T15" fmla="*/ 150 h 153"/>
                  <a:gd name="T16" fmla="*/ 12 w 153"/>
                  <a:gd name="T17" fmla="*/ 142 h 153"/>
                  <a:gd name="T18" fmla="*/ 3 w 153"/>
                  <a:gd name="T19" fmla="*/ 129 h 153"/>
                  <a:gd name="T20" fmla="*/ 0 w 153"/>
                  <a:gd name="T21" fmla="*/ 113 h 153"/>
                  <a:gd name="T22" fmla="*/ 3 w 153"/>
                  <a:gd name="T23" fmla="*/ 98 h 153"/>
                  <a:gd name="T24" fmla="*/ 12 w 153"/>
                  <a:gd name="T25" fmla="*/ 85 h 153"/>
                  <a:gd name="T26" fmla="*/ 24 w 153"/>
                  <a:gd name="T27" fmla="*/ 76 h 153"/>
                  <a:gd name="T28" fmla="*/ 40 w 153"/>
                  <a:gd name="T29" fmla="*/ 73 h 153"/>
                  <a:gd name="T30" fmla="*/ 57 w 153"/>
                  <a:gd name="T31" fmla="*/ 77 h 153"/>
                  <a:gd name="T32" fmla="*/ 57 w 153"/>
                  <a:gd name="T33" fmla="*/ 77 h 153"/>
                  <a:gd name="T34" fmla="*/ 134 w 153"/>
                  <a:gd name="T35" fmla="*/ 0 h 153"/>
                  <a:gd name="T36" fmla="*/ 153 w 153"/>
                  <a:gd name="T37" fmla="*/ 19 h 153"/>
                  <a:gd name="T38" fmla="*/ 76 w 153"/>
                  <a:gd name="T39" fmla="*/ 96 h 153"/>
                  <a:gd name="T40" fmla="*/ 76 w 153"/>
                  <a:gd name="T41" fmla="*/ 9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153">
                    <a:moveTo>
                      <a:pt x="76" y="96"/>
                    </a:moveTo>
                    <a:lnTo>
                      <a:pt x="76" y="96"/>
                    </a:lnTo>
                    <a:cubicBezTo>
                      <a:pt x="78" y="101"/>
                      <a:pt x="80" y="107"/>
                      <a:pt x="80" y="113"/>
                    </a:cubicBezTo>
                    <a:cubicBezTo>
                      <a:pt x="80" y="119"/>
                      <a:pt x="79" y="124"/>
                      <a:pt x="77" y="129"/>
                    </a:cubicBezTo>
                    <a:cubicBezTo>
                      <a:pt x="75" y="134"/>
                      <a:pt x="72" y="138"/>
                      <a:pt x="68" y="142"/>
                    </a:cubicBezTo>
                    <a:cubicBezTo>
                      <a:pt x="65" y="145"/>
                      <a:pt x="60" y="148"/>
                      <a:pt x="55" y="150"/>
                    </a:cubicBezTo>
                    <a:cubicBezTo>
                      <a:pt x="51" y="152"/>
                      <a:pt x="45" y="153"/>
                      <a:pt x="40" y="153"/>
                    </a:cubicBezTo>
                    <a:cubicBezTo>
                      <a:pt x="34" y="153"/>
                      <a:pt x="29" y="152"/>
                      <a:pt x="24" y="150"/>
                    </a:cubicBezTo>
                    <a:cubicBezTo>
                      <a:pt x="19" y="148"/>
                      <a:pt x="15" y="145"/>
                      <a:pt x="12" y="142"/>
                    </a:cubicBezTo>
                    <a:cubicBezTo>
                      <a:pt x="8" y="138"/>
                      <a:pt x="5" y="134"/>
                      <a:pt x="3" y="129"/>
                    </a:cubicBezTo>
                    <a:cubicBezTo>
                      <a:pt x="1" y="124"/>
                      <a:pt x="0" y="119"/>
                      <a:pt x="0" y="113"/>
                    </a:cubicBezTo>
                    <a:cubicBezTo>
                      <a:pt x="0" y="108"/>
                      <a:pt x="1" y="102"/>
                      <a:pt x="3" y="98"/>
                    </a:cubicBezTo>
                    <a:cubicBezTo>
                      <a:pt x="5" y="93"/>
                      <a:pt x="8" y="88"/>
                      <a:pt x="12" y="85"/>
                    </a:cubicBezTo>
                    <a:cubicBezTo>
                      <a:pt x="15" y="81"/>
                      <a:pt x="19" y="78"/>
                      <a:pt x="24" y="76"/>
                    </a:cubicBezTo>
                    <a:cubicBezTo>
                      <a:pt x="29" y="74"/>
                      <a:pt x="34" y="73"/>
                      <a:pt x="40" y="73"/>
                    </a:cubicBezTo>
                    <a:cubicBezTo>
                      <a:pt x="46" y="73"/>
                      <a:pt x="52" y="75"/>
                      <a:pt x="57" y="77"/>
                    </a:cubicBezTo>
                    <a:lnTo>
                      <a:pt x="57" y="77"/>
                    </a:lnTo>
                    <a:lnTo>
                      <a:pt x="134" y="0"/>
                    </a:lnTo>
                    <a:lnTo>
                      <a:pt x="153" y="19"/>
                    </a:lnTo>
                    <a:lnTo>
                      <a:pt x="76" y="96"/>
                    </a:lnTo>
                    <a:lnTo>
                      <a:pt x="76" y="96"/>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29" name="Freeform 12">
                <a:extLst>
                  <a:ext uri="{FF2B5EF4-FFF2-40B4-BE49-F238E27FC236}">
                    <a16:creationId xmlns:a16="http://schemas.microsoft.com/office/drawing/2014/main" id="{802A42ED-36E0-472B-9644-0B4F84A25BAA}"/>
                  </a:ext>
                </a:extLst>
              </p:cNvPr>
              <p:cNvSpPr>
                <a:spLocks/>
              </p:cNvSpPr>
              <p:nvPr/>
            </p:nvSpPr>
            <p:spPr bwMode="auto">
              <a:xfrm>
                <a:off x="2381" y="1962"/>
                <a:ext cx="177" cy="213"/>
              </a:xfrm>
              <a:custGeom>
                <a:avLst/>
                <a:gdLst>
                  <a:gd name="T0" fmla="*/ 196 w 207"/>
                  <a:gd name="T1" fmla="*/ 37 h 250"/>
                  <a:gd name="T2" fmla="*/ 196 w 207"/>
                  <a:gd name="T3" fmla="*/ 37 h 250"/>
                  <a:gd name="T4" fmla="*/ 146 w 207"/>
                  <a:gd name="T5" fmla="*/ 26 h 250"/>
                  <a:gd name="T6" fmla="*/ 115 w 207"/>
                  <a:gd name="T7" fmla="*/ 30 h 250"/>
                  <a:gd name="T8" fmla="*/ 86 w 207"/>
                  <a:gd name="T9" fmla="*/ 43 h 250"/>
                  <a:gd name="T10" fmla="*/ 62 w 207"/>
                  <a:gd name="T11" fmla="*/ 61 h 250"/>
                  <a:gd name="T12" fmla="*/ 43 w 207"/>
                  <a:gd name="T13" fmla="*/ 86 h 250"/>
                  <a:gd name="T14" fmla="*/ 31 w 207"/>
                  <a:gd name="T15" fmla="*/ 114 h 250"/>
                  <a:gd name="T16" fmla="*/ 27 w 207"/>
                  <a:gd name="T17" fmla="*/ 146 h 250"/>
                  <a:gd name="T18" fmla="*/ 36 w 207"/>
                  <a:gd name="T19" fmla="*/ 192 h 250"/>
                  <a:gd name="T20" fmla="*/ 62 w 207"/>
                  <a:gd name="T21" fmla="*/ 231 h 250"/>
                  <a:gd name="T22" fmla="*/ 43 w 207"/>
                  <a:gd name="T23" fmla="*/ 250 h 250"/>
                  <a:gd name="T24" fmla="*/ 11 w 207"/>
                  <a:gd name="T25" fmla="*/ 202 h 250"/>
                  <a:gd name="T26" fmla="*/ 0 w 207"/>
                  <a:gd name="T27" fmla="*/ 146 h 250"/>
                  <a:gd name="T28" fmla="*/ 5 w 207"/>
                  <a:gd name="T29" fmla="*/ 107 h 250"/>
                  <a:gd name="T30" fmla="*/ 20 w 207"/>
                  <a:gd name="T31" fmla="*/ 72 h 250"/>
                  <a:gd name="T32" fmla="*/ 43 w 207"/>
                  <a:gd name="T33" fmla="*/ 43 h 250"/>
                  <a:gd name="T34" fmla="*/ 73 w 207"/>
                  <a:gd name="T35" fmla="*/ 20 h 250"/>
                  <a:gd name="T36" fmla="*/ 108 w 207"/>
                  <a:gd name="T37" fmla="*/ 5 h 250"/>
                  <a:gd name="T38" fmla="*/ 147 w 207"/>
                  <a:gd name="T39" fmla="*/ 0 h 250"/>
                  <a:gd name="T40" fmla="*/ 178 w 207"/>
                  <a:gd name="T41" fmla="*/ 3 h 250"/>
                  <a:gd name="T42" fmla="*/ 207 w 207"/>
                  <a:gd name="T43" fmla="*/ 13 h 250"/>
                  <a:gd name="T44" fmla="*/ 196 w 207"/>
                  <a:gd name="T45" fmla="*/ 3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7" h="250">
                    <a:moveTo>
                      <a:pt x="196" y="37"/>
                    </a:moveTo>
                    <a:lnTo>
                      <a:pt x="196" y="37"/>
                    </a:lnTo>
                    <a:cubicBezTo>
                      <a:pt x="180" y="30"/>
                      <a:pt x="163" y="26"/>
                      <a:pt x="146" y="26"/>
                    </a:cubicBezTo>
                    <a:cubicBezTo>
                      <a:pt x="135" y="26"/>
                      <a:pt x="125" y="28"/>
                      <a:pt x="115" y="30"/>
                    </a:cubicBezTo>
                    <a:cubicBezTo>
                      <a:pt x="104" y="33"/>
                      <a:pt x="95" y="37"/>
                      <a:pt x="86" y="43"/>
                    </a:cubicBezTo>
                    <a:cubicBezTo>
                      <a:pt x="77" y="48"/>
                      <a:pt x="69" y="54"/>
                      <a:pt x="62" y="61"/>
                    </a:cubicBezTo>
                    <a:cubicBezTo>
                      <a:pt x="55" y="69"/>
                      <a:pt x="48" y="77"/>
                      <a:pt x="43" y="86"/>
                    </a:cubicBezTo>
                    <a:cubicBezTo>
                      <a:pt x="38" y="95"/>
                      <a:pt x="34" y="104"/>
                      <a:pt x="31" y="114"/>
                    </a:cubicBezTo>
                    <a:cubicBezTo>
                      <a:pt x="28" y="125"/>
                      <a:pt x="27" y="135"/>
                      <a:pt x="27" y="146"/>
                    </a:cubicBezTo>
                    <a:cubicBezTo>
                      <a:pt x="27" y="162"/>
                      <a:pt x="30" y="177"/>
                      <a:pt x="36" y="192"/>
                    </a:cubicBezTo>
                    <a:cubicBezTo>
                      <a:pt x="42" y="207"/>
                      <a:pt x="51" y="220"/>
                      <a:pt x="62" y="231"/>
                    </a:cubicBezTo>
                    <a:lnTo>
                      <a:pt x="43" y="250"/>
                    </a:lnTo>
                    <a:cubicBezTo>
                      <a:pt x="29" y="236"/>
                      <a:pt x="19" y="220"/>
                      <a:pt x="11" y="202"/>
                    </a:cubicBezTo>
                    <a:cubicBezTo>
                      <a:pt x="4" y="184"/>
                      <a:pt x="0" y="166"/>
                      <a:pt x="0" y="146"/>
                    </a:cubicBezTo>
                    <a:cubicBezTo>
                      <a:pt x="0" y="133"/>
                      <a:pt x="2" y="120"/>
                      <a:pt x="5" y="107"/>
                    </a:cubicBezTo>
                    <a:cubicBezTo>
                      <a:pt x="9" y="95"/>
                      <a:pt x="14" y="83"/>
                      <a:pt x="20" y="72"/>
                    </a:cubicBezTo>
                    <a:cubicBezTo>
                      <a:pt x="27" y="61"/>
                      <a:pt x="34" y="52"/>
                      <a:pt x="43" y="43"/>
                    </a:cubicBezTo>
                    <a:cubicBezTo>
                      <a:pt x="52" y="34"/>
                      <a:pt x="62" y="26"/>
                      <a:pt x="73" y="20"/>
                    </a:cubicBezTo>
                    <a:cubicBezTo>
                      <a:pt x="83" y="13"/>
                      <a:pt x="95" y="9"/>
                      <a:pt x="108" y="5"/>
                    </a:cubicBezTo>
                    <a:cubicBezTo>
                      <a:pt x="120" y="2"/>
                      <a:pt x="133" y="0"/>
                      <a:pt x="147" y="0"/>
                    </a:cubicBezTo>
                    <a:cubicBezTo>
                      <a:pt x="157" y="0"/>
                      <a:pt x="167" y="1"/>
                      <a:pt x="178" y="3"/>
                    </a:cubicBezTo>
                    <a:cubicBezTo>
                      <a:pt x="188" y="5"/>
                      <a:pt x="197" y="9"/>
                      <a:pt x="207" y="13"/>
                    </a:cubicBezTo>
                    <a:lnTo>
                      <a:pt x="196" y="3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30" name="Freeform 13">
                <a:extLst>
                  <a:ext uri="{FF2B5EF4-FFF2-40B4-BE49-F238E27FC236}">
                    <a16:creationId xmlns:a16="http://schemas.microsoft.com/office/drawing/2014/main" id="{4497D9F9-AA7B-40C2-8B90-EC1B77914F20}"/>
                  </a:ext>
                </a:extLst>
              </p:cNvPr>
              <p:cNvSpPr>
                <a:spLocks/>
              </p:cNvSpPr>
              <p:nvPr/>
            </p:nvSpPr>
            <p:spPr bwMode="auto">
              <a:xfrm>
                <a:off x="2579" y="2035"/>
                <a:ext cx="52" cy="140"/>
              </a:xfrm>
              <a:custGeom>
                <a:avLst/>
                <a:gdLst>
                  <a:gd name="T0" fmla="*/ 48 w 61"/>
                  <a:gd name="T1" fmla="*/ 0 h 164"/>
                  <a:gd name="T2" fmla="*/ 48 w 61"/>
                  <a:gd name="T3" fmla="*/ 0 h 164"/>
                  <a:gd name="T4" fmla="*/ 58 w 61"/>
                  <a:gd name="T5" fmla="*/ 29 h 164"/>
                  <a:gd name="T6" fmla="*/ 61 w 61"/>
                  <a:gd name="T7" fmla="*/ 60 h 164"/>
                  <a:gd name="T8" fmla="*/ 50 w 61"/>
                  <a:gd name="T9" fmla="*/ 116 h 164"/>
                  <a:gd name="T10" fmla="*/ 19 w 61"/>
                  <a:gd name="T11" fmla="*/ 164 h 164"/>
                  <a:gd name="T12" fmla="*/ 0 w 61"/>
                  <a:gd name="T13" fmla="*/ 145 h 164"/>
                  <a:gd name="T14" fmla="*/ 26 w 61"/>
                  <a:gd name="T15" fmla="*/ 106 h 164"/>
                  <a:gd name="T16" fmla="*/ 35 w 61"/>
                  <a:gd name="T17" fmla="*/ 61 h 164"/>
                  <a:gd name="T18" fmla="*/ 24 w 61"/>
                  <a:gd name="T19" fmla="*/ 11 h 164"/>
                  <a:gd name="T20" fmla="*/ 48 w 61"/>
                  <a:gd name="T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64">
                    <a:moveTo>
                      <a:pt x="48" y="0"/>
                    </a:moveTo>
                    <a:lnTo>
                      <a:pt x="48" y="0"/>
                    </a:lnTo>
                    <a:cubicBezTo>
                      <a:pt x="52" y="10"/>
                      <a:pt x="56" y="19"/>
                      <a:pt x="58" y="29"/>
                    </a:cubicBezTo>
                    <a:cubicBezTo>
                      <a:pt x="60" y="40"/>
                      <a:pt x="61" y="50"/>
                      <a:pt x="61" y="60"/>
                    </a:cubicBezTo>
                    <a:cubicBezTo>
                      <a:pt x="61" y="80"/>
                      <a:pt x="57" y="98"/>
                      <a:pt x="50" y="116"/>
                    </a:cubicBezTo>
                    <a:cubicBezTo>
                      <a:pt x="43" y="134"/>
                      <a:pt x="32" y="150"/>
                      <a:pt x="19" y="164"/>
                    </a:cubicBezTo>
                    <a:lnTo>
                      <a:pt x="0" y="145"/>
                    </a:lnTo>
                    <a:cubicBezTo>
                      <a:pt x="11" y="134"/>
                      <a:pt x="20" y="121"/>
                      <a:pt x="26" y="106"/>
                    </a:cubicBezTo>
                    <a:cubicBezTo>
                      <a:pt x="32" y="92"/>
                      <a:pt x="35" y="77"/>
                      <a:pt x="35" y="61"/>
                    </a:cubicBezTo>
                    <a:cubicBezTo>
                      <a:pt x="35" y="44"/>
                      <a:pt x="31" y="27"/>
                      <a:pt x="24" y="11"/>
                    </a:cubicBezTo>
                    <a:lnTo>
                      <a:pt x="48" y="0"/>
                    </a:lnTo>
                    <a:close/>
                  </a:path>
                </a:pathLst>
              </a:custGeom>
              <a:solidFill>
                <a:schemeClr val="accent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31" name="Freeform 14">
                <a:extLst>
                  <a:ext uri="{FF2B5EF4-FFF2-40B4-BE49-F238E27FC236}">
                    <a16:creationId xmlns:a16="http://schemas.microsoft.com/office/drawing/2014/main" id="{413E61AD-3731-4CFA-BBCC-3BA63BBE6DBB}"/>
                  </a:ext>
                </a:extLst>
              </p:cNvPr>
              <p:cNvSpPr>
                <a:spLocks/>
              </p:cNvSpPr>
              <p:nvPr/>
            </p:nvSpPr>
            <p:spPr bwMode="auto">
              <a:xfrm>
                <a:off x="2472" y="2052"/>
                <a:ext cx="69" cy="70"/>
              </a:xfrm>
              <a:custGeom>
                <a:avLst/>
                <a:gdLst>
                  <a:gd name="T0" fmla="*/ 41 w 81"/>
                  <a:gd name="T1" fmla="*/ 81 h 81"/>
                  <a:gd name="T2" fmla="*/ 41 w 81"/>
                  <a:gd name="T3" fmla="*/ 81 h 81"/>
                  <a:gd name="T4" fmla="*/ 69 w 81"/>
                  <a:gd name="T5" fmla="*/ 69 h 81"/>
                  <a:gd name="T6" fmla="*/ 81 w 81"/>
                  <a:gd name="T7" fmla="*/ 40 h 81"/>
                  <a:gd name="T8" fmla="*/ 69 w 81"/>
                  <a:gd name="T9" fmla="*/ 12 h 81"/>
                  <a:gd name="T10" fmla="*/ 41 w 81"/>
                  <a:gd name="T11" fmla="*/ 0 h 81"/>
                  <a:gd name="T12" fmla="*/ 12 w 81"/>
                  <a:gd name="T13" fmla="*/ 12 h 81"/>
                  <a:gd name="T14" fmla="*/ 0 w 81"/>
                  <a:gd name="T15" fmla="*/ 40 h 81"/>
                  <a:gd name="T16" fmla="*/ 12 w 81"/>
                  <a:gd name="T17" fmla="*/ 69 h 81"/>
                  <a:gd name="T18" fmla="*/ 41 w 8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1" y="81"/>
                    </a:moveTo>
                    <a:lnTo>
                      <a:pt x="41" y="81"/>
                    </a:lnTo>
                    <a:cubicBezTo>
                      <a:pt x="52" y="81"/>
                      <a:pt x="61" y="77"/>
                      <a:pt x="69" y="69"/>
                    </a:cubicBezTo>
                    <a:cubicBezTo>
                      <a:pt x="77" y="61"/>
                      <a:pt x="81" y="51"/>
                      <a:pt x="81" y="40"/>
                    </a:cubicBezTo>
                    <a:cubicBezTo>
                      <a:pt x="81" y="29"/>
                      <a:pt x="77" y="20"/>
                      <a:pt x="69" y="12"/>
                    </a:cubicBezTo>
                    <a:cubicBezTo>
                      <a:pt x="61" y="4"/>
                      <a:pt x="52" y="0"/>
                      <a:pt x="41" y="0"/>
                    </a:cubicBezTo>
                    <a:cubicBezTo>
                      <a:pt x="30" y="0"/>
                      <a:pt x="20" y="4"/>
                      <a:pt x="12" y="12"/>
                    </a:cubicBezTo>
                    <a:cubicBezTo>
                      <a:pt x="4" y="20"/>
                      <a:pt x="0" y="29"/>
                      <a:pt x="0" y="40"/>
                    </a:cubicBezTo>
                    <a:cubicBezTo>
                      <a:pt x="0" y="51"/>
                      <a:pt x="4" y="61"/>
                      <a:pt x="12" y="69"/>
                    </a:cubicBezTo>
                    <a:cubicBezTo>
                      <a:pt x="20" y="77"/>
                      <a:pt x="30" y="81"/>
                      <a:pt x="41" y="81"/>
                    </a:cubicBezTo>
                    <a:close/>
                  </a:path>
                </a:pathLst>
              </a:custGeom>
              <a:solidFill>
                <a:schemeClr val="tx1"/>
              </a:solidFill>
              <a:ln w="0">
                <a:solidFill>
                  <a:schemeClr val="accent2">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grpSp>
      </p:grpSp>
      <p:grpSp>
        <p:nvGrpSpPr>
          <p:cNvPr id="59" name="Group 58">
            <a:extLst>
              <a:ext uri="{FF2B5EF4-FFF2-40B4-BE49-F238E27FC236}">
                <a16:creationId xmlns:a16="http://schemas.microsoft.com/office/drawing/2014/main" id="{F2BDBF46-4E57-408B-9F11-18FD494FBB79}"/>
              </a:ext>
            </a:extLst>
          </p:cNvPr>
          <p:cNvGrpSpPr/>
          <p:nvPr/>
        </p:nvGrpSpPr>
        <p:grpSpPr>
          <a:xfrm>
            <a:off x="7227576" y="1765635"/>
            <a:ext cx="2103120" cy="3790603"/>
            <a:chOff x="7262341" y="2478435"/>
            <a:chExt cx="2103120" cy="3790603"/>
          </a:xfrm>
        </p:grpSpPr>
        <p:sp>
          <p:nvSpPr>
            <p:cNvPr id="6" name="Freeform: Shape 5">
              <a:extLst>
                <a:ext uri="{FF2B5EF4-FFF2-40B4-BE49-F238E27FC236}">
                  <a16:creationId xmlns:a16="http://schemas.microsoft.com/office/drawing/2014/main" id="{C8115A48-79FC-4BD4-8EBA-340A95E1E34F}"/>
                </a:ext>
              </a:extLst>
            </p:cNvPr>
            <p:cNvSpPr/>
            <p:nvPr/>
          </p:nvSpPr>
          <p:spPr>
            <a:xfrm>
              <a:off x="7262341" y="2478435"/>
              <a:ext cx="2103120"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117475" marR="0" lvl="1"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lumMod val="20000"/>
                      <a:lumOff val="80000"/>
                    </a:srgbClr>
                  </a:solidFill>
                  <a:effectLst/>
                  <a:uLnTx/>
                  <a:uFillTx/>
                  <a:latin typeface="Segoe UI Semibold" charset="0"/>
                  <a:ea typeface="+mn-ea"/>
                  <a:cs typeface="Segoe UI Semibold" charset="0"/>
                </a:rPr>
                <a:t>Globally distributed,</a:t>
              </a:r>
            </a:p>
            <a:p>
              <a:pPr marL="117475" marR="0" lvl="1"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lumMod val="20000"/>
                      <a:lumOff val="80000"/>
                    </a:srgbClr>
                  </a:solidFill>
                  <a:effectLst/>
                  <a:uLnTx/>
                  <a:uFillTx/>
                  <a:latin typeface="Segoe UI Semibold" charset="0"/>
                  <a:ea typeface="+mn-ea"/>
                  <a:cs typeface="Segoe UI Semibold" charset="0"/>
                </a:rPr>
                <a:t>RTO=0</a:t>
              </a:r>
            </a:p>
            <a:p>
              <a:pPr marL="117475" marR="0" lvl="1"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lumMod val="20000"/>
                      <a:lumOff val="80000"/>
                    </a:srgbClr>
                  </a:solidFill>
                  <a:effectLst/>
                  <a:uLnTx/>
                  <a:uFillTx/>
                  <a:latin typeface="Segoe UI Semibold" charset="0"/>
                  <a:ea typeface="+mn-ea"/>
                  <a:cs typeface="Segoe UI Semibold" charset="0"/>
                </a:rPr>
                <a:t>99.999 SLA</a:t>
              </a:r>
            </a:p>
          </p:txBody>
        </p:sp>
        <p:grpSp>
          <p:nvGrpSpPr>
            <p:cNvPr id="32" name="Group 17">
              <a:extLst>
                <a:ext uri="{FF2B5EF4-FFF2-40B4-BE49-F238E27FC236}">
                  <a16:creationId xmlns:a16="http://schemas.microsoft.com/office/drawing/2014/main" id="{A76D7D57-C918-437E-9A11-C149187063B2}"/>
                </a:ext>
              </a:extLst>
            </p:cNvPr>
            <p:cNvGrpSpPr>
              <a:grpSpLocks noChangeAspect="1"/>
            </p:cNvGrpSpPr>
            <p:nvPr/>
          </p:nvGrpSpPr>
          <p:grpSpPr bwMode="auto">
            <a:xfrm>
              <a:off x="7926543" y="2888029"/>
              <a:ext cx="774717" cy="772746"/>
              <a:chOff x="4717" y="1891"/>
              <a:chExt cx="393" cy="392"/>
            </a:xfrm>
            <a:solidFill>
              <a:schemeClr val="accent1"/>
            </a:solidFill>
          </p:grpSpPr>
          <p:sp>
            <p:nvSpPr>
              <p:cNvPr id="33" name="AutoShape 16">
                <a:extLst>
                  <a:ext uri="{FF2B5EF4-FFF2-40B4-BE49-F238E27FC236}">
                    <a16:creationId xmlns:a16="http://schemas.microsoft.com/office/drawing/2014/main" id="{A9E865FD-E95C-4654-BEDF-52DC6554E85C}"/>
                  </a:ext>
                </a:extLst>
              </p:cNvPr>
              <p:cNvSpPr>
                <a:spLocks noChangeAspect="1" noChangeArrowheads="1" noTextEdit="1"/>
              </p:cNvSpPr>
              <p:nvPr/>
            </p:nvSpPr>
            <p:spPr bwMode="auto">
              <a:xfrm>
                <a:off x="4717" y="1891"/>
                <a:ext cx="393" cy="39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34" name="Freeform 18">
                <a:extLst>
                  <a:ext uri="{FF2B5EF4-FFF2-40B4-BE49-F238E27FC236}">
                    <a16:creationId xmlns:a16="http://schemas.microsoft.com/office/drawing/2014/main" id="{09B50136-FE67-4A92-99A2-F1AE0CE9FB91}"/>
                  </a:ext>
                </a:extLst>
              </p:cNvPr>
              <p:cNvSpPr>
                <a:spLocks/>
              </p:cNvSpPr>
              <p:nvPr/>
            </p:nvSpPr>
            <p:spPr bwMode="auto">
              <a:xfrm>
                <a:off x="4849" y="2167"/>
                <a:ext cx="141" cy="103"/>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35" name="Freeform 19">
                <a:extLst>
                  <a:ext uri="{FF2B5EF4-FFF2-40B4-BE49-F238E27FC236}">
                    <a16:creationId xmlns:a16="http://schemas.microsoft.com/office/drawing/2014/main" id="{B6CAAB2F-BA8F-461C-BAAA-1850AAC460DA}"/>
                  </a:ext>
                </a:extLst>
              </p:cNvPr>
              <p:cNvSpPr>
                <a:spLocks/>
              </p:cNvSpPr>
              <p:nvPr/>
            </p:nvSpPr>
            <p:spPr bwMode="auto">
              <a:xfrm>
                <a:off x="5020" y="2037"/>
                <a:ext cx="81" cy="104"/>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chemeClr val="accent2">
                  <a:lumMod val="75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36" name="Freeform 20">
                <a:extLst>
                  <a:ext uri="{FF2B5EF4-FFF2-40B4-BE49-F238E27FC236}">
                    <a16:creationId xmlns:a16="http://schemas.microsoft.com/office/drawing/2014/main" id="{CF1FE55F-EE9A-476F-89B8-2AD7ECAF6325}"/>
                  </a:ext>
                </a:extLst>
              </p:cNvPr>
              <p:cNvSpPr>
                <a:spLocks/>
              </p:cNvSpPr>
              <p:nvPr/>
            </p:nvSpPr>
            <p:spPr bwMode="auto">
              <a:xfrm>
                <a:off x="4979" y="1918"/>
                <a:ext cx="105" cy="94"/>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chemeClr val="accent2">
                  <a:lumMod val="75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37" name="Freeform 21">
                <a:extLst>
                  <a:ext uri="{FF2B5EF4-FFF2-40B4-BE49-F238E27FC236}">
                    <a16:creationId xmlns:a16="http://schemas.microsoft.com/office/drawing/2014/main" id="{40169703-B692-4E82-A7F7-A36917B8F741}"/>
                  </a:ext>
                </a:extLst>
              </p:cNvPr>
              <p:cNvSpPr>
                <a:spLocks/>
              </p:cNvSpPr>
              <p:nvPr/>
            </p:nvSpPr>
            <p:spPr bwMode="auto">
              <a:xfrm>
                <a:off x="4842" y="2037"/>
                <a:ext cx="156" cy="104"/>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38" name="Freeform 22">
                <a:extLst>
                  <a:ext uri="{FF2B5EF4-FFF2-40B4-BE49-F238E27FC236}">
                    <a16:creationId xmlns:a16="http://schemas.microsoft.com/office/drawing/2014/main" id="{ACEA9FEC-BDAE-46A0-AB4B-978FA8829CAA}"/>
                  </a:ext>
                </a:extLst>
              </p:cNvPr>
              <p:cNvSpPr>
                <a:spLocks/>
              </p:cNvSpPr>
              <p:nvPr/>
            </p:nvSpPr>
            <p:spPr bwMode="auto">
              <a:xfrm>
                <a:off x="4849" y="1908"/>
                <a:ext cx="141" cy="104"/>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39" name="Freeform 23">
                <a:extLst>
                  <a:ext uri="{FF2B5EF4-FFF2-40B4-BE49-F238E27FC236}">
                    <a16:creationId xmlns:a16="http://schemas.microsoft.com/office/drawing/2014/main" id="{B4A2C24C-D603-4377-98DD-4C2A67438D2B}"/>
                  </a:ext>
                </a:extLst>
              </p:cNvPr>
              <p:cNvSpPr>
                <a:spLocks/>
              </p:cNvSpPr>
              <p:nvPr/>
            </p:nvSpPr>
            <p:spPr bwMode="auto">
              <a:xfrm>
                <a:off x="4756" y="1918"/>
                <a:ext cx="105" cy="94"/>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40" name="Freeform 24">
                <a:extLst>
                  <a:ext uri="{FF2B5EF4-FFF2-40B4-BE49-F238E27FC236}">
                    <a16:creationId xmlns:a16="http://schemas.microsoft.com/office/drawing/2014/main" id="{F809FC7F-FC73-4CF6-BBAD-92AD40F6C170}"/>
                  </a:ext>
                </a:extLst>
              </p:cNvPr>
              <p:cNvSpPr>
                <a:spLocks/>
              </p:cNvSpPr>
              <p:nvPr/>
            </p:nvSpPr>
            <p:spPr bwMode="auto">
              <a:xfrm>
                <a:off x="4738" y="2037"/>
                <a:ext cx="81" cy="104"/>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41" name="Freeform 25">
                <a:extLst>
                  <a:ext uri="{FF2B5EF4-FFF2-40B4-BE49-F238E27FC236}">
                    <a16:creationId xmlns:a16="http://schemas.microsoft.com/office/drawing/2014/main" id="{F736065F-498C-4DC3-8B58-8A9B1D9CE83E}"/>
                  </a:ext>
                </a:extLst>
              </p:cNvPr>
              <p:cNvSpPr>
                <a:spLocks/>
              </p:cNvSpPr>
              <p:nvPr/>
            </p:nvSpPr>
            <p:spPr bwMode="auto">
              <a:xfrm>
                <a:off x="4756" y="2167"/>
                <a:ext cx="105" cy="93"/>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42" name="Freeform 26">
                <a:extLst>
                  <a:ext uri="{FF2B5EF4-FFF2-40B4-BE49-F238E27FC236}">
                    <a16:creationId xmlns:a16="http://schemas.microsoft.com/office/drawing/2014/main" id="{27FCD3A3-5B3C-429B-93DD-02E04DCC0AEF}"/>
                  </a:ext>
                </a:extLst>
              </p:cNvPr>
              <p:cNvSpPr>
                <a:spLocks/>
              </p:cNvSpPr>
              <p:nvPr/>
            </p:nvSpPr>
            <p:spPr bwMode="auto">
              <a:xfrm>
                <a:off x="4979" y="2167"/>
                <a:ext cx="105" cy="93"/>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chemeClr val="accent2">
                  <a:lumMod val="75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grpSp>
      </p:grpSp>
      <p:grpSp>
        <p:nvGrpSpPr>
          <p:cNvPr id="62" name="Group 61">
            <a:extLst>
              <a:ext uri="{FF2B5EF4-FFF2-40B4-BE49-F238E27FC236}">
                <a16:creationId xmlns:a16="http://schemas.microsoft.com/office/drawing/2014/main" id="{A4962B42-9516-4448-8C62-BBC69074E3AF}"/>
              </a:ext>
            </a:extLst>
          </p:cNvPr>
          <p:cNvGrpSpPr/>
          <p:nvPr/>
        </p:nvGrpSpPr>
        <p:grpSpPr>
          <a:xfrm>
            <a:off x="5007788" y="1765636"/>
            <a:ext cx="2103120" cy="3790603"/>
            <a:chOff x="5077321" y="2478436"/>
            <a:chExt cx="2103120" cy="3790603"/>
          </a:xfrm>
        </p:grpSpPr>
        <p:sp>
          <p:nvSpPr>
            <p:cNvPr id="8" name="Freeform: Shape 7">
              <a:extLst>
                <a:ext uri="{FF2B5EF4-FFF2-40B4-BE49-F238E27FC236}">
                  <a16:creationId xmlns:a16="http://schemas.microsoft.com/office/drawing/2014/main" id="{54FF628B-6CC3-462E-AF13-3E1490D9B525}"/>
                </a:ext>
              </a:extLst>
            </p:cNvPr>
            <p:cNvSpPr/>
            <p:nvPr/>
          </p:nvSpPr>
          <p:spPr>
            <a:xfrm>
              <a:off x="5077321" y="2478436"/>
              <a:ext cx="2103120"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117475" marR="0" lvl="1"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0078D4">
                      <a:lumMod val="20000"/>
                      <a:lumOff val="80000"/>
                    </a:srgbClr>
                  </a:solidFill>
                  <a:latin typeface="Segoe UI Semibold" charset="0"/>
                  <a:cs typeface="Segoe UI Semibold" charset="0"/>
                </a:rPr>
                <a:t>NoSQL</a:t>
              </a:r>
              <a:r>
                <a:rPr kumimoji="0" lang="en-US" sz="1600" b="1" i="0" u="none" strike="noStrike" kern="1200" cap="none" spc="0" normalizeH="0" baseline="0" noProof="0">
                  <a:ln>
                    <a:noFill/>
                  </a:ln>
                  <a:solidFill>
                    <a:srgbClr val="0078D4">
                      <a:lumMod val="20000"/>
                      <a:lumOff val="80000"/>
                    </a:srgbClr>
                  </a:solidFill>
                  <a:effectLst/>
                  <a:uLnTx/>
                  <a:uFillTx/>
                  <a:latin typeface="Segoe UI Semibold" charset="0"/>
                  <a:ea typeface="+mn-ea"/>
                  <a:cs typeface="Segoe UI Semibold" charset="0"/>
                </a:rPr>
                <a:t>, </a:t>
              </a:r>
              <a:r>
                <a:rPr kumimoji="0" lang="en-US" sz="1600" b="1" i="0" u="none" strike="noStrike" kern="1200" cap="none" spc="0" normalizeH="0" baseline="0" noProof="0" dirty="0">
                  <a:ln>
                    <a:noFill/>
                  </a:ln>
                  <a:solidFill>
                    <a:srgbClr val="0078D4">
                      <a:lumMod val="20000"/>
                      <a:lumOff val="80000"/>
                    </a:srgbClr>
                  </a:solidFill>
                  <a:effectLst/>
                  <a:uLnTx/>
                  <a:uFillTx/>
                  <a:latin typeface="Segoe UI Semibold" charset="0"/>
                  <a:ea typeface="+mn-ea"/>
                  <a:cs typeface="Segoe UI Semibold" charset="0"/>
                </a:rPr>
                <a:t>MongoDB, Cassandra</a:t>
              </a:r>
              <a:r>
                <a:rPr kumimoji="0" lang="en-US" sz="1600" b="1" i="0" u="none" strike="noStrike" kern="1200" cap="none" spc="0" normalizeH="0" baseline="0" noProof="0">
                  <a:ln>
                    <a:noFill/>
                  </a:ln>
                  <a:solidFill>
                    <a:srgbClr val="0078D4">
                      <a:lumMod val="20000"/>
                      <a:lumOff val="80000"/>
                    </a:srgbClr>
                  </a:solidFill>
                  <a:effectLst/>
                  <a:uLnTx/>
                  <a:uFillTx/>
                  <a:latin typeface="Segoe UI Semibold" charset="0"/>
                  <a:ea typeface="+mn-ea"/>
                  <a:cs typeface="Segoe UI Semibold" charset="0"/>
                </a:rPr>
                <a:t>, Gremlin, </a:t>
              </a:r>
              <a:r>
                <a:rPr lang="en-US" sz="1600" b="1" dirty="0">
                  <a:solidFill>
                    <a:srgbClr val="0078D4">
                      <a:lumMod val="20000"/>
                      <a:lumOff val="80000"/>
                    </a:srgbClr>
                  </a:solidFill>
                  <a:latin typeface="Segoe UI Semibold" charset="0"/>
                  <a:cs typeface="Segoe UI Semibold" charset="0"/>
                </a:rPr>
                <a:t>Postgres</a:t>
              </a:r>
              <a:endParaRPr kumimoji="0" lang="en-US" sz="1600" b="1" i="0" u="none" strike="noStrike" kern="1200" cap="none" spc="0" normalizeH="0" baseline="0" noProof="0" dirty="0">
                <a:ln>
                  <a:noFill/>
                </a:ln>
                <a:solidFill>
                  <a:srgbClr val="0078D4">
                    <a:lumMod val="20000"/>
                    <a:lumOff val="80000"/>
                  </a:srgbClr>
                </a:solidFill>
                <a:effectLst/>
                <a:uLnTx/>
                <a:uFillTx/>
                <a:latin typeface="Segoe UI Semibold" charset="0"/>
                <a:ea typeface="+mn-ea"/>
                <a:cs typeface="Segoe UI Semibold" charset="0"/>
              </a:endParaRPr>
            </a:p>
          </p:txBody>
        </p:sp>
        <p:grpSp>
          <p:nvGrpSpPr>
            <p:cNvPr id="43" name="Group 29">
              <a:extLst>
                <a:ext uri="{FF2B5EF4-FFF2-40B4-BE49-F238E27FC236}">
                  <a16:creationId xmlns:a16="http://schemas.microsoft.com/office/drawing/2014/main" id="{CD4FAA79-4E52-4B6A-8356-917316E1DF8B}"/>
                </a:ext>
              </a:extLst>
            </p:cNvPr>
            <p:cNvGrpSpPr>
              <a:grpSpLocks noChangeAspect="1"/>
            </p:cNvGrpSpPr>
            <p:nvPr/>
          </p:nvGrpSpPr>
          <p:grpSpPr bwMode="auto">
            <a:xfrm>
              <a:off x="5714910" y="2855058"/>
              <a:ext cx="827942" cy="827942"/>
              <a:chOff x="3506" y="1909"/>
              <a:chExt cx="420" cy="420"/>
            </a:xfrm>
          </p:grpSpPr>
          <p:sp>
            <p:nvSpPr>
              <p:cNvPr id="44" name="AutoShape 28">
                <a:extLst>
                  <a:ext uri="{FF2B5EF4-FFF2-40B4-BE49-F238E27FC236}">
                    <a16:creationId xmlns:a16="http://schemas.microsoft.com/office/drawing/2014/main" id="{4DED129A-8273-4F37-9C2F-C2F0034B64E2}"/>
                  </a:ext>
                </a:extLst>
              </p:cNvPr>
              <p:cNvSpPr>
                <a:spLocks noChangeAspect="1" noChangeArrowheads="1" noTextEdit="1"/>
              </p:cNvSpPr>
              <p:nvPr/>
            </p:nvSpPr>
            <p:spPr bwMode="auto">
              <a:xfrm>
                <a:off x="3506" y="1909"/>
                <a:ext cx="420" cy="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45" name="Freeform 30">
                <a:extLst>
                  <a:ext uri="{FF2B5EF4-FFF2-40B4-BE49-F238E27FC236}">
                    <a16:creationId xmlns:a16="http://schemas.microsoft.com/office/drawing/2014/main" id="{65608901-BC99-4100-8A59-7E60BCD8FCBE}"/>
                  </a:ext>
                </a:extLst>
              </p:cNvPr>
              <p:cNvSpPr>
                <a:spLocks/>
              </p:cNvSpPr>
              <p:nvPr/>
            </p:nvSpPr>
            <p:spPr bwMode="auto">
              <a:xfrm>
                <a:off x="3554" y="2214"/>
                <a:ext cx="338" cy="93"/>
              </a:xfrm>
              <a:custGeom>
                <a:avLst/>
                <a:gdLst>
                  <a:gd name="T0" fmla="*/ 252 w 332"/>
                  <a:gd name="T1" fmla="*/ 25 h 92"/>
                  <a:gd name="T2" fmla="*/ 252 w 332"/>
                  <a:gd name="T3" fmla="*/ 25 h 92"/>
                  <a:gd name="T4" fmla="*/ 207 w 332"/>
                  <a:gd name="T5" fmla="*/ 30 h 92"/>
                  <a:gd name="T6" fmla="*/ 166 w 332"/>
                  <a:gd name="T7" fmla="*/ 31 h 92"/>
                  <a:gd name="T8" fmla="*/ 124 w 332"/>
                  <a:gd name="T9" fmla="*/ 30 h 92"/>
                  <a:gd name="T10" fmla="*/ 80 w 332"/>
                  <a:gd name="T11" fmla="*/ 25 h 92"/>
                  <a:gd name="T12" fmla="*/ 37 w 332"/>
                  <a:gd name="T13" fmla="*/ 15 h 92"/>
                  <a:gd name="T14" fmla="*/ 0 w 332"/>
                  <a:gd name="T15" fmla="*/ 0 h 92"/>
                  <a:gd name="T16" fmla="*/ 0 w 332"/>
                  <a:gd name="T17" fmla="*/ 46 h 92"/>
                  <a:gd name="T18" fmla="*/ 5 w 332"/>
                  <a:gd name="T19" fmla="*/ 56 h 92"/>
                  <a:gd name="T20" fmla="*/ 17 w 332"/>
                  <a:gd name="T21" fmla="*/ 64 h 92"/>
                  <a:gd name="T22" fmla="*/ 31 w 332"/>
                  <a:gd name="T23" fmla="*/ 71 h 92"/>
                  <a:gd name="T24" fmla="*/ 42 w 332"/>
                  <a:gd name="T25" fmla="*/ 75 h 92"/>
                  <a:gd name="T26" fmla="*/ 71 w 332"/>
                  <a:gd name="T27" fmla="*/ 83 h 92"/>
                  <a:gd name="T28" fmla="*/ 103 w 332"/>
                  <a:gd name="T29" fmla="*/ 88 h 92"/>
                  <a:gd name="T30" fmla="*/ 135 w 332"/>
                  <a:gd name="T31" fmla="*/ 91 h 92"/>
                  <a:gd name="T32" fmla="*/ 166 w 332"/>
                  <a:gd name="T33" fmla="*/ 92 h 92"/>
                  <a:gd name="T34" fmla="*/ 196 w 332"/>
                  <a:gd name="T35" fmla="*/ 91 h 92"/>
                  <a:gd name="T36" fmla="*/ 229 w 332"/>
                  <a:gd name="T37" fmla="*/ 88 h 92"/>
                  <a:gd name="T38" fmla="*/ 260 w 332"/>
                  <a:gd name="T39" fmla="*/ 83 h 92"/>
                  <a:gd name="T40" fmla="*/ 289 w 332"/>
                  <a:gd name="T41" fmla="*/ 75 h 92"/>
                  <a:gd name="T42" fmla="*/ 301 w 332"/>
                  <a:gd name="T43" fmla="*/ 71 h 92"/>
                  <a:gd name="T44" fmla="*/ 315 w 332"/>
                  <a:gd name="T45" fmla="*/ 64 h 92"/>
                  <a:gd name="T46" fmla="*/ 327 w 332"/>
                  <a:gd name="T47" fmla="*/ 56 h 92"/>
                  <a:gd name="T48" fmla="*/ 332 w 332"/>
                  <a:gd name="T49" fmla="*/ 46 h 92"/>
                  <a:gd name="T50" fmla="*/ 332 w 332"/>
                  <a:gd name="T51" fmla="*/ 0 h 92"/>
                  <a:gd name="T52" fmla="*/ 294 w 332"/>
                  <a:gd name="T53" fmla="*/ 15 h 92"/>
                  <a:gd name="T54" fmla="*/ 252 w 332"/>
                  <a:gd name="T55" fmla="*/ 2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2" h="92">
                    <a:moveTo>
                      <a:pt x="252" y="25"/>
                    </a:moveTo>
                    <a:lnTo>
                      <a:pt x="252" y="25"/>
                    </a:lnTo>
                    <a:cubicBezTo>
                      <a:pt x="237" y="27"/>
                      <a:pt x="222" y="29"/>
                      <a:pt x="207" y="30"/>
                    </a:cubicBezTo>
                    <a:cubicBezTo>
                      <a:pt x="192" y="31"/>
                      <a:pt x="179" y="31"/>
                      <a:pt x="166" y="31"/>
                    </a:cubicBezTo>
                    <a:cubicBezTo>
                      <a:pt x="153" y="31"/>
                      <a:pt x="139" y="31"/>
                      <a:pt x="124" y="30"/>
                    </a:cubicBezTo>
                    <a:cubicBezTo>
                      <a:pt x="110" y="29"/>
                      <a:pt x="95" y="27"/>
                      <a:pt x="80" y="25"/>
                    </a:cubicBezTo>
                    <a:cubicBezTo>
                      <a:pt x="65" y="22"/>
                      <a:pt x="51" y="19"/>
                      <a:pt x="37" y="15"/>
                    </a:cubicBezTo>
                    <a:cubicBezTo>
                      <a:pt x="23" y="11"/>
                      <a:pt x="11" y="6"/>
                      <a:pt x="0" y="0"/>
                    </a:cubicBezTo>
                    <a:lnTo>
                      <a:pt x="0" y="46"/>
                    </a:lnTo>
                    <a:cubicBezTo>
                      <a:pt x="0" y="50"/>
                      <a:pt x="2" y="53"/>
                      <a:pt x="5" y="56"/>
                    </a:cubicBezTo>
                    <a:cubicBezTo>
                      <a:pt x="8" y="59"/>
                      <a:pt x="12" y="62"/>
                      <a:pt x="17" y="64"/>
                    </a:cubicBezTo>
                    <a:cubicBezTo>
                      <a:pt x="21" y="67"/>
                      <a:pt x="26" y="69"/>
                      <a:pt x="31" y="71"/>
                    </a:cubicBezTo>
                    <a:cubicBezTo>
                      <a:pt x="36" y="73"/>
                      <a:pt x="40" y="74"/>
                      <a:pt x="42" y="75"/>
                    </a:cubicBezTo>
                    <a:cubicBezTo>
                      <a:pt x="51" y="79"/>
                      <a:pt x="61" y="81"/>
                      <a:pt x="71" y="83"/>
                    </a:cubicBezTo>
                    <a:cubicBezTo>
                      <a:pt x="82" y="85"/>
                      <a:pt x="92" y="87"/>
                      <a:pt x="103" y="88"/>
                    </a:cubicBezTo>
                    <a:cubicBezTo>
                      <a:pt x="114" y="90"/>
                      <a:pt x="125" y="91"/>
                      <a:pt x="135" y="91"/>
                    </a:cubicBezTo>
                    <a:cubicBezTo>
                      <a:pt x="146" y="92"/>
                      <a:pt x="156" y="92"/>
                      <a:pt x="166" y="92"/>
                    </a:cubicBezTo>
                    <a:cubicBezTo>
                      <a:pt x="176" y="92"/>
                      <a:pt x="186" y="92"/>
                      <a:pt x="196" y="91"/>
                    </a:cubicBezTo>
                    <a:cubicBezTo>
                      <a:pt x="207" y="91"/>
                      <a:pt x="218" y="90"/>
                      <a:pt x="229" y="88"/>
                    </a:cubicBezTo>
                    <a:cubicBezTo>
                      <a:pt x="239" y="87"/>
                      <a:pt x="250" y="85"/>
                      <a:pt x="260" y="83"/>
                    </a:cubicBezTo>
                    <a:cubicBezTo>
                      <a:pt x="271" y="81"/>
                      <a:pt x="280" y="79"/>
                      <a:pt x="289" y="75"/>
                    </a:cubicBezTo>
                    <a:cubicBezTo>
                      <a:pt x="292" y="74"/>
                      <a:pt x="296" y="73"/>
                      <a:pt x="301" y="71"/>
                    </a:cubicBezTo>
                    <a:cubicBezTo>
                      <a:pt x="306" y="69"/>
                      <a:pt x="310" y="67"/>
                      <a:pt x="315" y="64"/>
                    </a:cubicBezTo>
                    <a:cubicBezTo>
                      <a:pt x="319" y="62"/>
                      <a:pt x="323" y="59"/>
                      <a:pt x="327" y="56"/>
                    </a:cubicBezTo>
                    <a:cubicBezTo>
                      <a:pt x="330" y="53"/>
                      <a:pt x="332" y="50"/>
                      <a:pt x="332" y="46"/>
                    </a:cubicBezTo>
                    <a:lnTo>
                      <a:pt x="332" y="0"/>
                    </a:lnTo>
                    <a:cubicBezTo>
                      <a:pt x="321" y="6"/>
                      <a:pt x="308" y="11"/>
                      <a:pt x="294" y="15"/>
                    </a:cubicBezTo>
                    <a:cubicBezTo>
                      <a:pt x="281" y="19"/>
                      <a:pt x="266" y="22"/>
                      <a:pt x="252" y="25"/>
                    </a:cubicBezTo>
                    <a:close/>
                  </a:path>
                </a:pathLst>
              </a:custGeom>
              <a:solidFill>
                <a:schemeClr val="accent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46" name="Freeform 31">
                <a:extLst>
                  <a:ext uri="{FF2B5EF4-FFF2-40B4-BE49-F238E27FC236}">
                    <a16:creationId xmlns:a16="http://schemas.microsoft.com/office/drawing/2014/main" id="{AA98D225-AB14-40DE-ADF9-A62FFAB73DC8}"/>
                  </a:ext>
                </a:extLst>
              </p:cNvPr>
              <p:cNvSpPr>
                <a:spLocks/>
              </p:cNvSpPr>
              <p:nvPr/>
            </p:nvSpPr>
            <p:spPr bwMode="auto">
              <a:xfrm>
                <a:off x="3554" y="2027"/>
                <a:ext cx="338" cy="94"/>
              </a:xfrm>
              <a:custGeom>
                <a:avLst/>
                <a:gdLst>
                  <a:gd name="T0" fmla="*/ 252 w 332"/>
                  <a:gd name="T1" fmla="*/ 25 h 92"/>
                  <a:gd name="T2" fmla="*/ 252 w 332"/>
                  <a:gd name="T3" fmla="*/ 25 h 92"/>
                  <a:gd name="T4" fmla="*/ 207 w 332"/>
                  <a:gd name="T5" fmla="*/ 30 h 92"/>
                  <a:gd name="T6" fmla="*/ 166 w 332"/>
                  <a:gd name="T7" fmla="*/ 31 h 92"/>
                  <a:gd name="T8" fmla="*/ 124 w 332"/>
                  <a:gd name="T9" fmla="*/ 30 h 92"/>
                  <a:gd name="T10" fmla="*/ 80 w 332"/>
                  <a:gd name="T11" fmla="*/ 25 h 92"/>
                  <a:gd name="T12" fmla="*/ 37 w 332"/>
                  <a:gd name="T13" fmla="*/ 15 h 92"/>
                  <a:gd name="T14" fmla="*/ 0 w 332"/>
                  <a:gd name="T15" fmla="*/ 0 h 92"/>
                  <a:gd name="T16" fmla="*/ 0 w 332"/>
                  <a:gd name="T17" fmla="*/ 46 h 92"/>
                  <a:gd name="T18" fmla="*/ 5 w 332"/>
                  <a:gd name="T19" fmla="*/ 56 h 92"/>
                  <a:gd name="T20" fmla="*/ 17 w 332"/>
                  <a:gd name="T21" fmla="*/ 64 h 92"/>
                  <a:gd name="T22" fmla="*/ 31 w 332"/>
                  <a:gd name="T23" fmla="*/ 71 h 92"/>
                  <a:gd name="T24" fmla="*/ 42 w 332"/>
                  <a:gd name="T25" fmla="*/ 75 h 92"/>
                  <a:gd name="T26" fmla="*/ 72 w 332"/>
                  <a:gd name="T27" fmla="*/ 83 h 92"/>
                  <a:gd name="T28" fmla="*/ 103 w 332"/>
                  <a:gd name="T29" fmla="*/ 88 h 92"/>
                  <a:gd name="T30" fmla="*/ 135 w 332"/>
                  <a:gd name="T31" fmla="*/ 91 h 92"/>
                  <a:gd name="T32" fmla="*/ 166 w 332"/>
                  <a:gd name="T33" fmla="*/ 92 h 92"/>
                  <a:gd name="T34" fmla="*/ 197 w 332"/>
                  <a:gd name="T35" fmla="*/ 91 h 92"/>
                  <a:gd name="T36" fmla="*/ 228 w 332"/>
                  <a:gd name="T37" fmla="*/ 88 h 92"/>
                  <a:gd name="T38" fmla="*/ 260 w 332"/>
                  <a:gd name="T39" fmla="*/ 83 h 92"/>
                  <a:gd name="T40" fmla="*/ 289 w 332"/>
                  <a:gd name="T41" fmla="*/ 75 h 92"/>
                  <a:gd name="T42" fmla="*/ 301 w 332"/>
                  <a:gd name="T43" fmla="*/ 71 h 92"/>
                  <a:gd name="T44" fmla="*/ 315 w 332"/>
                  <a:gd name="T45" fmla="*/ 64 h 92"/>
                  <a:gd name="T46" fmla="*/ 327 w 332"/>
                  <a:gd name="T47" fmla="*/ 56 h 92"/>
                  <a:gd name="T48" fmla="*/ 332 w 332"/>
                  <a:gd name="T49" fmla="*/ 46 h 92"/>
                  <a:gd name="T50" fmla="*/ 332 w 332"/>
                  <a:gd name="T51" fmla="*/ 0 h 92"/>
                  <a:gd name="T52" fmla="*/ 295 w 332"/>
                  <a:gd name="T53" fmla="*/ 15 h 92"/>
                  <a:gd name="T54" fmla="*/ 252 w 332"/>
                  <a:gd name="T55" fmla="*/ 2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2" h="92">
                    <a:moveTo>
                      <a:pt x="252" y="25"/>
                    </a:moveTo>
                    <a:lnTo>
                      <a:pt x="252" y="25"/>
                    </a:lnTo>
                    <a:cubicBezTo>
                      <a:pt x="237" y="27"/>
                      <a:pt x="222" y="29"/>
                      <a:pt x="207" y="30"/>
                    </a:cubicBezTo>
                    <a:cubicBezTo>
                      <a:pt x="193" y="31"/>
                      <a:pt x="179" y="31"/>
                      <a:pt x="166" y="31"/>
                    </a:cubicBezTo>
                    <a:cubicBezTo>
                      <a:pt x="153" y="31"/>
                      <a:pt x="139" y="31"/>
                      <a:pt x="124" y="30"/>
                    </a:cubicBezTo>
                    <a:cubicBezTo>
                      <a:pt x="110" y="29"/>
                      <a:pt x="95" y="27"/>
                      <a:pt x="80" y="25"/>
                    </a:cubicBezTo>
                    <a:cubicBezTo>
                      <a:pt x="65" y="22"/>
                      <a:pt x="51" y="19"/>
                      <a:pt x="37" y="15"/>
                    </a:cubicBezTo>
                    <a:cubicBezTo>
                      <a:pt x="23" y="11"/>
                      <a:pt x="11" y="6"/>
                      <a:pt x="0" y="0"/>
                    </a:cubicBezTo>
                    <a:lnTo>
                      <a:pt x="0" y="46"/>
                    </a:lnTo>
                    <a:cubicBezTo>
                      <a:pt x="0" y="50"/>
                      <a:pt x="2" y="53"/>
                      <a:pt x="5" y="56"/>
                    </a:cubicBezTo>
                    <a:cubicBezTo>
                      <a:pt x="8" y="59"/>
                      <a:pt x="12" y="62"/>
                      <a:pt x="17" y="64"/>
                    </a:cubicBezTo>
                    <a:cubicBezTo>
                      <a:pt x="21" y="67"/>
                      <a:pt x="26" y="69"/>
                      <a:pt x="31" y="71"/>
                    </a:cubicBezTo>
                    <a:cubicBezTo>
                      <a:pt x="36" y="73"/>
                      <a:pt x="40" y="75"/>
                      <a:pt x="42" y="75"/>
                    </a:cubicBezTo>
                    <a:cubicBezTo>
                      <a:pt x="52" y="79"/>
                      <a:pt x="61" y="81"/>
                      <a:pt x="72" y="83"/>
                    </a:cubicBezTo>
                    <a:cubicBezTo>
                      <a:pt x="82" y="85"/>
                      <a:pt x="93" y="87"/>
                      <a:pt x="103" y="88"/>
                    </a:cubicBezTo>
                    <a:cubicBezTo>
                      <a:pt x="114" y="90"/>
                      <a:pt x="125" y="91"/>
                      <a:pt x="135" y="91"/>
                    </a:cubicBezTo>
                    <a:cubicBezTo>
                      <a:pt x="146" y="92"/>
                      <a:pt x="156" y="92"/>
                      <a:pt x="166" y="92"/>
                    </a:cubicBezTo>
                    <a:cubicBezTo>
                      <a:pt x="176" y="92"/>
                      <a:pt x="186" y="92"/>
                      <a:pt x="197" y="91"/>
                    </a:cubicBezTo>
                    <a:cubicBezTo>
                      <a:pt x="207" y="91"/>
                      <a:pt x="218" y="90"/>
                      <a:pt x="228" y="88"/>
                    </a:cubicBezTo>
                    <a:cubicBezTo>
                      <a:pt x="239" y="87"/>
                      <a:pt x="250" y="85"/>
                      <a:pt x="260" y="83"/>
                    </a:cubicBezTo>
                    <a:cubicBezTo>
                      <a:pt x="270" y="81"/>
                      <a:pt x="280" y="79"/>
                      <a:pt x="289" y="75"/>
                    </a:cubicBezTo>
                    <a:cubicBezTo>
                      <a:pt x="292" y="75"/>
                      <a:pt x="296" y="73"/>
                      <a:pt x="301" y="71"/>
                    </a:cubicBezTo>
                    <a:cubicBezTo>
                      <a:pt x="306" y="69"/>
                      <a:pt x="310" y="67"/>
                      <a:pt x="315" y="64"/>
                    </a:cubicBezTo>
                    <a:cubicBezTo>
                      <a:pt x="319" y="62"/>
                      <a:pt x="323" y="59"/>
                      <a:pt x="327" y="56"/>
                    </a:cubicBezTo>
                    <a:cubicBezTo>
                      <a:pt x="330" y="53"/>
                      <a:pt x="332" y="50"/>
                      <a:pt x="332" y="46"/>
                    </a:cubicBezTo>
                    <a:lnTo>
                      <a:pt x="332" y="0"/>
                    </a:lnTo>
                    <a:cubicBezTo>
                      <a:pt x="321" y="6"/>
                      <a:pt x="308" y="11"/>
                      <a:pt x="295" y="15"/>
                    </a:cubicBezTo>
                    <a:cubicBezTo>
                      <a:pt x="281" y="19"/>
                      <a:pt x="267" y="22"/>
                      <a:pt x="252" y="25"/>
                    </a:cubicBezTo>
                    <a:close/>
                  </a:path>
                </a:pathLst>
              </a:custGeom>
              <a:solidFill>
                <a:schemeClr val="accent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47" name="Freeform 32">
                <a:extLst>
                  <a:ext uri="{FF2B5EF4-FFF2-40B4-BE49-F238E27FC236}">
                    <a16:creationId xmlns:a16="http://schemas.microsoft.com/office/drawing/2014/main" id="{3316945A-35F7-44E0-B76A-56A71B7AF217}"/>
                  </a:ext>
                </a:extLst>
              </p:cNvPr>
              <p:cNvSpPr>
                <a:spLocks/>
              </p:cNvSpPr>
              <p:nvPr/>
            </p:nvSpPr>
            <p:spPr bwMode="auto">
              <a:xfrm>
                <a:off x="3554" y="1934"/>
                <a:ext cx="338" cy="94"/>
              </a:xfrm>
              <a:custGeom>
                <a:avLst/>
                <a:gdLst>
                  <a:gd name="T0" fmla="*/ 315 w 332"/>
                  <a:gd name="T1" fmla="*/ 28 h 92"/>
                  <a:gd name="T2" fmla="*/ 315 w 332"/>
                  <a:gd name="T3" fmla="*/ 28 h 92"/>
                  <a:gd name="T4" fmla="*/ 301 w 332"/>
                  <a:gd name="T5" fmla="*/ 21 h 92"/>
                  <a:gd name="T6" fmla="*/ 289 w 332"/>
                  <a:gd name="T7" fmla="*/ 17 h 92"/>
                  <a:gd name="T8" fmla="*/ 260 w 332"/>
                  <a:gd name="T9" fmla="*/ 9 h 92"/>
                  <a:gd name="T10" fmla="*/ 228 w 332"/>
                  <a:gd name="T11" fmla="*/ 4 h 92"/>
                  <a:gd name="T12" fmla="*/ 196 w 332"/>
                  <a:gd name="T13" fmla="*/ 1 h 92"/>
                  <a:gd name="T14" fmla="*/ 166 w 332"/>
                  <a:gd name="T15" fmla="*/ 0 h 92"/>
                  <a:gd name="T16" fmla="*/ 135 w 332"/>
                  <a:gd name="T17" fmla="*/ 1 h 92"/>
                  <a:gd name="T18" fmla="*/ 103 w 332"/>
                  <a:gd name="T19" fmla="*/ 4 h 92"/>
                  <a:gd name="T20" fmla="*/ 72 w 332"/>
                  <a:gd name="T21" fmla="*/ 9 h 92"/>
                  <a:gd name="T22" fmla="*/ 42 w 332"/>
                  <a:gd name="T23" fmla="*/ 17 h 92"/>
                  <a:gd name="T24" fmla="*/ 31 w 332"/>
                  <a:gd name="T25" fmla="*/ 21 h 92"/>
                  <a:gd name="T26" fmla="*/ 17 w 332"/>
                  <a:gd name="T27" fmla="*/ 28 h 92"/>
                  <a:gd name="T28" fmla="*/ 5 w 332"/>
                  <a:gd name="T29" fmla="*/ 37 h 92"/>
                  <a:gd name="T30" fmla="*/ 0 w 332"/>
                  <a:gd name="T31" fmla="*/ 46 h 92"/>
                  <a:gd name="T32" fmla="*/ 1 w 332"/>
                  <a:gd name="T33" fmla="*/ 50 h 92"/>
                  <a:gd name="T34" fmla="*/ 3 w 332"/>
                  <a:gd name="T35" fmla="*/ 53 h 92"/>
                  <a:gd name="T36" fmla="*/ 21 w 332"/>
                  <a:gd name="T37" fmla="*/ 66 h 92"/>
                  <a:gd name="T38" fmla="*/ 46 w 332"/>
                  <a:gd name="T39" fmla="*/ 76 h 92"/>
                  <a:gd name="T40" fmla="*/ 77 w 332"/>
                  <a:gd name="T41" fmla="*/ 84 h 92"/>
                  <a:gd name="T42" fmla="*/ 109 w 332"/>
                  <a:gd name="T43" fmla="*/ 88 h 92"/>
                  <a:gd name="T44" fmla="*/ 140 w 332"/>
                  <a:gd name="T45" fmla="*/ 91 h 92"/>
                  <a:gd name="T46" fmla="*/ 166 w 332"/>
                  <a:gd name="T47" fmla="*/ 92 h 92"/>
                  <a:gd name="T48" fmla="*/ 192 w 332"/>
                  <a:gd name="T49" fmla="*/ 91 h 92"/>
                  <a:gd name="T50" fmla="*/ 223 w 332"/>
                  <a:gd name="T51" fmla="*/ 88 h 92"/>
                  <a:gd name="T52" fmla="*/ 255 w 332"/>
                  <a:gd name="T53" fmla="*/ 84 h 92"/>
                  <a:gd name="T54" fmla="*/ 285 w 332"/>
                  <a:gd name="T55" fmla="*/ 76 h 92"/>
                  <a:gd name="T56" fmla="*/ 311 w 332"/>
                  <a:gd name="T57" fmla="*/ 66 h 92"/>
                  <a:gd name="T58" fmla="*/ 328 w 332"/>
                  <a:gd name="T59" fmla="*/ 53 h 92"/>
                  <a:gd name="T60" fmla="*/ 331 w 332"/>
                  <a:gd name="T61" fmla="*/ 50 h 92"/>
                  <a:gd name="T62" fmla="*/ 332 w 332"/>
                  <a:gd name="T63" fmla="*/ 46 h 92"/>
                  <a:gd name="T64" fmla="*/ 327 w 332"/>
                  <a:gd name="T65" fmla="*/ 37 h 92"/>
                  <a:gd name="T66" fmla="*/ 315 w 332"/>
                  <a:gd name="T67" fmla="*/ 2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2" h="92">
                    <a:moveTo>
                      <a:pt x="315" y="28"/>
                    </a:moveTo>
                    <a:lnTo>
                      <a:pt x="315" y="28"/>
                    </a:lnTo>
                    <a:cubicBezTo>
                      <a:pt x="310" y="26"/>
                      <a:pt x="306" y="23"/>
                      <a:pt x="301" y="21"/>
                    </a:cubicBezTo>
                    <a:cubicBezTo>
                      <a:pt x="296" y="19"/>
                      <a:pt x="292" y="18"/>
                      <a:pt x="289" y="17"/>
                    </a:cubicBezTo>
                    <a:cubicBezTo>
                      <a:pt x="280" y="14"/>
                      <a:pt x="270" y="11"/>
                      <a:pt x="260" y="9"/>
                    </a:cubicBezTo>
                    <a:cubicBezTo>
                      <a:pt x="250" y="7"/>
                      <a:pt x="239" y="5"/>
                      <a:pt x="228" y="4"/>
                    </a:cubicBezTo>
                    <a:cubicBezTo>
                      <a:pt x="218" y="3"/>
                      <a:pt x="207" y="2"/>
                      <a:pt x="196" y="1"/>
                    </a:cubicBezTo>
                    <a:cubicBezTo>
                      <a:pt x="186" y="1"/>
                      <a:pt x="176" y="0"/>
                      <a:pt x="166" y="0"/>
                    </a:cubicBezTo>
                    <a:cubicBezTo>
                      <a:pt x="156" y="0"/>
                      <a:pt x="146" y="1"/>
                      <a:pt x="135" y="1"/>
                    </a:cubicBezTo>
                    <a:cubicBezTo>
                      <a:pt x="125" y="2"/>
                      <a:pt x="114" y="3"/>
                      <a:pt x="103" y="4"/>
                    </a:cubicBezTo>
                    <a:cubicBezTo>
                      <a:pt x="93" y="5"/>
                      <a:pt x="82" y="7"/>
                      <a:pt x="72" y="9"/>
                    </a:cubicBezTo>
                    <a:cubicBezTo>
                      <a:pt x="61" y="11"/>
                      <a:pt x="52" y="14"/>
                      <a:pt x="42" y="17"/>
                    </a:cubicBezTo>
                    <a:cubicBezTo>
                      <a:pt x="40" y="18"/>
                      <a:pt x="36" y="19"/>
                      <a:pt x="31" y="21"/>
                    </a:cubicBezTo>
                    <a:cubicBezTo>
                      <a:pt x="26" y="23"/>
                      <a:pt x="21" y="26"/>
                      <a:pt x="17" y="28"/>
                    </a:cubicBezTo>
                    <a:cubicBezTo>
                      <a:pt x="12" y="31"/>
                      <a:pt x="8" y="34"/>
                      <a:pt x="5" y="37"/>
                    </a:cubicBezTo>
                    <a:cubicBezTo>
                      <a:pt x="2" y="40"/>
                      <a:pt x="0" y="43"/>
                      <a:pt x="0" y="46"/>
                    </a:cubicBezTo>
                    <a:cubicBezTo>
                      <a:pt x="0" y="47"/>
                      <a:pt x="0" y="48"/>
                      <a:pt x="1" y="50"/>
                    </a:cubicBezTo>
                    <a:cubicBezTo>
                      <a:pt x="2" y="51"/>
                      <a:pt x="2" y="52"/>
                      <a:pt x="3" y="53"/>
                    </a:cubicBezTo>
                    <a:cubicBezTo>
                      <a:pt x="7" y="58"/>
                      <a:pt x="13" y="62"/>
                      <a:pt x="21" y="66"/>
                    </a:cubicBezTo>
                    <a:cubicBezTo>
                      <a:pt x="28" y="70"/>
                      <a:pt x="37" y="73"/>
                      <a:pt x="46" y="76"/>
                    </a:cubicBezTo>
                    <a:cubicBezTo>
                      <a:pt x="56" y="79"/>
                      <a:pt x="66" y="82"/>
                      <a:pt x="77" y="84"/>
                    </a:cubicBezTo>
                    <a:cubicBezTo>
                      <a:pt x="87" y="86"/>
                      <a:pt x="98" y="87"/>
                      <a:pt x="109" y="88"/>
                    </a:cubicBezTo>
                    <a:cubicBezTo>
                      <a:pt x="120" y="89"/>
                      <a:pt x="130" y="90"/>
                      <a:pt x="140" y="91"/>
                    </a:cubicBezTo>
                    <a:cubicBezTo>
                      <a:pt x="149" y="91"/>
                      <a:pt x="158" y="92"/>
                      <a:pt x="166" y="92"/>
                    </a:cubicBezTo>
                    <a:cubicBezTo>
                      <a:pt x="173" y="92"/>
                      <a:pt x="182" y="91"/>
                      <a:pt x="192" y="91"/>
                    </a:cubicBezTo>
                    <a:cubicBezTo>
                      <a:pt x="202" y="90"/>
                      <a:pt x="212" y="89"/>
                      <a:pt x="223" y="88"/>
                    </a:cubicBezTo>
                    <a:cubicBezTo>
                      <a:pt x="234" y="87"/>
                      <a:pt x="244" y="86"/>
                      <a:pt x="255" y="84"/>
                    </a:cubicBezTo>
                    <a:cubicBezTo>
                      <a:pt x="266" y="82"/>
                      <a:pt x="276" y="79"/>
                      <a:pt x="285" y="76"/>
                    </a:cubicBezTo>
                    <a:cubicBezTo>
                      <a:pt x="295" y="73"/>
                      <a:pt x="303" y="70"/>
                      <a:pt x="311" y="66"/>
                    </a:cubicBezTo>
                    <a:cubicBezTo>
                      <a:pt x="319" y="62"/>
                      <a:pt x="324" y="58"/>
                      <a:pt x="328" y="53"/>
                    </a:cubicBezTo>
                    <a:cubicBezTo>
                      <a:pt x="329" y="52"/>
                      <a:pt x="330" y="51"/>
                      <a:pt x="331" y="50"/>
                    </a:cubicBezTo>
                    <a:cubicBezTo>
                      <a:pt x="331" y="48"/>
                      <a:pt x="332" y="47"/>
                      <a:pt x="332" y="46"/>
                    </a:cubicBezTo>
                    <a:cubicBezTo>
                      <a:pt x="332" y="43"/>
                      <a:pt x="330" y="40"/>
                      <a:pt x="327" y="37"/>
                    </a:cubicBezTo>
                    <a:cubicBezTo>
                      <a:pt x="323" y="34"/>
                      <a:pt x="319" y="31"/>
                      <a:pt x="315" y="28"/>
                    </a:cubicBez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48" name="Freeform 33">
                <a:extLst>
                  <a:ext uri="{FF2B5EF4-FFF2-40B4-BE49-F238E27FC236}">
                    <a16:creationId xmlns:a16="http://schemas.microsoft.com/office/drawing/2014/main" id="{4C561427-F695-486B-A6BA-6FE5776D2B78}"/>
                  </a:ext>
                </a:extLst>
              </p:cNvPr>
              <p:cNvSpPr>
                <a:spLocks/>
              </p:cNvSpPr>
              <p:nvPr/>
            </p:nvSpPr>
            <p:spPr bwMode="auto">
              <a:xfrm>
                <a:off x="3554" y="2121"/>
                <a:ext cx="338" cy="94"/>
              </a:xfrm>
              <a:custGeom>
                <a:avLst/>
                <a:gdLst>
                  <a:gd name="T0" fmla="*/ 252 w 332"/>
                  <a:gd name="T1" fmla="*/ 24 h 92"/>
                  <a:gd name="T2" fmla="*/ 252 w 332"/>
                  <a:gd name="T3" fmla="*/ 24 h 92"/>
                  <a:gd name="T4" fmla="*/ 207 w 332"/>
                  <a:gd name="T5" fmla="*/ 29 h 92"/>
                  <a:gd name="T6" fmla="*/ 166 w 332"/>
                  <a:gd name="T7" fmla="*/ 31 h 92"/>
                  <a:gd name="T8" fmla="*/ 124 w 332"/>
                  <a:gd name="T9" fmla="*/ 29 h 92"/>
                  <a:gd name="T10" fmla="*/ 80 w 332"/>
                  <a:gd name="T11" fmla="*/ 24 h 92"/>
                  <a:gd name="T12" fmla="*/ 37 w 332"/>
                  <a:gd name="T13" fmla="*/ 15 h 92"/>
                  <a:gd name="T14" fmla="*/ 0 w 332"/>
                  <a:gd name="T15" fmla="*/ 0 h 92"/>
                  <a:gd name="T16" fmla="*/ 0 w 332"/>
                  <a:gd name="T17" fmla="*/ 46 h 92"/>
                  <a:gd name="T18" fmla="*/ 5 w 332"/>
                  <a:gd name="T19" fmla="*/ 55 h 92"/>
                  <a:gd name="T20" fmla="*/ 17 w 332"/>
                  <a:gd name="T21" fmla="*/ 64 h 92"/>
                  <a:gd name="T22" fmla="*/ 31 w 332"/>
                  <a:gd name="T23" fmla="*/ 71 h 92"/>
                  <a:gd name="T24" fmla="*/ 42 w 332"/>
                  <a:gd name="T25" fmla="*/ 75 h 92"/>
                  <a:gd name="T26" fmla="*/ 71 w 332"/>
                  <a:gd name="T27" fmla="*/ 83 h 92"/>
                  <a:gd name="T28" fmla="*/ 103 w 332"/>
                  <a:gd name="T29" fmla="*/ 88 h 92"/>
                  <a:gd name="T30" fmla="*/ 135 w 332"/>
                  <a:gd name="T31" fmla="*/ 91 h 92"/>
                  <a:gd name="T32" fmla="*/ 166 w 332"/>
                  <a:gd name="T33" fmla="*/ 92 h 92"/>
                  <a:gd name="T34" fmla="*/ 196 w 332"/>
                  <a:gd name="T35" fmla="*/ 91 h 92"/>
                  <a:gd name="T36" fmla="*/ 229 w 332"/>
                  <a:gd name="T37" fmla="*/ 88 h 92"/>
                  <a:gd name="T38" fmla="*/ 260 w 332"/>
                  <a:gd name="T39" fmla="*/ 83 h 92"/>
                  <a:gd name="T40" fmla="*/ 289 w 332"/>
                  <a:gd name="T41" fmla="*/ 75 h 92"/>
                  <a:gd name="T42" fmla="*/ 301 w 332"/>
                  <a:gd name="T43" fmla="*/ 71 h 92"/>
                  <a:gd name="T44" fmla="*/ 315 w 332"/>
                  <a:gd name="T45" fmla="*/ 64 h 92"/>
                  <a:gd name="T46" fmla="*/ 327 w 332"/>
                  <a:gd name="T47" fmla="*/ 55 h 92"/>
                  <a:gd name="T48" fmla="*/ 332 w 332"/>
                  <a:gd name="T49" fmla="*/ 46 h 92"/>
                  <a:gd name="T50" fmla="*/ 332 w 332"/>
                  <a:gd name="T51" fmla="*/ 0 h 92"/>
                  <a:gd name="T52" fmla="*/ 294 w 332"/>
                  <a:gd name="T53" fmla="*/ 15 h 92"/>
                  <a:gd name="T54" fmla="*/ 252 w 332"/>
                  <a:gd name="T55" fmla="*/ 2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2" h="92">
                    <a:moveTo>
                      <a:pt x="252" y="24"/>
                    </a:moveTo>
                    <a:lnTo>
                      <a:pt x="252" y="24"/>
                    </a:lnTo>
                    <a:cubicBezTo>
                      <a:pt x="237" y="27"/>
                      <a:pt x="222" y="28"/>
                      <a:pt x="207" y="29"/>
                    </a:cubicBezTo>
                    <a:cubicBezTo>
                      <a:pt x="192" y="30"/>
                      <a:pt x="179" y="31"/>
                      <a:pt x="166" y="31"/>
                    </a:cubicBezTo>
                    <a:cubicBezTo>
                      <a:pt x="153" y="31"/>
                      <a:pt x="139" y="30"/>
                      <a:pt x="124" y="29"/>
                    </a:cubicBezTo>
                    <a:cubicBezTo>
                      <a:pt x="110" y="28"/>
                      <a:pt x="95" y="27"/>
                      <a:pt x="80" y="24"/>
                    </a:cubicBezTo>
                    <a:cubicBezTo>
                      <a:pt x="65" y="22"/>
                      <a:pt x="51" y="19"/>
                      <a:pt x="37" y="15"/>
                    </a:cubicBezTo>
                    <a:cubicBezTo>
                      <a:pt x="23" y="11"/>
                      <a:pt x="11" y="6"/>
                      <a:pt x="0" y="0"/>
                    </a:cubicBezTo>
                    <a:lnTo>
                      <a:pt x="0" y="46"/>
                    </a:lnTo>
                    <a:cubicBezTo>
                      <a:pt x="0" y="49"/>
                      <a:pt x="2" y="52"/>
                      <a:pt x="5" y="55"/>
                    </a:cubicBezTo>
                    <a:cubicBezTo>
                      <a:pt x="8" y="58"/>
                      <a:pt x="12" y="61"/>
                      <a:pt x="17" y="64"/>
                    </a:cubicBezTo>
                    <a:cubicBezTo>
                      <a:pt x="21" y="66"/>
                      <a:pt x="26" y="69"/>
                      <a:pt x="31" y="71"/>
                    </a:cubicBezTo>
                    <a:cubicBezTo>
                      <a:pt x="36" y="73"/>
                      <a:pt x="40" y="74"/>
                      <a:pt x="42" y="75"/>
                    </a:cubicBezTo>
                    <a:cubicBezTo>
                      <a:pt x="51" y="78"/>
                      <a:pt x="61" y="81"/>
                      <a:pt x="71" y="83"/>
                    </a:cubicBezTo>
                    <a:cubicBezTo>
                      <a:pt x="82" y="85"/>
                      <a:pt x="92" y="87"/>
                      <a:pt x="103" y="88"/>
                    </a:cubicBezTo>
                    <a:cubicBezTo>
                      <a:pt x="114" y="89"/>
                      <a:pt x="125" y="90"/>
                      <a:pt x="135" y="91"/>
                    </a:cubicBezTo>
                    <a:cubicBezTo>
                      <a:pt x="146" y="91"/>
                      <a:pt x="156" y="92"/>
                      <a:pt x="166" y="92"/>
                    </a:cubicBezTo>
                    <a:cubicBezTo>
                      <a:pt x="176" y="92"/>
                      <a:pt x="186" y="91"/>
                      <a:pt x="196" y="91"/>
                    </a:cubicBezTo>
                    <a:cubicBezTo>
                      <a:pt x="207" y="90"/>
                      <a:pt x="218" y="89"/>
                      <a:pt x="229" y="88"/>
                    </a:cubicBezTo>
                    <a:cubicBezTo>
                      <a:pt x="239" y="87"/>
                      <a:pt x="250" y="85"/>
                      <a:pt x="260" y="83"/>
                    </a:cubicBezTo>
                    <a:cubicBezTo>
                      <a:pt x="271" y="81"/>
                      <a:pt x="280" y="78"/>
                      <a:pt x="289" y="75"/>
                    </a:cubicBezTo>
                    <a:cubicBezTo>
                      <a:pt x="292" y="74"/>
                      <a:pt x="296" y="73"/>
                      <a:pt x="301" y="71"/>
                    </a:cubicBezTo>
                    <a:cubicBezTo>
                      <a:pt x="306" y="69"/>
                      <a:pt x="310" y="66"/>
                      <a:pt x="315" y="64"/>
                    </a:cubicBezTo>
                    <a:cubicBezTo>
                      <a:pt x="319" y="61"/>
                      <a:pt x="323" y="58"/>
                      <a:pt x="327" y="55"/>
                    </a:cubicBezTo>
                    <a:cubicBezTo>
                      <a:pt x="330" y="52"/>
                      <a:pt x="332" y="49"/>
                      <a:pt x="332" y="46"/>
                    </a:cubicBezTo>
                    <a:lnTo>
                      <a:pt x="332" y="0"/>
                    </a:lnTo>
                    <a:cubicBezTo>
                      <a:pt x="321" y="6"/>
                      <a:pt x="308" y="11"/>
                      <a:pt x="294" y="15"/>
                    </a:cubicBezTo>
                    <a:cubicBezTo>
                      <a:pt x="281" y="19"/>
                      <a:pt x="266" y="22"/>
                      <a:pt x="252" y="24"/>
                    </a:cubicBezTo>
                    <a:close/>
                  </a:path>
                </a:pathLst>
              </a:custGeom>
              <a:solidFill>
                <a:schemeClr val="accent2">
                  <a:lumMod val="75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grpSp>
      </p:grpSp>
      <p:grpSp>
        <p:nvGrpSpPr>
          <p:cNvPr id="57" name="Group 56">
            <a:extLst>
              <a:ext uri="{FF2B5EF4-FFF2-40B4-BE49-F238E27FC236}">
                <a16:creationId xmlns:a16="http://schemas.microsoft.com/office/drawing/2014/main" id="{10415FFB-96E9-4B1C-926C-9E2D8E284E77}"/>
              </a:ext>
            </a:extLst>
          </p:cNvPr>
          <p:cNvGrpSpPr/>
          <p:nvPr/>
        </p:nvGrpSpPr>
        <p:grpSpPr>
          <a:xfrm>
            <a:off x="9547493" y="1772032"/>
            <a:ext cx="2103120" cy="3790603"/>
            <a:chOff x="9447363" y="2478435"/>
            <a:chExt cx="2103120" cy="3790603"/>
          </a:xfrm>
        </p:grpSpPr>
        <p:sp>
          <p:nvSpPr>
            <p:cNvPr id="21" name="Freeform: Shape 20">
              <a:extLst>
                <a:ext uri="{FF2B5EF4-FFF2-40B4-BE49-F238E27FC236}">
                  <a16:creationId xmlns:a16="http://schemas.microsoft.com/office/drawing/2014/main" id="{154794BE-D1CF-4796-88A2-9A617A68AECB}"/>
                </a:ext>
              </a:extLst>
            </p:cNvPr>
            <p:cNvSpPr/>
            <p:nvPr/>
          </p:nvSpPr>
          <p:spPr>
            <a:xfrm>
              <a:off x="9447363" y="2478435"/>
              <a:ext cx="2103120" cy="3790603"/>
            </a:xfrm>
            <a:custGeom>
              <a:avLst/>
              <a:gdLst>
                <a:gd name="connsiteX0" fmla="*/ 0 w 2784904"/>
                <a:gd name="connsiteY0" fmla="*/ 0 h 1670942"/>
                <a:gd name="connsiteX1" fmla="*/ 2784904 w 2784904"/>
                <a:gd name="connsiteY1" fmla="*/ 0 h 1670942"/>
                <a:gd name="connsiteX2" fmla="*/ 2784904 w 2784904"/>
                <a:gd name="connsiteY2" fmla="*/ 1670942 h 1670942"/>
                <a:gd name="connsiteX3" fmla="*/ 0 w 2784904"/>
                <a:gd name="connsiteY3" fmla="*/ 1670942 h 1670942"/>
                <a:gd name="connsiteX4" fmla="*/ 0 w 2784904"/>
                <a:gd name="connsiteY4" fmla="*/ 0 h 167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4904" h="1670942">
                  <a:moveTo>
                    <a:pt x="0" y="0"/>
                  </a:moveTo>
                  <a:lnTo>
                    <a:pt x="2784904" y="0"/>
                  </a:lnTo>
                  <a:lnTo>
                    <a:pt x="2784904" y="1670942"/>
                  </a:lnTo>
                  <a:lnTo>
                    <a:pt x="0" y="1670942"/>
                  </a:lnTo>
                  <a:lnTo>
                    <a:pt x="0" y="0"/>
                  </a:lnTo>
                  <a:close/>
                </a:path>
              </a:pathLst>
            </a:custGeom>
            <a:solidFill>
              <a:schemeClr val="bg1"/>
            </a:solidFill>
            <a:ln w="12700" cap="flat" cmpd="sng" algn="ctr">
              <a:noFill/>
              <a:prstDash val="dash"/>
            </a:ln>
            <a:effectLst>
              <a:outerShdw blurRad="381000" algn="tl" rotWithShape="0">
                <a:schemeClr val="accent1">
                  <a:alpha val="70000"/>
                </a:schemeClr>
              </a:outerShdw>
            </a:effectLst>
          </p:spPr>
          <p:txBody>
            <a:bodyPr vert="horz" wrap="square" lIns="91440" tIns="1737360" rIns="91440" bIns="46637" numCol="1" rtlCol="0" anchor="t" anchorCtr="0" compatLnSpc="1">
              <a:prstTxWarp prst="textNoShape">
                <a:avLst/>
              </a:prstTxWarp>
            </a:bodyPr>
            <a:lstStyle/>
            <a:p>
              <a:pPr marL="117475" marR="0" lvl="1"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lumMod val="20000"/>
                      <a:lumOff val="80000"/>
                    </a:srgbClr>
                  </a:solidFill>
                  <a:effectLst/>
                  <a:uLnTx/>
                  <a:uFillTx/>
                  <a:latin typeface="Segoe UI Semibold" charset="0"/>
                  <a:ea typeface="+mn-ea"/>
                  <a:cs typeface="Segoe UI Semibold" charset="0"/>
                </a:rPr>
                <a:t>Real time </a:t>
              </a:r>
            </a:p>
            <a:p>
              <a:pPr marL="117475" marR="0" lvl="1"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lumMod val="20000"/>
                      <a:lumOff val="80000"/>
                    </a:srgbClr>
                  </a:solidFill>
                  <a:effectLst/>
                  <a:uLnTx/>
                  <a:uFillTx/>
                  <a:latin typeface="Segoe UI Semibold" charset="0"/>
                  <a:ea typeface="+mn-ea"/>
                  <a:cs typeface="Segoe UI Semibold" charset="0"/>
                </a:rPr>
                <a:t>analytics &amp; BI </a:t>
              </a:r>
            </a:p>
            <a:p>
              <a:pPr marL="117475" marR="0" lvl="1"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lumMod val="20000"/>
                      <a:lumOff val="80000"/>
                    </a:srgbClr>
                  </a:solidFill>
                  <a:effectLst/>
                  <a:uLnTx/>
                  <a:uFillTx/>
                  <a:latin typeface="Segoe UI Semibold" charset="0"/>
                  <a:ea typeface="+mn-ea"/>
                  <a:cs typeface="Segoe UI Semibold" charset="0"/>
                </a:rPr>
                <a:t>with Synapse Link</a:t>
              </a:r>
            </a:p>
          </p:txBody>
        </p:sp>
        <p:grpSp>
          <p:nvGrpSpPr>
            <p:cNvPr id="49" name="Group 36">
              <a:extLst>
                <a:ext uri="{FF2B5EF4-FFF2-40B4-BE49-F238E27FC236}">
                  <a16:creationId xmlns:a16="http://schemas.microsoft.com/office/drawing/2014/main" id="{4BD50D38-EA29-404F-8E15-7D6FE591CF5E}"/>
                </a:ext>
              </a:extLst>
            </p:cNvPr>
            <p:cNvGrpSpPr>
              <a:grpSpLocks noChangeAspect="1"/>
            </p:cNvGrpSpPr>
            <p:nvPr/>
          </p:nvGrpSpPr>
          <p:grpSpPr bwMode="auto">
            <a:xfrm>
              <a:off x="10139162" y="2921000"/>
              <a:ext cx="719522" cy="717550"/>
              <a:chOff x="5952" y="1909"/>
              <a:chExt cx="365" cy="364"/>
            </a:xfrm>
          </p:grpSpPr>
          <p:sp>
            <p:nvSpPr>
              <p:cNvPr id="51" name="AutoShape 35">
                <a:extLst>
                  <a:ext uri="{FF2B5EF4-FFF2-40B4-BE49-F238E27FC236}">
                    <a16:creationId xmlns:a16="http://schemas.microsoft.com/office/drawing/2014/main" id="{2BF2690A-6CF0-4DCE-A7B6-2BD7F6DD7566}"/>
                  </a:ext>
                </a:extLst>
              </p:cNvPr>
              <p:cNvSpPr>
                <a:spLocks noChangeAspect="1" noChangeArrowheads="1" noTextEdit="1"/>
              </p:cNvSpPr>
              <p:nvPr/>
            </p:nvSpPr>
            <p:spPr bwMode="auto">
              <a:xfrm>
                <a:off x="5952" y="1909"/>
                <a:ext cx="365" cy="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54" name="Freeform 37">
                <a:extLst>
                  <a:ext uri="{FF2B5EF4-FFF2-40B4-BE49-F238E27FC236}">
                    <a16:creationId xmlns:a16="http://schemas.microsoft.com/office/drawing/2014/main" id="{FF92C8B9-C1EB-4ACF-AA72-CBCB729779D1}"/>
                  </a:ext>
                </a:extLst>
              </p:cNvPr>
              <p:cNvSpPr>
                <a:spLocks/>
              </p:cNvSpPr>
              <p:nvPr/>
            </p:nvSpPr>
            <p:spPr bwMode="auto">
              <a:xfrm>
                <a:off x="5975" y="1951"/>
                <a:ext cx="283" cy="283"/>
              </a:xfrm>
              <a:custGeom>
                <a:avLst/>
                <a:gdLst>
                  <a:gd name="T0" fmla="*/ 320 w 320"/>
                  <a:gd name="T1" fmla="*/ 0 h 320"/>
                  <a:gd name="T2" fmla="*/ 320 w 320"/>
                  <a:gd name="T3" fmla="*/ 0 h 320"/>
                  <a:gd name="T4" fmla="*/ 0 w 320"/>
                  <a:gd name="T5" fmla="*/ 0 h 320"/>
                  <a:gd name="T6" fmla="*/ 0 w 320"/>
                  <a:gd name="T7" fmla="*/ 320 h 320"/>
                  <a:gd name="T8" fmla="*/ 107 w 320"/>
                  <a:gd name="T9" fmla="*/ 320 h 320"/>
                  <a:gd name="T10" fmla="*/ 107 w 320"/>
                  <a:gd name="T11" fmla="*/ 80 h 320"/>
                  <a:gd name="T12" fmla="*/ 320 w 320"/>
                  <a:gd name="T13" fmla="*/ 80 h 320"/>
                  <a:gd name="T14" fmla="*/ 320 w 320"/>
                  <a:gd name="T15" fmla="*/ 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0" h="320">
                    <a:moveTo>
                      <a:pt x="320" y="0"/>
                    </a:moveTo>
                    <a:lnTo>
                      <a:pt x="320" y="0"/>
                    </a:lnTo>
                    <a:lnTo>
                      <a:pt x="0" y="0"/>
                    </a:lnTo>
                    <a:lnTo>
                      <a:pt x="0" y="320"/>
                    </a:lnTo>
                    <a:lnTo>
                      <a:pt x="107" y="320"/>
                    </a:lnTo>
                    <a:lnTo>
                      <a:pt x="107" y="80"/>
                    </a:lnTo>
                    <a:lnTo>
                      <a:pt x="320" y="80"/>
                    </a:lnTo>
                    <a:lnTo>
                      <a:pt x="320" y="0"/>
                    </a:lnTo>
                    <a:close/>
                  </a:path>
                </a:pathLst>
              </a:custGeom>
              <a:solidFill>
                <a:schemeClr val="tx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55" name="Freeform 38">
                <a:extLst>
                  <a:ext uri="{FF2B5EF4-FFF2-40B4-BE49-F238E27FC236}">
                    <a16:creationId xmlns:a16="http://schemas.microsoft.com/office/drawing/2014/main" id="{4224DECB-E18A-49F8-A02D-89173D609C23}"/>
                  </a:ext>
                </a:extLst>
              </p:cNvPr>
              <p:cNvSpPr>
                <a:spLocks/>
              </p:cNvSpPr>
              <p:nvPr/>
            </p:nvSpPr>
            <p:spPr bwMode="auto">
              <a:xfrm>
                <a:off x="6093" y="2046"/>
                <a:ext cx="189" cy="188"/>
              </a:xfrm>
              <a:custGeom>
                <a:avLst/>
                <a:gdLst>
                  <a:gd name="T0" fmla="*/ 214 w 214"/>
                  <a:gd name="T1" fmla="*/ 0 h 213"/>
                  <a:gd name="T2" fmla="*/ 214 w 214"/>
                  <a:gd name="T3" fmla="*/ 0 h 213"/>
                  <a:gd name="T4" fmla="*/ 0 w 214"/>
                  <a:gd name="T5" fmla="*/ 0 h 213"/>
                  <a:gd name="T6" fmla="*/ 0 w 214"/>
                  <a:gd name="T7" fmla="*/ 213 h 213"/>
                  <a:gd name="T8" fmla="*/ 107 w 214"/>
                  <a:gd name="T9" fmla="*/ 213 h 213"/>
                  <a:gd name="T10" fmla="*/ 107 w 214"/>
                  <a:gd name="T11" fmla="*/ 80 h 213"/>
                  <a:gd name="T12" fmla="*/ 214 w 214"/>
                  <a:gd name="T13" fmla="*/ 80 h 213"/>
                  <a:gd name="T14" fmla="*/ 214 w 214"/>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213">
                    <a:moveTo>
                      <a:pt x="214" y="0"/>
                    </a:moveTo>
                    <a:lnTo>
                      <a:pt x="214" y="0"/>
                    </a:lnTo>
                    <a:lnTo>
                      <a:pt x="0" y="0"/>
                    </a:lnTo>
                    <a:lnTo>
                      <a:pt x="0" y="213"/>
                    </a:lnTo>
                    <a:lnTo>
                      <a:pt x="107" y="213"/>
                    </a:lnTo>
                    <a:lnTo>
                      <a:pt x="107" y="80"/>
                    </a:lnTo>
                    <a:lnTo>
                      <a:pt x="214" y="80"/>
                    </a:lnTo>
                    <a:lnTo>
                      <a:pt x="214" y="0"/>
                    </a:lnTo>
                    <a:close/>
                  </a:path>
                </a:pathLst>
              </a:custGeom>
              <a:solidFill>
                <a:schemeClr val="accent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sp>
            <p:nvSpPr>
              <p:cNvPr id="56" name="Freeform 39">
                <a:extLst>
                  <a:ext uri="{FF2B5EF4-FFF2-40B4-BE49-F238E27FC236}">
                    <a16:creationId xmlns:a16="http://schemas.microsoft.com/office/drawing/2014/main" id="{1A3C3BDB-12BD-47EB-9B49-8E6D14E10518}"/>
                  </a:ext>
                </a:extLst>
              </p:cNvPr>
              <p:cNvSpPr>
                <a:spLocks/>
              </p:cNvSpPr>
              <p:nvPr/>
            </p:nvSpPr>
            <p:spPr bwMode="auto">
              <a:xfrm>
                <a:off x="6211" y="2140"/>
                <a:ext cx="94" cy="94"/>
              </a:xfrm>
              <a:custGeom>
                <a:avLst/>
                <a:gdLst>
                  <a:gd name="T0" fmla="*/ 0 w 106"/>
                  <a:gd name="T1" fmla="*/ 106 h 106"/>
                  <a:gd name="T2" fmla="*/ 0 w 106"/>
                  <a:gd name="T3" fmla="*/ 106 h 106"/>
                  <a:gd name="T4" fmla="*/ 106 w 106"/>
                  <a:gd name="T5" fmla="*/ 106 h 106"/>
                  <a:gd name="T6" fmla="*/ 106 w 106"/>
                  <a:gd name="T7" fmla="*/ 0 h 106"/>
                  <a:gd name="T8" fmla="*/ 0 w 106"/>
                  <a:gd name="T9" fmla="*/ 0 h 106"/>
                  <a:gd name="T10" fmla="*/ 0 w 106"/>
                  <a:gd name="T11" fmla="*/ 106 h 106"/>
                </a:gdLst>
                <a:ahLst/>
                <a:cxnLst>
                  <a:cxn ang="0">
                    <a:pos x="T0" y="T1"/>
                  </a:cxn>
                  <a:cxn ang="0">
                    <a:pos x="T2" y="T3"/>
                  </a:cxn>
                  <a:cxn ang="0">
                    <a:pos x="T4" y="T5"/>
                  </a:cxn>
                  <a:cxn ang="0">
                    <a:pos x="T6" y="T7"/>
                  </a:cxn>
                  <a:cxn ang="0">
                    <a:pos x="T8" y="T9"/>
                  </a:cxn>
                  <a:cxn ang="0">
                    <a:pos x="T10" y="T11"/>
                  </a:cxn>
                </a:cxnLst>
                <a:rect l="0" t="0" r="r" b="b"/>
                <a:pathLst>
                  <a:path w="106" h="106">
                    <a:moveTo>
                      <a:pt x="0" y="106"/>
                    </a:moveTo>
                    <a:lnTo>
                      <a:pt x="0" y="106"/>
                    </a:lnTo>
                    <a:lnTo>
                      <a:pt x="106" y="106"/>
                    </a:lnTo>
                    <a:lnTo>
                      <a:pt x="106" y="0"/>
                    </a:lnTo>
                    <a:lnTo>
                      <a:pt x="0" y="0"/>
                    </a:lnTo>
                    <a:lnTo>
                      <a:pt x="0" y="106"/>
                    </a:lnTo>
                    <a:close/>
                  </a:path>
                </a:pathLst>
              </a:custGeom>
              <a:solidFill>
                <a:schemeClr val="accent2">
                  <a:lumMod val="75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4">
                      <a:lumMod val="20000"/>
                      <a:lumOff val="80000"/>
                    </a:srgbClr>
                  </a:solidFill>
                  <a:effectLst/>
                  <a:uLnTx/>
                  <a:uFillTx/>
                  <a:latin typeface="Segoe UI"/>
                  <a:ea typeface="+mn-ea"/>
                  <a:cs typeface="+mn-cs"/>
                </a:endParaRPr>
              </a:p>
            </p:txBody>
          </p:sp>
        </p:grpSp>
      </p:grpSp>
      <p:sp>
        <p:nvSpPr>
          <p:cNvPr id="58" name="Title 2">
            <a:extLst>
              <a:ext uri="{FF2B5EF4-FFF2-40B4-BE49-F238E27FC236}">
                <a16:creationId xmlns:a16="http://schemas.microsoft.com/office/drawing/2014/main" id="{E27CF438-0D71-44E1-B59E-FD19121E2B8C}"/>
              </a:ext>
            </a:extLst>
          </p:cNvPr>
          <p:cNvSpPr txBox="1">
            <a:spLocks/>
          </p:cNvSpPr>
          <p:nvPr/>
        </p:nvSpPr>
        <p:spPr>
          <a:xfrm>
            <a:off x="1029785" y="331450"/>
            <a:ext cx="9720072" cy="635816"/>
          </a:xfrm>
          <a:prstGeom prst="rect">
            <a:avLst/>
          </a:prstGeom>
        </p:spPr>
        <p:txBody>
          <a:bodyPr vert="horz" wrap="square" lIns="0" tIns="0" rIns="0" bIns="0" rtlCol="0" anchor="t">
            <a:norm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0078D4">
                    <a:lumMod val="75000"/>
                  </a:srgbClr>
                </a:solidFill>
                <a:effectLst/>
                <a:uLnTx/>
                <a:uFillTx/>
                <a:latin typeface="Arial" panose="020B0604020202020204" pitchFamily="34" charset="0"/>
                <a:ea typeface="+mn-ea"/>
                <a:cs typeface="Arial" panose="020B0604020202020204" pitchFamily="34" charset="0"/>
              </a:rPr>
              <a:t>Azure Cosmos DB</a:t>
            </a:r>
          </a:p>
        </p:txBody>
      </p:sp>
    </p:spTree>
    <p:extLst>
      <p:ext uri="{BB962C8B-B14F-4D97-AF65-F5344CB8AC3E}">
        <p14:creationId xmlns:p14="http://schemas.microsoft.com/office/powerpoint/2010/main" val="35940371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anim calcmode="lin" valueType="num">
                                      <p:cBhvr>
                                        <p:cTn id="8" dur="500" fill="hold"/>
                                        <p:tgtEl>
                                          <p:spTgt spid="64"/>
                                        </p:tgtEl>
                                        <p:attrNameLst>
                                          <p:attrName>ppt_x</p:attrName>
                                        </p:attrNameLst>
                                      </p:cBhvr>
                                      <p:tavLst>
                                        <p:tav tm="0">
                                          <p:val>
                                            <p:strVal val="#ppt_x"/>
                                          </p:val>
                                        </p:tav>
                                        <p:tav tm="100000">
                                          <p:val>
                                            <p:strVal val="#ppt_x"/>
                                          </p:val>
                                        </p:tav>
                                      </p:tavLst>
                                    </p:anim>
                                    <p:anim calcmode="lin" valueType="num">
                                      <p:cBhvr>
                                        <p:cTn id="9" dur="500" fill="hold"/>
                                        <p:tgtEl>
                                          <p:spTgt spid="6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63"/>
                                        </p:tgtEl>
                                        <p:attrNameLst>
                                          <p:attrName>style.visibility</p:attrName>
                                        </p:attrNameLst>
                                      </p:cBhvr>
                                      <p:to>
                                        <p:strVal val="visible"/>
                                      </p:to>
                                    </p:set>
                                    <p:animEffect transition="in" filter="fade">
                                      <p:cBhvr>
                                        <p:cTn id="12" dur="500"/>
                                        <p:tgtEl>
                                          <p:spTgt spid="63"/>
                                        </p:tgtEl>
                                      </p:cBhvr>
                                    </p:animEffect>
                                    <p:anim calcmode="lin" valueType="num">
                                      <p:cBhvr>
                                        <p:cTn id="13" dur="500" fill="hold"/>
                                        <p:tgtEl>
                                          <p:spTgt spid="63"/>
                                        </p:tgtEl>
                                        <p:attrNameLst>
                                          <p:attrName>ppt_x</p:attrName>
                                        </p:attrNameLst>
                                      </p:cBhvr>
                                      <p:tavLst>
                                        <p:tav tm="0">
                                          <p:val>
                                            <p:strVal val="#ppt_x"/>
                                          </p:val>
                                        </p:tav>
                                        <p:tav tm="100000">
                                          <p:val>
                                            <p:strVal val="#ppt_x"/>
                                          </p:val>
                                        </p:tav>
                                      </p:tavLst>
                                    </p:anim>
                                    <p:anim calcmode="lin" valueType="num">
                                      <p:cBhvr>
                                        <p:cTn id="14" dur="500" fill="hold"/>
                                        <p:tgtEl>
                                          <p:spTgt spid="6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anim calcmode="lin" valueType="num">
                                      <p:cBhvr>
                                        <p:cTn id="18" dur="500" fill="hold"/>
                                        <p:tgtEl>
                                          <p:spTgt spid="62"/>
                                        </p:tgtEl>
                                        <p:attrNameLst>
                                          <p:attrName>ppt_x</p:attrName>
                                        </p:attrNameLst>
                                      </p:cBhvr>
                                      <p:tavLst>
                                        <p:tav tm="0">
                                          <p:val>
                                            <p:strVal val="#ppt_x"/>
                                          </p:val>
                                        </p:tav>
                                        <p:tav tm="100000">
                                          <p:val>
                                            <p:strVal val="#ppt_x"/>
                                          </p:val>
                                        </p:tav>
                                      </p:tavLst>
                                    </p:anim>
                                    <p:anim calcmode="lin" valueType="num">
                                      <p:cBhvr>
                                        <p:cTn id="19" dur="500" fill="hold"/>
                                        <p:tgtEl>
                                          <p:spTgt spid="62"/>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59"/>
                                        </p:tgtEl>
                                        <p:attrNameLst>
                                          <p:attrName>style.visibility</p:attrName>
                                        </p:attrNameLst>
                                      </p:cBhvr>
                                      <p:to>
                                        <p:strVal val="visible"/>
                                      </p:to>
                                    </p:set>
                                    <p:animEffect transition="in" filter="fade">
                                      <p:cBhvr>
                                        <p:cTn id="22" dur="500"/>
                                        <p:tgtEl>
                                          <p:spTgt spid="59"/>
                                        </p:tgtEl>
                                      </p:cBhvr>
                                    </p:animEffect>
                                    <p:anim calcmode="lin" valueType="num">
                                      <p:cBhvr>
                                        <p:cTn id="23" dur="500" fill="hold"/>
                                        <p:tgtEl>
                                          <p:spTgt spid="59"/>
                                        </p:tgtEl>
                                        <p:attrNameLst>
                                          <p:attrName>ppt_x</p:attrName>
                                        </p:attrNameLst>
                                      </p:cBhvr>
                                      <p:tavLst>
                                        <p:tav tm="0">
                                          <p:val>
                                            <p:strVal val="#ppt_x"/>
                                          </p:val>
                                        </p:tav>
                                        <p:tav tm="100000">
                                          <p:val>
                                            <p:strVal val="#ppt_x"/>
                                          </p:val>
                                        </p:tav>
                                      </p:tavLst>
                                    </p:anim>
                                    <p:anim calcmode="lin" valueType="num">
                                      <p:cBhvr>
                                        <p:cTn id="24" dur="500" fill="hold"/>
                                        <p:tgtEl>
                                          <p:spTgt spid="59"/>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57"/>
                                        </p:tgtEl>
                                        <p:attrNameLst>
                                          <p:attrName>style.visibility</p:attrName>
                                        </p:attrNameLst>
                                      </p:cBhvr>
                                      <p:to>
                                        <p:strVal val="visible"/>
                                      </p:to>
                                    </p:set>
                                    <p:animEffect transition="in" filter="fade">
                                      <p:cBhvr>
                                        <p:cTn id="27" dur="500"/>
                                        <p:tgtEl>
                                          <p:spTgt spid="57"/>
                                        </p:tgtEl>
                                      </p:cBhvr>
                                    </p:animEffect>
                                    <p:anim calcmode="lin" valueType="num">
                                      <p:cBhvr>
                                        <p:cTn id="28" dur="500" fill="hold"/>
                                        <p:tgtEl>
                                          <p:spTgt spid="57"/>
                                        </p:tgtEl>
                                        <p:attrNameLst>
                                          <p:attrName>ppt_x</p:attrName>
                                        </p:attrNameLst>
                                      </p:cBhvr>
                                      <p:tavLst>
                                        <p:tav tm="0">
                                          <p:val>
                                            <p:strVal val="#ppt_x"/>
                                          </p:val>
                                        </p:tav>
                                        <p:tav tm="100000">
                                          <p:val>
                                            <p:strVal val="#ppt_x"/>
                                          </p:val>
                                        </p:tav>
                                      </p:tavLst>
                                    </p:anim>
                                    <p:anim calcmode="lin" valueType="num">
                                      <p:cBhvr>
                                        <p:cTn id="29" dur="500" fill="hold"/>
                                        <p:tgtEl>
                                          <p:spTgt spid="5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59F6C-0D5A-4F9F-AFA0-A2B12E920261}"/>
              </a:ext>
            </a:extLst>
          </p:cNvPr>
          <p:cNvSpPr>
            <a:spLocks noGrp="1"/>
          </p:cNvSpPr>
          <p:nvPr>
            <p:ph type="title"/>
          </p:nvPr>
        </p:nvSpPr>
        <p:spPr/>
        <p:txBody>
          <a:bodyPr/>
          <a:lstStyle/>
          <a:p>
            <a:r>
              <a:rPr lang="en-IN" dirty="0"/>
              <a:t>Q &amp; A</a:t>
            </a:r>
          </a:p>
        </p:txBody>
      </p:sp>
    </p:spTree>
    <p:extLst>
      <p:ext uri="{BB962C8B-B14F-4D97-AF65-F5344CB8AC3E}">
        <p14:creationId xmlns:p14="http://schemas.microsoft.com/office/powerpoint/2010/main" val="27913522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52230B6-FFB0-6CCC-0271-85252C53E987}"/>
              </a:ext>
            </a:extLst>
          </p:cNvPr>
          <p:cNvSpPr/>
          <p:nvPr/>
        </p:nvSpPr>
        <p:spPr>
          <a:xfrm>
            <a:off x="4191232" y="211946"/>
            <a:ext cx="3841308" cy="656655"/>
          </a:xfrm>
          <a:prstGeom prst="rect">
            <a:avLst/>
          </a:prstGeom>
        </p:spPr>
        <p:txBody>
          <a:bodyPr wrap="none">
            <a:spAutoFit/>
          </a:bodyPr>
          <a:lstStyle/>
          <a:p>
            <a:r>
              <a:rPr lang="en-IN" sz="3667" b="1" u="sng" spc="-50" dirty="0">
                <a:ln w="3175">
                  <a:noFill/>
                </a:ln>
                <a:solidFill>
                  <a:srgbClr val="08023F"/>
                </a:solidFill>
                <a:latin typeface="Segoe UI" pitchFamily="34" charset="0"/>
                <a:cs typeface="Segoe UI" pitchFamily="34" charset="0"/>
              </a:rPr>
              <a:t>Platinum Partner</a:t>
            </a:r>
          </a:p>
        </p:txBody>
      </p:sp>
      <p:grpSp>
        <p:nvGrpSpPr>
          <p:cNvPr id="25" name="Group 24">
            <a:extLst>
              <a:ext uri="{FF2B5EF4-FFF2-40B4-BE49-F238E27FC236}">
                <a16:creationId xmlns:a16="http://schemas.microsoft.com/office/drawing/2014/main" id="{3C4F03DB-EEC1-04D9-DCE9-B7C124BE9135}"/>
              </a:ext>
            </a:extLst>
          </p:cNvPr>
          <p:cNvGrpSpPr/>
          <p:nvPr/>
        </p:nvGrpSpPr>
        <p:grpSpPr>
          <a:xfrm>
            <a:off x="4684855" y="969889"/>
            <a:ext cx="2784661" cy="1010703"/>
            <a:chOff x="5621825" y="1050976"/>
            <a:chExt cx="3341593" cy="1212843"/>
          </a:xfrm>
        </p:grpSpPr>
        <p:sp>
          <p:nvSpPr>
            <p:cNvPr id="24" name="Rectangle: Rounded Corners 23">
              <a:extLst>
                <a:ext uri="{FF2B5EF4-FFF2-40B4-BE49-F238E27FC236}">
                  <a16:creationId xmlns:a16="http://schemas.microsoft.com/office/drawing/2014/main" id="{6F677F80-645F-E040-928E-C486C7108244}"/>
                </a:ext>
              </a:extLst>
            </p:cNvPr>
            <p:cNvSpPr/>
            <p:nvPr/>
          </p:nvSpPr>
          <p:spPr bwMode="auto">
            <a:xfrm>
              <a:off x="5621825" y="1050976"/>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descr="Logo&#10;&#10;Description automatically generated">
              <a:extLst>
                <a:ext uri="{FF2B5EF4-FFF2-40B4-BE49-F238E27FC236}">
                  <a16:creationId xmlns:a16="http://schemas.microsoft.com/office/drawing/2014/main" id="{4544A297-488F-B909-6EA1-B2DD5E23E0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3172" y="1113774"/>
              <a:ext cx="2584054" cy="996935"/>
            </a:xfrm>
            <a:prstGeom prst="rect">
              <a:avLst/>
            </a:prstGeom>
          </p:spPr>
        </p:pic>
      </p:grpSp>
      <p:sp>
        <p:nvSpPr>
          <p:cNvPr id="3" name="Rectangle 2">
            <a:extLst>
              <a:ext uri="{FF2B5EF4-FFF2-40B4-BE49-F238E27FC236}">
                <a16:creationId xmlns:a16="http://schemas.microsoft.com/office/drawing/2014/main" id="{42B275A5-9A0C-3DF2-C65E-1D1B9862DC00}"/>
              </a:ext>
            </a:extLst>
          </p:cNvPr>
          <p:cNvSpPr/>
          <p:nvPr/>
        </p:nvSpPr>
        <p:spPr>
          <a:xfrm>
            <a:off x="4650626" y="2332689"/>
            <a:ext cx="2924390" cy="656655"/>
          </a:xfrm>
          <a:prstGeom prst="rect">
            <a:avLst/>
          </a:prstGeom>
        </p:spPr>
        <p:txBody>
          <a:bodyPr wrap="none">
            <a:spAutoFit/>
          </a:bodyPr>
          <a:lstStyle/>
          <a:p>
            <a:r>
              <a:rPr lang="en-IN" sz="3667" b="1" u="sng" spc="-50" dirty="0">
                <a:ln w="3175">
                  <a:noFill/>
                </a:ln>
                <a:solidFill>
                  <a:srgbClr val="08023F"/>
                </a:solidFill>
                <a:latin typeface="Segoe UI" pitchFamily="34" charset="0"/>
                <a:cs typeface="Segoe UI" pitchFamily="34" charset="0"/>
              </a:rPr>
              <a:t>Gold Partner</a:t>
            </a:r>
          </a:p>
        </p:txBody>
      </p:sp>
      <p:sp>
        <p:nvSpPr>
          <p:cNvPr id="4" name="Rectangle 3">
            <a:extLst>
              <a:ext uri="{FF2B5EF4-FFF2-40B4-BE49-F238E27FC236}">
                <a16:creationId xmlns:a16="http://schemas.microsoft.com/office/drawing/2014/main" id="{66913931-49AD-7789-DFA2-E14B8BEC608A}"/>
              </a:ext>
            </a:extLst>
          </p:cNvPr>
          <p:cNvSpPr/>
          <p:nvPr/>
        </p:nvSpPr>
        <p:spPr>
          <a:xfrm>
            <a:off x="4569167" y="4480649"/>
            <a:ext cx="3086486" cy="656655"/>
          </a:xfrm>
          <a:prstGeom prst="rect">
            <a:avLst/>
          </a:prstGeom>
        </p:spPr>
        <p:txBody>
          <a:bodyPr wrap="none">
            <a:spAutoFit/>
          </a:bodyPr>
          <a:lstStyle/>
          <a:p>
            <a:r>
              <a:rPr lang="en-IN" sz="3667" b="1" u="sng" spc="-50" dirty="0">
                <a:ln w="3175">
                  <a:noFill/>
                </a:ln>
                <a:solidFill>
                  <a:srgbClr val="08023F"/>
                </a:solidFill>
                <a:latin typeface="Segoe UI" pitchFamily="34" charset="0"/>
                <a:cs typeface="Segoe UI" pitchFamily="34" charset="0"/>
              </a:rPr>
              <a:t>Silver Partner</a:t>
            </a:r>
          </a:p>
        </p:txBody>
      </p:sp>
      <p:grpSp>
        <p:nvGrpSpPr>
          <p:cNvPr id="23" name="Group 22">
            <a:extLst>
              <a:ext uri="{FF2B5EF4-FFF2-40B4-BE49-F238E27FC236}">
                <a16:creationId xmlns:a16="http://schemas.microsoft.com/office/drawing/2014/main" id="{482A7A5B-0C00-FBAF-8981-DA4A0CE22659}"/>
              </a:ext>
            </a:extLst>
          </p:cNvPr>
          <p:cNvGrpSpPr/>
          <p:nvPr/>
        </p:nvGrpSpPr>
        <p:grpSpPr>
          <a:xfrm>
            <a:off x="2811920" y="3099738"/>
            <a:ext cx="6119646" cy="1031960"/>
            <a:chOff x="3631133" y="3627072"/>
            <a:chExt cx="7343575" cy="1238352"/>
          </a:xfrm>
        </p:grpSpPr>
        <p:grpSp>
          <p:nvGrpSpPr>
            <p:cNvPr id="18" name="Group 17">
              <a:extLst>
                <a:ext uri="{FF2B5EF4-FFF2-40B4-BE49-F238E27FC236}">
                  <a16:creationId xmlns:a16="http://schemas.microsoft.com/office/drawing/2014/main" id="{C7350E86-726F-119B-77D9-BDC7F13F0F8F}"/>
                </a:ext>
              </a:extLst>
            </p:cNvPr>
            <p:cNvGrpSpPr/>
            <p:nvPr/>
          </p:nvGrpSpPr>
          <p:grpSpPr>
            <a:xfrm>
              <a:off x="7633115" y="3652581"/>
              <a:ext cx="3341593" cy="1212843"/>
              <a:chOff x="7633115" y="3652581"/>
              <a:chExt cx="3341593" cy="1212843"/>
            </a:xfrm>
          </p:grpSpPr>
          <p:sp>
            <p:nvSpPr>
              <p:cNvPr id="12" name="Rectangle: Rounded Corners 11">
                <a:extLst>
                  <a:ext uri="{FF2B5EF4-FFF2-40B4-BE49-F238E27FC236}">
                    <a16:creationId xmlns:a16="http://schemas.microsoft.com/office/drawing/2014/main" id="{2A42D013-F94C-8C8D-8B37-53DADBA9175E}"/>
                  </a:ext>
                </a:extLst>
              </p:cNvPr>
              <p:cNvSpPr/>
              <p:nvPr/>
            </p:nvSpPr>
            <p:spPr bwMode="auto">
              <a:xfrm>
                <a:off x="7633115" y="3652581"/>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Logo&#10;&#10;Description automatically generated">
                <a:extLst>
                  <a:ext uri="{FF2B5EF4-FFF2-40B4-BE49-F238E27FC236}">
                    <a16:creationId xmlns:a16="http://schemas.microsoft.com/office/drawing/2014/main" id="{1B5A5971-FD83-695C-D63D-96F712501CF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56118" y="3719685"/>
                <a:ext cx="2695586" cy="1078635"/>
              </a:xfrm>
              <a:prstGeom prst="rect">
                <a:avLst/>
              </a:prstGeom>
            </p:spPr>
          </p:pic>
        </p:grpSp>
        <p:grpSp>
          <p:nvGrpSpPr>
            <p:cNvPr id="22" name="Group 21">
              <a:extLst>
                <a:ext uri="{FF2B5EF4-FFF2-40B4-BE49-F238E27FC236}">
                  <a16:creationId xmlns:a16="http://schemas.microsoft.com/office/drawing/2014/main" id="{B994613B-4E62-9702-8618-B7BC7DC19C10}"/>
                </a:ext>
              </a:extLst>
            </p:cNvPr>
            <p:cNvGrpSpPr/>
            <p:nvPr/>
          </p:nvGrpSpPr>
          <p:grpSpPr>
            <a:xfrm>
              <a:off x="3631133" y="3627072"/>
              <a:ext cx="3341593" cy="1212843"/>
              <a:chOff x="3631133" y="3627072"/>
              <a:chExt cx="3341593" cy="1212843"/>
            </a:xfrm>
          </p:grpSpPr>
          <p:sp>
            <p:nvSpPr>
              <p:cNvPr id="20" name="Rectangle: Rounded Corners 19">
                <a:extLst>
                  <a:ext uri="{FF2B5EF4-FFF2-40B4-BE49-F238E27FC236}">
                    <a16:creationId xmlns:a16="http://schemas.microsoft.com/office/drawing/2014/main" id="{82B14202-77CC-A4E8-8DE6-C38465822434}"/>
                  </a:ext>
                </a:extLst>
              </p:cNvPr>
              <p:cNvSpPr/>
              <p:nvPr/>
            </p:nvSpPr>
            <p:spPr bwMode="auto">
              <a:xfrm>
                <a:off x="3631133" y="3627072"/>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A picture containing text, tableware, plate, dishware&#10;&#10;Description automatically generated">
                <a:extLst>
                  <a:ext uri="{FF2B5EF4-FFF2-40B4-BE49-F238E27FC236}">
                    <a16:creationId xmlns:a16="http://schemas.microsoft.com/office/drawing/2014/main" id="{001F0265-0267-2361-9ADC-00250A700E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7522" y="3851297"/>
                <a:ext cx="2488815" cy="877283"/>
              </a:xfrm>
              <a:prstGeom prst="rect">
                <a:avLst/>
              </a:prstGeom>
            </p:spPr>
          </p:pic>
        </p:grpSp>
      </p:grpSp>
      <p:grpSp>
        <p:nvGrpSpPr>
          <p:cNvPr id="31" name="Group 30">
            <a:extLst>
              <a:ext uri="{FF2B5EF4-FFF2-40B4-BE49-F238E27FC236}">
                <a16:creationId xmlns:a16="http://schemas.microsoft.com/office/drawing/2014/main" id="{E5ADC450-F1B2-7D8B-DEFD-FF518F3AF297}"/>
              </a:ext>
            </a:extLst>
          </p:cNvPr>
          <p:cNvGrpSpPr/>
          <p:nvPr/>
        </p:nvGrpSpPr>
        <p:grpSpPr>
          <a:xfrm>
            <a:off x="1712429" y="5260857"/>
            <a:ext cx="2784661" cy="1010703"/>
            <a:chOff x="2054914" y="6362187"/>
            <a:chExt cx="3341593" cy="1212843"/>
          </a:xfrm>
        </p:grpSpPr>
        <p:sp>
          <p:nvSpPr>
            <p:cNvPr id="28" name="Rectangle: Rounded Corners 27">
              <a:extLst>
                <a:ext uri="{FF2B5EF4-FFF2-40B4-BE49-F238E27FC236}">
                  <a16:creationId xmlns:a16="http://schemas.microsoft.com/office/drawing/2014/main" id="{4DDAFCA7-7416-DF3B-3649-947810881BAE}"/>
                </a:ext>
              </a:extLst>
            </p:cNvPr>
            <p:cNvSpPr/>
            <p:nvPr/>
          </p:nvSpPr>
          <p:spPr bwMode="auto">
            <a:xfrm>
              <a:off x="2054914" y="6362187"/>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A picture containing text, clipart, vector graphics&#10;&#10;Description automatically generated">
              <a:extLst>
                <a:ext uri="{FF2B5EF4-FFF2-40B4-BE49-F238E27FC236}">
                  <a16:creationId xmlns:a16="http://schemas.microsoft.com/office/drawing/2014/main" id="{4B799756-3772-C25F-8AF1-197D9C801C8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24646" y="6522343"/>
              <a:ext cx="2602129" cy="892530"/>
            </a:xfrm>
            <a:prstGeom prst="rect">
              <a:avLst/>
            </a:prstGeom>
          </p:spPr>
        </p:pic>
      </p:grpSp>
      <p:grpSp>
        <p:nvGrpSpPr>
          <p:cNvPr id="30" name="Group 29">
            <a:extLst>
              <a:ext uri="{FF2B5EF4-FFF2-40B4-BE49-F238E27FC236}">
                <a16:creationId xmlns:a16="http://schemas.microsoft.com/office/drawing/2014/main" id="{82852F02-B0DE-253F-3C98-6244EDE9EE94}"/>
              </a:ext>
            </a:extLst>
          </p:cNvPr>
          <p:cNvGrpSpPr/>
          <p:nvPr/>
        </p:nvGrpSpPr>
        <p:grpSpPr>
          <a:xfrm>
            <a:off x="7622835" y="5260857"/>
            <a:ext cx="2784661" cy="1010703"/>
            <a:chOff x="9147401" y="6362187"/>
            <a:chExt cx="3341593" cy="1212843"/>
          </a:xfrm>
        </p:grpSpPr>
        <p:sp>
          <p:nvSpPr>
            <p:cNvPr id="26" name="Rectangle: Rounded Corners 25">
              <a:extLst>
                <a:ext uri="{FF2B5EF4-FFF2-40B4-BE49-F238E27FC236}">
                  <a16:creationId xmlns:a16="http://schemas.microsoft.com/office/drawing/2014/main" id="{FD4763A9-7D3F-6DA6-60CC-E70CDE8EE682}"/>
                </a:ext>
              </a:extLst>
            </p:cNvPr>
            <p:cNvSpPr/>
            <p:nvPr/>
          </p:nvSpPr>
          <p:spPr bwMode="auto">
            <a:xfrm>
              <a:off x="9147401" y="6362187"/>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Logo&#10;&#10;Description automatically generated">
              <a:extLst>
                <a:ext uri="{FF2B5EF4-FFF2-40B4-BE49-F238E27FC236}">
                  <a16:creationId xmlns:a16="http://schemas.microsoft.com/office/drawing/2014/main" id="{91A45E6E-65E2-A232-86BC-0C878380BB1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85503" y="6362752"/>
              <a:ext cx="1665388" cy="1211713"/>
            </a:xfrm>
            <a:prstGeom prst="rect">
              <a:avLst/>
            </a:prstGeom>
          </p:spPr>
        </p:pic>
      </p:grpSp>
      <p:grpSp>
        <p:nvGrpSpPr>
          <p:cNvPr id="29" name="Group 28">
            <a:extLst>
              <a:ext uri="{FF2B5EF4-FFF2-40B4-BE49-F238E27FC236}">
                <a16:creationId xmlns:a16="http://schemas.microsoft.com/office/drawing/2014/main" id="{2BECB3D9-A2D8-363D-F2ED-24D7A27DBB8E}"/>
              </a:ext>
            </a:extLst>
          </p:cNvPr>
          <p:cNvGrpSpPr/>
          <p:nvPr/>
        </p:nvGrpSpPr>
        <p:grpSpPr>
          <a:xfrm>
            <a:off x="4667632" y="5131379"/>
            <a:ext cx="2784661" cy="1269657"/>
            <a:chOff x="5644402" y="6157655"/>
            <a:chExt cx="3341593" cy="1523588"/>
          </a:xfrm>
        </p:grpSpPr>
        <p:sp>
          <p:nvSpPr>
            <p:cNvPr id="27" name="Rectangle: Rounded Corners 26">
              <a:extLst>
                <a:ext uri="{FF2B5EF4-FFF2-40B4-BE49-F238E27FC236}">
                  <a16:creationId xmlns:a16="http://schemas.microsoft.com/office/drawing/2014/main" id="{69C96F41-6DB3-CFA4-A8A9-E651D1B424DB}"/>
                </a:ext>
              </a:extLst>
            </p:cNvPr>
            <p:cNvSpPr/>
            <p:nvPr/>
          </p:nvSpPr>
          <p:spPr bwMode="auto">
            <a:xfrm>
              <a:off x="5644402" y="6313028"/>
              <a:ext cx="3341593" cy="1212843"/>
            </a:xfrm>
            <a:prstGeom prst="round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Logo&#10;&#10;Description automatically generated">
              <a:extLst>
                <a:ext uri="{FF2B5EF4-FFF2-40B4-BE49-F238E27FC236}">
                  <a16:creationId xmlns:a16="http://schemas.microsoft.com/office/drawing/2014/main" id="{ACE63A88-AB55-9617-F1D6-917CF409179F}"/>
                </a:ext>
              </a:extLst>
            </p:cNvPr>
            <p:cNvPicPr>
              <a:picLocks noChangeAspect="1"/>
            </p:cNvPicPr>
            <p:nvPr/>
          </p:nvPicPr>
          <p:blipFill rotWithShape="1">
            <a:blip r:embed="rId7">
              <a:extLst>
                <a:ext uri="{28A0092B-C50C-407E-A947-70E740481C1C}">
                  <a14:useLocalDpi xmlns:a14="http://schemas.microsoft.com/office/drawing/2010/main" val="0"/>
                </a:ext>
              </a:extLst>
            </a:blip>
            <a:srcRect t="18360" b="24177"/>
            <a:stretch/>
          </p:blipFill>
          <p:spPr>
            <a:xfrm>
              <a:off x="5989498" y="6157655"/>
              <a:ext cx="2651400" cy="1523588"/>
            </a:xfrm>
            <a:prstGeom prst="rect">
              <a:avLst/>
            </a:prstGeom>
          </p:spPr>
        </p:pic>
      </p:grpSp>
    </p:spTree>
    <p:extLst>
      <p:ext uri="{BB962C8B-B14F-4D97-AF65-F5344CB8AC3E}">
        <p14:creationId xmlns:p14="http://schemas.microsoft.com/office/powerpoint/2010/main" val="35841959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131047" y="139897"/>
            <a:ext cx="99654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marL="0" marR="0" lvl="0" indent="0" algn="l" defTabSz="1243478"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sym typeface="Gill Sans" charset="0"/>
              </a:rPr>
              <a:t>Cloud native database</a:t>
            </a:r>
          </a:p>
        </p:txBody>
      </p:sp>
      <p:sp>
        <p:nvSpPr>
          <p:cNvPr id="58" name="Text Placeholder 2"/>
          <p:cNvSpPr txBox="1">
            <a:spLocks/>
          </p:cNvSpPr>
          <p:nvPr/>
        </p:nvSpPr>
        <p:spPr>
          <a:xfrm>
            <a:off x="3613378" y="5371194"/>
            <a:ext cx="11655079" cy="4175390"/>
          </a:xfrm>
          <a:prstGeom prst="rect">
            <a:avLst/>
          </a:prstGeom>
        </p:spPr>
        <p:txBody>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310869" marR="0" lvl="0" indent="-310869" algn="l" defTabSz="1243478" rtl="0" eaLnBrk="1" fontAlgn="auto" latinLnBrk="0" hangingPunct="1">
              <a:lnSpc>
                <a:spcPct val="90000"/>
              </a:lnSpc>
              <a:spcBef>
                <a:spcPts val="136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a:ln>
                <a:noFill/>
              </a:ln>
              <a:solidFill>
                <a:prstClr val="white"/>
              </a:solidFill>
              <a:effectLst/>
              <a:uLnTx/>
              <a:uFillTx/>
              <a:latin typeface="Calibri" panose="020F0502020204030204"/>
              <a:ea typeface="+mn-ea"/>
              <a:cs typeface="+mn-cs"/>
              <a:sym typeface="Gill Sans" charset="0"/>
            </a:endParaRPr>
          </a:p>
        </p:txBody>
      </p:sp>
      <p:grpSp>
        <p:nvGrpSpPr>
          <p:cNvPr id="6" name="Group 5"/>
          <p:cNvGrpSpPr/>
          <p:nvPr/>
        </p:nvGrpSpPr>
        <p:grpSpPr>
          <a:xfrm>
            <a:off x="-266700" y="3064236"/>
            <a:ext cx="12624650" cy="4260251"/>
            <a:chOff x="-533400" y="6128471"/>
            <a:chExt cx="25249299" cy="8520501"/>
          </a:xfrm>
        </p:grpSpPr>
        <p:grpSp>
          <p:nvGrpSpPr>
            <p:cNvPr id="75" name="Group 74"/>
            <p:cNvGrpSpPr/>
            <p:nvPr/>
          </p:nvGrpSpPr>
          <p:grpSpPr>
            <a:xfrm>
              <a:off x="-533400" y="6128471"/>
              <a:ext cx="25249299" cy="8520501"/>
              <a:chOff x="-608435" y="4060268"/>
              <a:chExt cx="11949156" cy="4345678"/>
            </a:xfrm>
          </p:grpSpPr>
          <p:sp>
            <p:nvSpPr>
              <p:cNvPr id="76" name="Freeform 611"/>
              <p:cNvSpPr>
                <a:spLocks/>
              </p:cNvSpPr>
              <p:nvPr/>
            </p:nvSpPr>
            <p:spPr bwMode="auto">
              <a:xfrm>
                <a:off x="-353974" y="4060268"/>
                <a:ext cx="11694695" cy="3876444"/>
              </a:xfrm>
              <a:custGeom>
                <a:avLst/>
                <a:gdLst>
                  <a:gd name="T0" fmla="*/ 0 w 4239"/>
                  <a:gd name="T1" fmla="*/ 587 h 1404"/>
                  <a:gd name="T2" fmla="*/ 4228 w 4239"/>
                  <a:gd name="T3" fmla="*/ 1374 h 1404"/>
                  <a:gd name="T4" fmla="*/ 4239 w 4239"/>
                  <a:gd name="T5" fmla="*/ 1404 h 1404"/>
                  <a:gd name="T6" fmla="*/ 3673 w 4239"/>
                  <a:gd name="T7" fmla="*/ 1381 h 1404"/>
                  <a:gd name="T8" fmla="*/ 4 w 4239"/>
                  <a:gd name="T9" fmla="*/ 1389 h 1404"/>
                  <a:gd name="T10" fmla="*/ 0 w 4239"/>
                  <a:gd name="T11" fmla="*/ 587 h 1404"/>
                </a:gdLst>
                <a:ahLst/>
                <a:cxnLst>
                  <a:cxn ang="0">
                    <a:pos x="T0" y="T1"/>
                  </a:cxn>
                  <a:cxn ang="0">
                    <a:pos x="T2" y="T3"/>
                  </a:cxn>
                  <a:cxn ang="0">
                    <a:pos x="T4" y="T5"/>
                  </a:cxn>
                  <a:cxn ang="0">
                    <a:pos x="T6" y="T7"/>
                  </a:cxn>
                  <a:cxn ang="0">
                    <a:pos x="T8" y="T9"/>
                  </a:cxn>
                  <a:cxn ang="0">
                    <a:pos x="T10" y="T11"/>
                  </a:cxn>
                </a:cxnLst>
                <a:rect l="0" t="0" r="r" b="b"/>
                <a:pathLst>
                  <a:path w="4239" h="1404">
                    <a:moveTo>
                      <a:pt x="0" y="587"/>
                    </a:moveTo>
                    <a:cubicBezTo>
                      <a:pt x="0" y="587"/>
                      <a:pt x="2987" y="0"/>
                      <a:pt x="4228" y="1374"/>
                    </a:cubicBezTo>
                    <a:cubicBezTo>
                      <a:pt x="4228" y="1374"/>
                      <a:pt x="4236" y="1341"/>
                      <a:pt x="4239" y="1404"/>
                    </a:cubicBezTo>
                    <a:cubicBezTo>
                      <a:pt x="4032" y="1382"/>
                      <a:pt x="3673" y="1381"/>
                      <a:pt x="3673" y="1381"/>
                    </a:cubicBezTo>
                    <a:cubicBezTo>
                      <a:pt x="4" y="1389"/>
                      <a:pt x="4" y="1389"/>
                      <a:pt x="4" y="1389"/>
                    </a:cubicBezTo>
                    <a:cubicBezTo>
                      <a:pt x="0" y="587"/>
                      <a:pt x="0" y="587"/>
                      <a:pt x="0" y="587"/>
                    </a:cubicBezTo>
                  </a:path>
                </a:pathLst>
              </a:custGeom>
              <a:solidFill>
                <a:schemeClr val="tx2">
                  <a:lumMod val="75000"/>
                </a:schemeClr>
              </a:solidFill>
              <a:ln>
                <a:noFill/>
              </a:ln>
            </p:spPr>
            <p:txBody>
              <a:bodyPr vert="horz" wrap="square" lIns="89643" tIns="44822" rIns="89643" bIns="44822" numCol="1" anchor="t" anchorCtr="0" compatLnSpc="1">
                <a:prstTxWarp prst="textNoShape">
                  <a:avLst/>
                </a:prstTxWarp>
              </a:bodyPr>
              <a:lstStyle/>
              <a:p>
                <a:pPr marL="0" marR="0" lvl="0" indent="0" algn="l" defTabSz="914348"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a:ln>
                    <a:noFill/>
                  </a:ln>
                  <a:solidFill>
                    <a:prstClr val="black"/>
                  </a:solidFill>
                  <a:effectLst/>
                  <a:uLnTx/>
                  <a:uFillTx/>
                  <a:latin typeface="Calibri" panose="020F0502020204030204"/>
                  <a:ea typeface="Heiti SC Light" charset="-122"/>
                  <a:cs typeface="+mn-cs"/>
                  <a:sym typeface="Gill Sans" charset="0"/>
                </a:endParaRPr>
              </a:p>
            </p:txBody>
          </p:sp>
          <p:sp>
            <p:nvSpPr>
              <p:cNvPr id="77" name="Freeform 614"/>
              <p:cNvSpPr>
                <a:spLocks noEditPoints="1"/>
              </p:cNvSpPr>
              <p:nvPr/>
            </p:nvSpPr>
            <p:spPr bwMode="auto">
              <a:xfrm>
                <a:off x="1000038" y="5471475"/>
                <a:ext cx="5905127" cy="2368353"/>
              </a:xfrm>
              <a:custGeom>
                <a:avLst/>
                <a:gdLst>
                  <a:gd name="T0" fmla="*/ 16 w 2140"/>
                  <a:gd name="T1" fmla="*/ 7 h 858"/>
                  <a:gd name="T2" fmla="*/ 82 w 2140"/>
                  <a:gd name="T3" fmla="*/ 4 h 858"/>
                  <a:gd name="T4" fmla="*/ 113 w 2140"/>
                  <a:gd name="T5" fmla="*/ 3 h 858"/>
                  <a:gd name="T6" fmla="*/ 148 w 2140"/>
                  <a:gd name="T7" fmla="*/ 0 h 858"/>
                  <a:gd name="T8" fmla="*/ 214 w 2140"/>
                  <a:gd name="T9" fmla="*/ 9 h 858"/>
                  <a:gd name="T10" fmla="*/ 178 w 2140"/>
                  <a:gd name="T11" fmla="*/ 4 h 858"/>
                  <a:gd name="T12" fmla="*/ 284 w 2140"/>
                  <a:gd name="T13" fmla="*/ 8 h 858"/>
                  <a:gd name="T14" fmla="*/ 312 w 2140"/>
                  <a:gd name="T15" fmla="*/ 15 h 858"/>
                  <a:gd name="T16" fmla="*/ 313 w 2140"/>
                  <a:gd name="T17" fmla="*/ 6 h 858"/>
                  <a:gd name="T18" fmla="*/ 410 w 2140"/>
                  <a:gd name="T19" fmla="*/ 26 h 858"/>
                  <a:gd name="T20" fmla="*/ 437 w 2140"/>
                  <a:gd name="T21" fmla="*/ 23 h 858"/>
                  <a:gd name="T22" fmla="*/ 477 w 2140"/>
                  <a:gd name="T23" fmla="*/ 22 h 858"/>
                  <a:gd name="T24" fmla="*/ 540 w 2140"/>
                  <a:gd name="T25" fmla="*/ 45 h 858"/>
                  <a:gd name="T26" fmla="*/ 502 w 2140"/>
                  <a:gd name="T27" fmla="*/ 32 h 858"/>
                  <a:gd name="T28" fmla="*/ 613 w 2140"/>
                  <a:gd name="T29" fmla="*/ 50 h 858"/>
                  <a:gd name="T30" fmla="*/ 637 w 2140"/>
                  <a:gd name="T31" fmla="*/ 63 h 858"/>
                  <a:gd name="T32" fmla="*/ 640 w 2140"/>
                  <a:gd name="T33" fmla="*/ 48 h 858"/>
                  <a:gd name="T34" fmla="*/ 733 w 2140"/>
                  <a:gd name="T35" fmla="*/ 84 h 858"/>
                  <a:gd name="T36" fmla="*/ 759 w 2140"/>
                  <a:gd name="T37" fmla="*/ 81 h 858"/>
                  <a:gd name="T38" fmla="*/ 801 w 2140"/>
                  <a:gd name="T39" fmla="*/ 83 h 858"/>
                  <a:gd name="T40" fmla="*/ 860 w 2140"/>
                  <a:gd name="T41" fmla="*/ 117 h 858"/>
                  <a:gd name="T42" fmla="*/ 822 w 2140"/>
                  <a:gd name="T43" fmla="*/ 97 h 858"/>
                  <a:gd name="T44" fmla="*/ 935 w 2140"/>
                  <a:gd name="T45" fmla="*/ 129 h 858"/>
                  <a:gd name="T46" fmla="*/ 954 w 2140"/>
                  <a:gd name="T47" fmla="*/ 145 h 858"/>
                  <a:gd name="T48" fmla="*/ 960 w 2140"/>
                  <a:gd name="T49" fmla="*/ 127 h 858"/>
                  <a:gd name="T50" fmla="*/ 1048 w 2140"/>
                  <a:gd name="T51" fmla="*/ 176 h 858"/>
                  <a:gd name="T52" fmla="*/ 1073 w 2140"/>
                  <a:gd name="T53" fmla="*/ 175 h 858"/>
                  <a:gd name="T54" fmla="*/ 1116 w 2140"/>
                  <a:gd name="T55" fmla="*/ 181 h 858"/>
                  <a:gd name="T56" fmla="*/ 1170 w 2140"/>
                  <a:gd name="T57" fmla="*/ 222 h 858"/>
                  <a:gd name="T58" fmla="*/ 1135 w 2140"/>
                  <a:gd name="T59" fmla="*/ 198 h 858"/>
                  <a:gd name="T60" fmla="*/ 1243 w 2140"/>
                  <a:gd name="T61" fmla="*/ 243 h 858"/>
                  <a:gd name="T62" fmla="*/ 1256 w 2140"/>
                  <a:gd name="T63" fmla="*/ 249 h 858"/>
                  <a:gd name="T64" fmla="*/ 1269 w 2140"/>
                  <a:gd name="T65" fmla="*/ 244 h 858"/>
                  <a:gd name="T66" fmla="*/ 1350 w 2140"/>
                  <a:gd name="T67" fmla="*/ 302 h 858"/>
                  <a:gd name="T68" fmla="*/ 1388 w 2140"/>
                  <a:gd name="T69" fmla="*/ 301 h 858"/>
                  <a:gd name="T70" fmla="*/ 1417 w 2140"/>
                  <a:gd name="T71" fmla="*/ 316 h 858"/>
                  <a:gd name="T72" fmla="*/ 1438 w 2140"/>
                  <a:gd name="T73" fmla="*/ 347 h 858"/>
                  <a:gd name="T74" fmla="*/ 1447 w 2140"/>
                  <a:gd name="T75" fmla="*/ 331 h 858"/>
                  <a:gd name="T76" fmla="*/ 1536 w 2140"/>
                  <a:gd name="T77" fmla="*/ 391 h 858"/>
                  <a:gd name="T78" fmla="*/ 1550 w 2140"/>
                  <a:gd name="T79" fmla="*/ 399 h 858"/>
                  <a:gd name="T80" fmla="*/ 1562 w 2140"/>
                  <a:gd name="T81" fmla="*/ 396 h 858"/>
                  <a:gd name="T82" fmla="*/ 1637 w 2140"/>
                  <a:gd name="T83" fmla="*/ 461 h 858"/>
                  <a:gd name="T84" fmla="*/ 1673 w 2140"/>
                  <a:gd name="T85" fmla="*/ 466 h 858"/>
                  <a:gd name="T86" fmla="*/ 1701 w 2140"/>
                  <a:gd name="T87" fmla="*/ 485 h 858"/>
                  <a:gd name="T88" fmla="*/ 1720 w 2140"/>
                  <a:gd name="T89" fmla="*/ 515 h 858"/>
                  <a:gd name="T90" fmla="*/ 1728 w 2140"/>
                  <a:gd name="T91" fmla="*/ 504 h 858"/>
                  <a:gd name="T92" fmla="*/ 1809 w 2140"/>
                  <a:gd name="T93" fmla="*/ 570 h 858"/>
                  <a:gd name="T94" fmla="*/ 1826 w 2140"/>
                  <a:gd name="T95" fmla="*/ 583 h 858"/>
                  <a:gd name="T96" fmla="*/ 1834 w 2140"/>
                  <a:gd name="T97" fmla="*/ 582 h 858"/>
                  <a:gd name="T98" fmla="*/ 1905 w 2140"/>
                  <a:gd name="T99" fmla="*/ 651 h 858"/>
                  <a:gd name="T100" fmla="*/ 1937 w 2140"/>
                  <a:gd name="T101" fmla="*/ 665 h 858"/>
                  <a:gd name="T102" fmla="*/ 1962 w 2140"/>
                  <a:gd name="T103" fmla="*/ 687 h 858"/>
                  <a:gd name="T104" fmla="*/ 1982 w 2140"/>
                  <a:gd name="T105" fmla="*/ 714 h 858"/>
                  <a:gd name="T106" fmla="*/ 1986 w 2140"/>
                  <a:gd name="T107" fmla="*/ 708 h 858"/>
                  <a:gd name="T108" fmla="*/ 2059 w 2140"/>
                  <a:gd name="T109" fmla="*/ 778 h 858"/>
                  <a:gd name="T110" fmla="*/ 2080 w 2140"/>
                  <a:gd name="T111" fmla="*/ 799 h 858"/>
                  <a:gd name="T112" fmla="*/ 2082 w 2140"/>
                  <a:gd name="T113" fmla="*/ 799 h 858"/>
                  <a:gd name="T114" fmla="*/ 2140 w 2140"/>
                  <a:gd name="T115" fmla="*/ 85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0" h="858">
                    <a:moveTo>
                      <a:pt x="0" y="7"/>
                    </a:moveTo>
                    <a:cubicBezTo>
                      <a:pt x="16" y="6"/>
                      <a:pt x="16" y="6"/>
                      <a:pt x="16" y="6"/>
                    </a:cubicBezTo>
                    <a:cubicBezTo>
                      <a:pt x="17" y="6"/>
                      <a:pt x="17" y="6"/>
                      <a:pt x="17" y="6"/>
                    </a:cubicBezTo>
                    <a:cubicBezTo>
                      <a:pt x="16" y="7"/>
                      <a:pt x="16" y="7"/>
                      <a:pt x="16" y="7"/>
                    </a:cubicBezTo>
                    <a:cubicBezTo>
                      <a:pt x="16" y="7"/>
                      <a:pt x="16" y="7"/>
                      <a:pt x="16" y="7"/>
                    </a:cubicBezTo>
                    <a:cubicBezTo>
                      <a:pt x="0" y="7"/>
                      <a:pt x="0" y="7"/>
                      <a:pt x="0" y="7"/>
                    </a:cubicBezTo>
                    <a:moveTo>
                      <a:pt x="48" y="4"/>
                    </a:moveTo>
                    <a:cubicBezTo>
                      <a:pt x="48" y="4"/>
                      <a:pt x="49" y="5"/>
                      <a:pt x="49" y="5"/>
                    </a:cubicBezTo>
                    <a:cubicBezTo>
                      <a:pt x="82" y="4"/>
                      <a:pt x="82" y="4"/>
                      <a:pt x="82" y="4"/>
                    </a:cubicBezTo>
                    <a:cubicBezTo>
                      <a:pt x="82" y="4"/>
                      <a:pt x="82" y="4"/>
                      <a:pt x="82" y="4"/>
                    </a:cubicBezTo>
                    <a:cubicBezTo>
                      <a:pt x="83" y="4"/>
                      <a:pt x="84" y="3"/>
                      <a:pt x="84" y="3"/>
                    </a:cubicBezTo>
                    <a:cubicBezTo>
                      <a:pt x="84" y="2"/>
                      <a:pt x="83" y="1"/>
                      <a:pt x="82" y="1"/>
                    </a:cubicBezTo>
                    <a:cubicBezTo>
                      <a:pt x="49" y="3"/>
                      <a:pt x="49" y="3"/>
                      <a:pt x="49" y="3"/>
                    </a:cubicBezTo>
                    <a:cubicBezTo>
                      <a:pt x="49" y="3"/>
                      <a:pt x="48" y="3"/>
                      <a:pt x="48" y="4"/>
                    </a:cubicBezTo>
                    <a:moveTo>
                      <a:pt x="113" y="3"/>
                    </a:moveTo>
                    <a:cubicBezTo>
                      <a:pt x="113" y="4"/>
                      <a:pt x="114" y="5"/>
                      <a:pt x="115" y="5"/>
                    </a:cubicBezTo>
                    <a:cubicBezTo>
                      <a:pt x="148" y="7"/>
                      <a:pt x="148" y="7"/>
                      <a:pt x="148" y="7"/>
                    </a:cubicBezTo>
                    <a:cubicBezTo>
                      <a:pt x="148" y="7"/>
                      <a:pt x="148" y="7"/>
                      <a:pt x="148" y="7"/>
                    </a:cubicBezTo>
                    <a:cubicBezTo>
                      <a:pt x="149" y="7"/>
                      <a:pt x="151" y="5"/>
                      <a:pt x="150" y="3"/>
                    </a:cubicBezTo>
                    <a:cubicBezTo>
                      <a:pt x="150" y="2"/>
                      <a:pt x="149" y="0"/>
                      <a:pt x="148" y="0"/>
                    </a:cubicBezTo>
                    <a:cubicBezTo>
                      <a:pt x="115" y="1"/>
                      <a:pt x="115" y="1"/>
                      <a:pt x="115" y="1"/>
                    </a:cubicBezTo>
                    <a:cubicBezTo>
                      <a:pt x="114" y="1"/>
                      <a:pt x="113" y="2"/>
                      <a:pt x="113" y="3"/>
                    </a:cubicBezTo>
                    <a:moveTo>
                      <a:pt x="178" y="4"/>
                    </a:moveTo>
                    <a:cubicBezTo>
                      <a:pt x="178" y="5"/>
                      <a:pt x="179" y="7"/>
                      <a:pt x="181" y="7"/>
                    </a:cubicBezTo>
                    <a:cubicBezTo>
                      <a:pt x="214" y="9"/>
                      <a:pt x="214" y="9"/>
                      <a:pt x="214" y="9"/>
                    </a:cubicBezTo>
                    <a:cubicBezTo>
                      <a:pt x="214" y="9"/>
                      <a:pt x="214" y="9"/>
                      <a:pt x="214" y="9"/>
                    </a:cubicBezTo>
                    <a:cubicBezTo>
                      <a:pt x="216" y="9"/>
                      <a:pt x="217" y="7"/>
                      <a:pt x="217" y="5"/>
                    </a:cubicBezTo>
                    <a:cubicBezTo>
                      <a:pt x="217" y="3"/>
                      <a:pt x="216" y="1"/>
                      <a:pt x="214" y="1"/>
                    </a:cubicBezTo>
                    <a:cubicBezTo>
                      <a:pt x="181" y="0"/>
                      <a:pt x="181" y="0"/>
                      <a:pt x="181" y="0"/>
                    </a:cubicBezTo>
                    <a:cubicBezTo>
                      <a:pt x="179" y="0"/>
                      <a:pt x="178" y="2"/>
                      <a:pt x="178" y="4"/>
                    </a:cubicBezTo>
                    <a:moveTo>
                      <a:pt x="243" y="6"/>
                    </a:moveTo>
                    <a:cubicBezTo>
                      <a:pt x="243" y="8"/>
                      <a:pt x="244" y="10"/>
                      <a:pt x="246" y="10"/>
                    </a:cubicBezTo>
                    <a:cubicBezTo>
                      <a:pt x="279" y="12"/>
                      <a:pt x="279" y="12"/>
                      <a:pt x="279" y="12"/>
                    </a:cubicBezTo>
                    <a:cubicBezTo>
                      <a:pt x="279" y="12"/>
                      <a:pt x="279" y="12"/>
                      <a:pt x="279" y="12"/>
                    </a:cubicBezTo>
                    <a:cubicBezTo>
                      <a:pt x="282" y="13"/>
                      <a:pt x="284" y="11"/>
                      <a:pt x="284" y="8"/>
                    </a:cubicBezTo>
                    <a:cubicBezTo>
                      <a:pt x="284" y="6"/>
                      <a:pt x="282" y="4"/>
                      <a:pt x="280" y="4"/>
                    </a:cubicBezTo>
                    <a:cubicBezTo>
                      <a:pt x="247" y="2"/>
                      <a:pt x="247" y="2"/>
                      <a:pt x="247" y="2"/>
                    </a:cubicBezTo>
                    <a:cubicBezTo>
                      <a:pt x="245" y="2"/>
                      <a:pt x="243" y="4"/>
                      <a:pt x="243" y="6"/>
                    </a:cubicBezTo>
                    <a:moveTo>
                      <a:pt x="308" y="10"/>
                    </a:moveTo>
                    <a:cubicBezTo>
                      <a:pt x="307" y="13"/>
                      <a:pt x="309" y="15"/>
                      <a:pt x="312" y="15"/>
                    </a:cubicBezTo>
                    <a:cubicBezTo>
                      <a:pt x="345" y="18"/>
                      <a:pt x="345" y="18"/>
                      <a:pt x="345" y="18"/>
                    </a:cubicBezTo>
                    <a:cubicBezTo>
                      <a:pt x="345" y="18"/>
                      <a:pt x="345" y="18"/>
                      <a:pt x="345" y="18"/>
                    </a:cubicBezTo>
                    <a:cubicBezTo>
                      <a:pt x="348" y="19"/>
                      <a:pt x="350" y="16"/>
                      <a:pt x="350" y="14"/>
                    </a:cubicBezTo>
                    <a:cubicBezTo>
                      <a:pt x="351" y="11"/>
                      <a:pt x="348" y="8"/>
                      <a:pt x="346" y="8"/>
                    </a:cubicBezTo>
                    <a:cubicBezTo>
                      <a:pt x="313" y="6"/>
                      <a:pt x="313" y="6"/>
                      <a:pt x="313" y="6"/>
                    </a:cubicBezTo>
                    <a:cubicBezTo>
                      <a:pt x="310" y="5"/>
                      <a:pt x="308" y="7"/>
                      <a:pt x="308" y="10"/>
                    </a:cubicBezTo>
                    <a:moveTo>
                      <a:pt x="372" y="16"/>
                    </a:moveTo>
                    <a:cubicBezTo>
                      <a:pt x="372" y="19"/>
                      <a:pt x="374" y="22"/>
                      <a:pt x="377" y="22"/>
                    </a:cubicBezTo>
                    <a:cubicBezTo>
                      <a:pt x="410" y="26"/>
                      <a:pt x="410" y="26"/>
                      <a:pt x="410" y="26"/>
                    </a:cubicBezTo>
                    <a:cubicBezTo>
                      <a:pt x="410" y="26"/>
                      <a:pt x="410" y="26"/>
                      <a:pt x="410" y="26"/>
                    </a:cubicBezTo>
                    <a:cubicBezTo>
                      <a:pt x="413" y="26"/>
                      <a:pt x="416" y="24"/>
                      <a:pt x="417" y="20"/>
                    </a:cubicBezTo>
                    <a:cubicBezTo>
                      <a:pt x="417" y="17"/>
                      <a:pt x="414" y="14"/>
                      <a:pt x="411" y="14"/>
                    </a:cubicBezTo>
                    <a:cubicBezTo>
                      <a:pt x="378" y="11"/>
                      <a:pt x="378" y="11"/>
                      <a:pt x="378" y="11"/>
                    </a:cubicBezTo>
                    <a:cubicBezTo>
                      <a:pt x="375" y="11"/>
                      <a:pt x="373" y="13"/>
                      <a:pt x="372" y="16"/>
                    </a:cubicBezTo>
                    <a:moveTo>
                      <a:pt x="437" y="23"/>
                    </a:moveTo>
                    <a:cubicBezTo>
                      <a:pt x="437" y="26"/>
                      <a:pt x="439" y="30"/>
                      <a:pt x="442" y="30"/>
                    </a:cubicBezTo>
                    <a:cubicBezTo>
                      <a:pt x="475" y="35"/>
                      <a:pt x="475" y="35"/>
                      <a:pt x="475" y="35"/>
                    </a:cubicBezTo>
                    <a:cubicBezTo>
                      <a:pt x="475" y="35"/>
                      <a:pt x="475" y="35"/>
                      <a:pt x="475" y="35"/>
                    </a:cubicBezTo>
                    <a:cubicBezTo>
                      <a:pt x="479" y="35"/>
                      <a:pt x="482" y="33"/>
                      <a:pt x="483" y="29"/>
                    </a:cubicBezTo>
                    <a:cubicBezTo>
                      <a:pt x="483" y="25"/>
                      <a:pt x="480" y="22"/>
                      <a:pt x="477" y="22"/>
                    </a:cubicBezTo>
                    <a:cubicBezTo>
                      <a:pt x="444" y="18"/>
                      <a:pt x="444" y="18"/>
                      <a:pt x="444" y="18"/>
                    </a:cubicBezTo>
                    <a:cubicBezTo>
                      <a:pt x="441" y="17"/>
                      <a:pt x="438" y="20"/>
                      <a:pt x="437" y="23"/>
                    </a:cubicBezTo>
                    <a:moveTo>
                      <a:pt x="502" y="32"/>
                    </a:moveTo>
                    <a:cubicBezTo>
                      <a:pt x="501" y="35"/>
                      <a:pt x="504" y="39"/>
                      <a:pt x="507" y="40"/>
                    </a:cubicBezTo>
                    <a:cubicBezTo>
                      <a:pt x="540" y="45"/>
                      <a:pt x="540" y="45"/>
                      <a:pt x="540" y="45"/>
                    </a:cubicBezTo>
                    <a:cubicBezTo>
                      <a:pt x="540" y="45"/>
                      <a:pt x="540" y="45"/>
                      <a:pt x="540" y="45"/>
                    </a:cubicBezTo>
                    <a:cubicBezTo>
                      <a:pt x="544" y="45"/>
                      <a:pt x="548" y="43"/>
                      <a:pt x="548" y="39"/>
                    </a:cubicBezTo>
                    <a:cubicBezTo>
                      <a:pt x="549" y="35"/>
                      <a:pt x="546" y="31"/>
                      <a:pt x="542" y="31"/>
                    </a:cubicBezTo>
                    <a:cubicBezTo>
                      <a:pt x="510" y="26"/>
                      <a:pt x="510" y="26"/>
                      <a:pt x="510" y="26"/>
                    </a:cubicBezTo>
                    <a:cubicBezTo>
                      <a:pt x="506" y="26"/>
                      <a:pt x="502" y="28"/>
                      <a:pt x="502" y="32"/>
                    </a:cubicBezTo>
                    <a:moveTo>
                      <a:pt x="566" y="42"/>
                    </a:moveTo>
                    <a:cubicBezTo>
                      <a:pt x="566" y="46"/>
                      <a:pt x="568" y="50"/>
                      <a:pt x="572" y="50"/>
                    </a:cubicBezTo>
                    <a:cubicBezTo>
                      <a:pt x="605" y="56"/>
                      <a:pt x="605" y="56"/>
                      <a:pt x="605" y="56"/>
                    </a:cubicBezTo>
                    <a:cubicBezTo>
                      <a:pt x="605" y="56"/>
                      <a:pt x="605" y="56"/>
                      <a:pt x="605" y="56"/>
                    </a:cubicBezTo>
                    <a:cubicBezTo>
                      <a:pt x="609" y="57"/>
                      <a:pt x="613" y="54"/>
                      <a:pt x="613" y="50"/>
                    </a:cubicBezTo>
                    <a:cubicBezTo>
                      <a:pt x="614" y="46"/>
                      <a:pt x="611" y="42"/>
                      <a:pt x="607" y="42"/>
                    </a:cubicBezTo>
                    <a:cubicBezTo>
                      <a:pt x="575" y="36"/>
                      <a:pt x="575" y="36"/>
                      <a:pt x="575" y="36"/>
                    </a:cubicBezTo>
                    <a:cubicBezTo>
                      <a:pt x="571" y="35"/>
                      <a:pt x="567" y="38"/>
                      <a:pt x="566" y="42"/>
                    </a:cubicBezTo>
                    <a:moveTo>
                      <a:pt x="631" y="54"/>
                    </a:moveTo>
                    <a:cubicBezTo>
                      <a:pt x="630" y="58"/>
                      <a:pt x="633" y="62"/>
                      <a:pt x="637" y="63"/>
                    </a:cubicBezTo>
                    <a:cubicBezTo>
                      <a:pt x="669" y="70"/>
                      <a:pt x="669" y="70"/>
                      <a:pt x="669" y="70"/>
                    </a:cubicBezTo>
                    <a:cubicBezTo>
                      <a:pt x="669" y="70"/>
                      <a:pt x="669" y="70"/>
                      <a:pt x="669" y="70"/>
                    </a:cubicBezTo>
                    <a:cubicBezTo>
                      <a:pt x="673" y="70"/>
                      <a:pt x="678" y="68"/>
                      <a:pt x="678" y="63"/>
                    </a:cubicBezTo>
                    <a:cubicBezTo>
                      <a:pt x="679" y="59"/>
                      <a:pt x="676" y="55"/>
                      <a:pt x="672" y="54"/>
                    </a:cubicBezTo>
                    <a:cubicBezTo>
                      <a:pt x="640" y="48"/>
                      <a:pt x="640" y="48"/>
                      <a:pt x="640" y="48"/>
                    </a:cubicBezTo>
                    <a:cubicBezTo>
                      <a:pt x="636" y="47"/>
                      <a:pt x="632" y="49"/>
                      <a:pt x="631" y="54"/>
                    </a:cubicBezTo>
                    <a:moveTo>
                      <a:pt x="695" y="67"/>
                    </a:moveTo>
                    <a:cubicBezTo>
                      <a:pt x="694" y="71"/>
                      <a:pt x="697" y="76"/>
                      <a:pt x="701" y="77"/>
                    </a:cubicBezTo>
                    <a:cubicBezTo>
                      <a:pt x="733" y="84"/>
                      <a:pt x="733" y="84"/>
                      <a:pt x="733" y="84"/>
                    </a:cubicBezTo>
                    <a:cubicBezTo>
                      <a:pt x="733" y="84"/>
                      <a:pt x="733" y="84"/>
                      <a:pt x="733" y="84"/>
                    </a:cubicBezTo>
                    <a:cubicBezTo>
                      <a:pt x="738" y="85"/>
                      <a:pt x="742" y="82"/>
                      <a:pt x="743" y="78"/>
                    </a:cubicBezTo>
                    <a:cubicBezTo>
                      <a:pt x="744" y="73"/>
                      <a:pt x="741" y="69"/>
                      <a:pt x="737" y="68"/>
                    </a:cubicBezTo>
                    <a:cubicBezTo>
                      <a:pt x="705" y="61"/>
                      <a:pt x="705" y="61"/>
                      <a:pt x="705" y="61"/>
                    </a:cubicBezTo>
                    <a:cubicBezTo>
                      <a:pt x="700" y="60"/>
                      <a:pt x="696" y="62"/>
                      <a:pt x="695" y="67"/>
                    </a:cubicBezTo>
                    <a:moveTo>
                      <a:pt x="759" y="81"/>
                    </a:moveTo>
                    <a:cubicBezTo>
                      <a:pt x="758" y="86"/>
                      <a:pt x="760" y="90"/>
                      <a:pt x="765" y="92"/>
                    </a:cubicBezTo>
                    <a:cubicBezTo>
                      <a:pt x="797" y="100"/>
                      <a:pt x="797" y="100"/>
                      <a:pt x="797" y="100"/>
                    </a:cubicBezTo>
                    <a:cubicBezTo>
                      <a:pt x="797" y="100"/>
                      <a:pt x="797" y="100"/>
                      <a:pt x="797" y="100"/>
                    </a:cubicBezTo>
                    <a:cubicBezTo>
                      <a:pt x="801" y="101"/>
                      <a:pt x="806" y="98"/>
                      <a:pt x="807" y="93"/>
                    </a:cubicBezTo>
                    <a:cubicBezTo>
                      <a:pt x="808" y="89"/>
                      <a:pt x="806" y="84"/>
                      <a:pt x="801" y="83"/>
                    </a:cubicBezTo>
                    <a:cubicBezTo>
                      <a:pt x="769" y="75"/>
                      <a:pt x="769" y="75"/>
                      <a:pt x="769" y="75"/>
                    </a:cubicBezTo>
                    <a:cubicBezTo>
                      <a:pt x="764" y="74"/>
                      <a:pt x="760" y="77"/>
                      <a:pt x="759" y="81"/>
                    </a:cubicBezTo>
                    <a:moveTo>
                      <a:pt x="822" y="97"/>
                    </a:moveTo>
                    <a:cubicBezTo>
                      <a:pt x="821" y="102"/>
                      <a:pt x="824" y="107"/>
                      <a:pt x="828" y="108"/>
                    </a:cubicBezTo>
                    <a:cubicBezTo>
                      <a:pt x="860" y="117"/>
                      <a:pt x="860" y="117"/>
                      <a:pt x="860" y="117"/>
                    </a:cubicBezTo>
                    <a:cubicBezTo>
                      <a:pt x="860" y="117"/>
                      <a:pt x="860" y="117"/>
                      <a:pt x="860" y="117"/>
                    </a:cubicBezTo>
                    <a:cubicBezTo>
                      <a:pt x="865" y="118"/>
                      <a:pt x="870" y="115"/>
                      <a:pt x="871" y="110"/>
                    </a:cubicBezTo>
                    <a:cubicBezTo>
                      <a:pt x="872" y="106"/>
                      <a:pt x="870" y="101"/>
                      <a:pt x="865" y="100"/>
                    </a:cubicBezTo>
                    <a:cubicBezTo>
                      <a:pt x="833" y="91"/>
                      <a:pt x="833" y="91"/>
                      <a:pt x="833" y="91"/>
                    </a:cubicBezTo>
                    <a:cubicBezTo>
                      <a:pt x="828" y="90"/>
                      <a:pt x="824" y="93"/>
                      <a:pt x="822" y="97"/>
                    </a:cubicBezTo>
                    <a:moveTo>
                      <a:pt x="885" y="115"/>
                    </a:moveTo>
                    <a:cubicBezTo>
                      <a:pt x="884" y="119"/>
                      <a:pt x="887" y="124"/>
                      <a:pt x="892" y="126"/>
                    </a:cubicBezTo>
                    <a:cubicBezTo>
                      <a:pt x="923" y="135"/>
                      <a:pt x="923" y="135"/>
                      <a:pt x="923" y="135"/>
                    </a:cubicBezTo>
                    <a:cubicBezTo>
                      <a:pt x="923" y="135"/>
                      <a:pt x="923" y="135"/>
                      <a:pt x="923" y="135"/>
                    </a:cubicBezTo>
                    <a:cubicBezTo>
                      <a:pt x="928" y="137"/>
                      <a:pt x="933" y="134"/>
                      <a:pt x="935" y="129"/>
                    </a:cubicBezTo>
                    <a:cubicBezTo>
                      <a:pt x="936" y="124"/>
                      <a:pt x="933" y="119"/>
                      <a:pt x="928" y="118"/>
                    </a:cubicBezTo>
                    <a:cubicBezTo>
                      <a:pt x="897" y="108"/>
                      <a:pt x="897" y="108"/>
                      <a:pt x="897" y="108"/>
                    </a:cubicBezTo>
                    <a:cubicBezTo>
                      <a:pt x="892" y="107"/>
                      <a:pt x="887" y="110"/>
                      <a:pt x="885" y="115"/>
                    </a:cubicBezTo>
                    <a:moveTo>
                      <a:pt x="948" y="133"/>
                    </a:moveTo>
                    <a:cubicBezTo>
                      <a:pt x="947" y="138"/>
                      <a:pt x="949" y="143"/>
                      <a:pt x="954" y="145"/>
                    </a:cubicBezTo>
                    <a:cubicBezTo>
                      <a:pt x="986" y="155"/>
                      <a:pt x="986" y="155"/>
                      <a:pt x="986" y="155"/>
                    </a:cubicBezTo>
                    <a:cubicBezTo>
                      <a:pt x="986" y="155"/>
                      <a:pt x="986" y="155"/>
                      <a:pt x="986" y="155"/>
                    </a:cubicBezTo>
                    <a:cubicBezTo>
                      <a:pt x="991" y="157"/>
                      <a:pt x="996" y="154"/>
                      <a:pt x="997" y="149"/>
                    </a:cubicBezTo>
                    <a:cubicBezTo>
                      <a:pt x="999" y="144"/>
                      <a:pt x="996" y="139"/>
                      <a:pt x="991" y="137"/>
                    </a:cubicBezTo>
                    <a:cubicBezTo>
                      <a:pt x="960" y="127"/>
                      <a:pt x="960" y="127"/>
                      <a:pt x="960" y="127"/>
                    </a:cubicBezTo>
                    <a:cubicBezTo>
                      <a:pt x="955" y="126"/>
                      <a:pt x="950" y="129"/>
                      <a:pt x="948" y="133"/>
                    </a:cubicBezTo>
                    <a:moveTo>
                      <a:pt x="1011" y="154"/>
                    </a:moveTo>
                    <a:cubicBezTo>
                      <a:pt x="1009" y="158"/>
                      <a:pt x="1012" y="164"/>
                      <a:pt x="1017" y="165"/>
                    </a:cubicBezTo>
                    <a:cubicBezTo>
                      <a:pt x="1048" y="176"/>
                      <a:pt x="1048" y="176"/>
                      <a:pt x="1048" y="176"/>
                    </a:cubicBezTo>
                    <a:cubicBezTo>
                      <a:pt x="1048" y="176"/>
                      <a:pt x="1048" y="176"/>
                      <a:pt x="1048" y="176"/>
                    </a:cubicBezTo>
                    <a:cubicBezTo>
                      <a:pt x="1053" y="178"/>
                      <a:pt x="1058" y="175"/>
                      <a:pt x="1060" y="171"/>
                    </a:cubicBezTo>
                    <a:cubicBezTo>
                      <a:pt x="1061" y="166"/>
                      <a:pt x="1059" y="160"/>
                      <a:pt x="1054" y="159"/>
                    </a:cubicBezTo>
                    <a:cubicBezTo>
                      <a:pt x="1023" y="148"/>
                      <a:pt x="1023" y="148"/>
                      <a:pt x="1023" y="148"/>
                    </a:cubicBezTo>
                    <a:cubicBezTo>
                      <a:pt x="1018" y="146"/>
                      <a:pt x="1013" y="149"/>
                      <a:pt x="1011" y="154"/>
                    </a:cubicBezTo>
                    <a:moveTo>
                      <a:pt x="1073" y="175"/>
                    </a:moveTo>
                    <a:cubicBezTo>
                      <a:pt x="1071" y="180"/>
                      <a:pt x="1074" y="186"/>
                      <a:pt x="1079" y="187"/>
                    </a:cubicBezTo>
                    <a:cubicBezTo>
                      <a:pt x="1109" y="199"/>
                      <a:pt x="1109" y="199"/>
                      <a:pt x="1109" y="199"/>
                    </a:cubicBezTo>
                    <a:cubicBezTo>
                      <a:pt x="1109" y="199"/>
                      <a:pt x="1109" y="199"/>
                      <a:pt x="1109" y="199"/>
                    </a:cubicBezTo>
                    <a:cubicBezTo>
                      <a:pt x="1114" y="201"/>
                      <a:pt x="1120" y="198"/>
                      <a:pt x="1122" y="193"/>
                    </a:cubicBezTo>
                    <a:cubicBezTo>
                      <a:pt x="1123" y="188"/>
                      <a:pt x="1121" y="183"/>
                      <a:pt x="1116" y="181"/>
                    </a:cubicBezTo>
                    <a:cubicBezTo>
                      <a:pt x="1085" y="170"/>
                      <a:pt x="1085" y="170"/>
                      <a:pt x="1085" y="170"/>
                    </a:cubicBezTo>
                    <a:cubicBezTo>
                      <a:pt x="1080" y="168"/>
                      <a:pt x="1075" y="170"/>
                      <a:pt x="1073" y="175"/>
                    </a:cubicBezTo>
                    <a:moveTo>
                      <a:pt x="1135" y="198"/>
                    </a:moveTo>
                    <a:cubicBezTo>
                      <a:pt x="1133" y="203"/>
                      <a:pt x="1135" y="208"/>
                      <a:pt x="1140" y="210"/>
                    </a:cubicBezTo>
                    <a:cubicBezTo>
                      <a:pt x="1170" y="222"/>
                      <a:pt x="1170" y="222"/>
                      <a:pt x="1170" y="222"/>
                    </a:cubicBezTo>
                    <a:cubicBezTo>
                      <a:pt x="1171" y="222"/>
                      <a:pt x="1171" y="222"/>
                      <a:pt x="1171" y="222"/>
                    </a:cubicBezTo>
                    <a:cubicBezTo>
                      <a:pt x="1175" y="225"/>
                      <a:pt x="1181" y="222"/>
                      <a:pt x="1183" y="217"/>
                    </a:cubicBezTo>
                    <a:cubicBezTo>
                      <a:pt x="1185" y="212"/>
                      <a:pt x="1182" y="207"/>
                      <a:pt x="1178" y="205"/>
                    </a:cubicBezTo>
                    <a:cubicBezTo>
                      <a:pt x="1147" y="193"/>
                      <a:pt x="1147" y="193"/>
                      <a:pt x="1147" y="193"/>
                    </a:cubicBezTo>
                    <a:cubicBezTo>
                      <a:pt x="1142" y="191"/>
                      <a:pt x="1137" y="193"/>
                      <a:pt x="1135" y="198"/>
                    </a:cubicBezTo>
                    <a:moveTo>
                      <a:pt x="1208" y="218"/>
                    </a:moveTo>
                    <a:cubicBezTo>
                      <a:pt x="1203" y="216"/>
                      <a:pt x="1198" y="218"/>
                      <a:pt x="1196" y="223"/>
                    </a:cubicBezTo>
                    <a:cubicBezTo>
                      <a:pt x="1194" y="228"/>
                      <a:pt x="1196" y="233"/>
                      <a:pt x="1201" y="235"/>
                    </a:cubicBezTo>
                    <a:cubicBezTo>
                      <a:pt x="1231" y="248"/>
                      <a:pt x="1231" y="248"/>
                      <a:pt x="1231" y="248"/>
                    </a:cubicBezTo>
                    <a:cubicBezTo>
                      <a:pt x="1236" y="250"/>
                      <a:pt x="1241" y="248"/>
                      <a:pt x="1243" y="243"/>
                    </a:cubicBezTo>
                    <a:cubicBezTo>
                      <a:pt x="1245" y="238"/>
                      <a:pt x="1243" y="233"/>
                      <a:pt x="1238" y="231"/>
                    </a:cubicBezTo>
                    <a:cubicBezTo>
                      <a:pt x="1208" y="218"/>
                      <a:pt x="1208" y="218"/>
                      <a:pt x="1208" y="218"/>
                    </a:cubicBezTo>
                    <a:cubicBezTo>
                      <a:pt x="1208" y="218"/>
                      <a:pt x="1208" y="218"/>
                      <a:pt x="1208" y="218"/>
                    </a:cubicBezTo>
                    <a:moveTo>
                      <a:pt x="1269" y="244"/>
                    </a:moveTo>
                    <a:cubicBezTo>
                      <a:pt x="1264" y="242"/>
                      <a:pt x="1258" y="244"/>
                      <a:pt x="1256" y="249"/>
                    </a:cubicBezTo>
                    <a:cubicBezTo>
                      <a:pt x="1254" y="253"/>
                      <a:pt x="1256" y="259"/>
                      <a:pt x="1261" y="261"/>
                    </a:cubicBezTo>
                    <a:cubicBezTo>
                      <a:pt x="1291" y="275"/>
                      <a:pt x="1291" y="275"/>
                      <a:pt x="1291" y="275"/>
                    </a:cubicBezTo>
                    <a:cubicBezTo>
                      <a:pt x="1296" y="277"/>
                      <a:pt x="1301" y="275"/>
                      <a:pt x="1303" y="270"/>
                    </a:cubicBezTo>
                    <a:cubicBezTo>
                      <a:pt x="1306" y="265"/>
                      <a:pt x="1303" y="260"/>
                      <a:pt x="1299" y="258"/>
                    </a:cubicBezTo>
                    <a:cubicBezTo>
                      <a:pt x="1269" y="244"/>
                      <a:pt x="1269" y="244"/>
                      <a:pt x="1269" y="244"/>
                    </a:cubicBezTo>
                    <a:cubicBezTo>
                      <a:pt x="1269" y="244"/>
                      <a:pt x="1269" y="244"/>
                      <a:pt x="1269" y="244"/>
                    </a:cubicBezTo>
                    <a:moveTo>
                      <a:pt x="1329" y="272"/>
                    </a:moveTo>
                    <a:cubicBezTo>
                      <a:pt x="1324" y="269"/>
                      <a:pt x="1319" y="271"/>
                      <a:pt x="1316" y="276"/>
                    </a:cubicBezTo>
                    <a:cubicBezTo>
                      <a:pt x="1314" y="281"/>
                      <a:pt x="1316" y="286"/>
                      <a:pt x="1321" y="288"/>
                    </a:cubicBezTo>
                    <a:cubicBezTo>
                      <a:pt x="1350" y="302"/>
                      <a:pt x="1350" y="302"/>
                      <a:pt x="1350" y="302"/>
                    </a:cubicBezTo>
                    <a:cubicBezTo>
                      <a:pt x="1355" y="305"/>
                      <a:pt x="1361" y="303"/>
                      <a:pt x="1363" y="298"/>
                    </a:cubicBezTo>
                    <a:cubicBezTo>
                      <a:pt x="1365" y="294"/>
                      <a:pt x="1363" y="288"/>
                      <a:pt x="1358" y="286"/>
                    </a:cubicBezTo>
                    <a:cubicBezTo>
                      <a:pt x="1329" y="272"/>
                      <a:pt x="1329" y="272"/>
                      <a:pt x="1329" y="272"/>
                    </a:cubicBezTo>
                    <a:cubicBezTo>
                      <a:pt x="1329" y="272"/>
                      <a:pt x="1329" y="272"/>
                      <a:pt x="1329" y="272"/>
                    </a:cubicBezTo>
                    <a:moveTo>
                      <a:pt x="1388" y="301"/>
                    </a:moveTo>
                    <a:cubicBezTo>
                      <a:pt x="1384" y="298"/>
                      <a:pt x="1378" y="300"/>
                      <a:pt x="1376" y="305"/>
                    </a:cubicBezTo>
                    <a:cubicBezTo>
                      <a:pt x="1374" y="309"/>
                      <a:pt x="1375" y="315"/>
                      <a:pt x="1380" y="317"/>
                    </a:cubicBezTo>
                    <a:cubicBezTo>
                      <a:pt x="1409" y="332"/>
                      <a:pt x="1409" y="332"/>
                      <a:pt x="1409" y="332"/>
                    </a:cubicBezTo>
                    <a:cubicBezTo>
                      <a:pt x="1414" y="334"/>
                      <a:pt x="1419" y="332"/>
                      <a:pt x="1421" y="328"/>
                    </a:cubicBezTo>
                    <a:cubicBezTo>
                      <a:pt x="1424" y="323"/>
                      <a:pt x="1422" y="318"/>
                      <a:pt x="1417" y="316"/>
                    </a:cubicBezTo>
                    <a:cubicBezTo>
                      <a:pt x="1388" y="301"/>
                      <a:pt x="1388" y="301"/>
                      <a:pt x="1388" y="301"/>
                    </a:cubicBezTo>
                    <a:cubicBezTo>
                      <a:pt x="1388" y="301"/>
                      <a:pt x="1388" y="301"/>
                      <a:pt x="1388" y="301"/>
                    </a:cubicBezTo>
                    <a:moveTo>
                      <a:pt x="1447" y="331"/>
                    </a:moveTo>
                    <a:cubicBezTo>
                      <a:pt x="1442" y="329"/>
                      <a:pt x="1437" y="330"/>
                      <a:pt x="1435" y="335"/>
                    </a:cubicBezTo>
                    <a:cubicBezTo>
                      <a:pt x="1432" y="339"/>
                      <a:pt x="1434" y="344"/>
                      <a:pt x="1438" y="347"/>
                    </a:cubicBezTo>
                    <a:cubicBezTo>
                      <a:pt x="1467" y="362"/>
                      <a:pt x="1467" y="362"/>
                      <a:pt x="1467" y="362"/>
                    </a:cubicBezTo>
                    <a:cubicBezTo>
                      <a:pt x="1472" y="364"/>
                      <a:pt x="1477" y="363"/>
                      <a:pt x="1479" y="359"/>
                    </a:cubicBezTo>
                    <a:cubicBezTo>
                      <a:pt x="1482" y="354"/>
                      <a:pt x="1480" y="349"/>
                      <a:pt x="1476" y="347"/>
                    </a:cubicBezTo>
                    <a:cubicBezTo>
                      <a:pt x="1447" y="331"/>
                      <a:pt x="1447" y="331"/>
                      <a:pt x="1447" y="331"/>
                    </a:cubicBezTo>
                    <a:cubicBezTo>
                      <a:pt x="1447" y="331"/>
                      <a:pt x="1447" y="331"/>
                      <a:pt x="1447" y="331"/>
                    </a:cubicBezTo>
                    <a:moveTo>
                      <a:pt x="1505" y="363"/>
                    </a:moveTo>
                    <a:cubicBezTo>
                      <a:pt x="1500" y="360"/>
                      <a:pt x="1495" y="362"/>
                      <a:pt x="1493" y="366"/>
                    </a:cubicBezTo>
                    <a:cubicBezTo>
                      <a:pt x="1490" y="370"/>
                      <a:pt x="1492" y="376"/>
                      <a:pt x="1496" y="378"/>
                    </a:cubicBezTo>
                    <a:cubicBezTo>
                      <a:pt x="1525" y="394"/>
                      <a:pt x="1525" y="394"/>
                      <a:pt x="1525" y="394"/>
                    </a:cubicBezTo>
                    <a:cubicBezTo>
                      <a:pt x="1529" y="396"/>
                      <a:pt x="1534" y="395"/>
                      <a:pt x="1536" y="391"/>
                    </a:cubicBezTo>
                    <a:cubicBezTo>
                      <a:pt x="1539" y="387"/>
                      <a:pt x="1537" y="382"/>
                      <a:pt x="1533" y="379"/>
                    </a:cubicBezTo>
                    <a:cubicBezTo>
                      <a:pt x="1505" y="363"/>
                      <a:pt x="1505" y="363"/>
                      <a:pt x="1505" y="363"/>
                    </a:cubicBezTo>
                    <a:cubicBezTo>
                      <a:pt x="1505" y="363"/>
                      <a:pt x="1505" y="363"/>
                      <a:pt x="1505" y="363"/>
                    </a:cubicBezTo>
                    <a:moveTo>
                      <a:pt x="1562" y="396"/>
                    </a:moveTo>
                    <a:cubicBezTo>
                      <a:pt x="1558" y="394"/>
                      <a:pt x="1553" y="395"/>
                      <a:pt x="1550" y="399"/>
                    </a:cubicBezTo>
                    <a:cubicBezTo>
                      <a:pt x="1548" y="403"/>
                      <a:pt x="1549" y="408"/>
                      <a:pt x="1553" y="410"/>
                    </a:cubicBezTo>
                    <a:cubicBezTo>
                      <a:pt x="1582" y="427"/>
                      <a:pt x="1582" y="427"/>
                      <a:pt x="1582" y="427"/>
                    </a:cubicBezTo>
                    <a:cubicBezTo>
                      <a:pt x="1585" y="429"/>
                      <a:pt x="1590" y="428"/>
                      <a:pt x="1593" y="424"/>
                    </a:cubicBezTo>
                    <a:cubicBezTo>
                      <a:pt x="1595" y="420"/>
                      <a:pt x="1594" y="415"/>
                      <a:pt x="1590" y="413"/>
                    </a:cubicBezTo>
                    <a:cubicBezTo>
                      <a:pt x="1562" y="396"/>
                      <a:pt x="1562" y="396"/>
                      <a:pt x="1562" y="396"/>
                    </a:cubicBezTo>
                    <a:cubicBezTo>
                      <a:pt x="1562" y="396"/>
                      <a:pt x="1562" y="396"/>
                      <a:pt x="1562" y="396"/>
                    </a:cubicBezTo>
                    <a:moveTo>
                      <a:pt x="1618" y="430"/>
                    </a:moveTo>
                    <a:cubicBezTo>
                      <a:pt x="1614" y="428"/>
                      <a:pt x="1609" y="429"/>
                      <a:pt x="1607" y="433"/>
                    </a:cubicBezTo>
                    <a:cubicBezTo>
                      <a:pt x="1605" y="437"/>
                      <a:pt x="1606" y="442"/>
                      <a:pt x="1609" y="444"/>
                    </a:cubicBezTo>
                    <a:cubicBezTo>
                      <a:pt x="1637" y="461"/>
                      <a:pt x="1637" y="461"/>
                      <a:pt x="1637" y="461"/>
                    </a:cubicBezTo>
                    <a:cubicBezTo>
                      <a:pt x="1641" y="464"/>
                      <a:pt x="1646" y="463"/>
                      <a:pt x="1648" y="459"/>
                    </a:cubicBezTo>
                    <a:cubicBezTo>
                      <a:pt x="1650" y="455"/>
                      <a:pt x="1649" y="451"/>
                      <a:pt x="1646" y="448"/>
                    </a:cubicBezTo>
                    <a:cubicBezTo>
                      <a:pt x="1618" y="430"/>
                      <a:pt x="1618" y="430"/>
                      <a:pt x="1618" y="430"/>
                    </a:cubicBezTo>
                    <a:cubicBezTo>
                      <a:pt x="1618" y="430"/>
                      <a:pt x="1618" y="430"/>
                      <a:pt x="1618" y="430"/>
                    </a:cubicBezTo>
                    <a:moveTo>
                      <a:pt x="1673" y="466"/>
                    </a:moveTo>
                    <a:cubicBezTo>
                      <a:pt x="1670" y="464"/>
                      <a:pt x="1665" y="465"/>
                      <a:pt x="1663" y="469"/>
                    </a:cubicBezTo>
                    <a:cubicBezTo>
                      <a:pt x="1661" y="472"/>
                      <a:pt x="1662" y="477"/>
                      <a:pt x="1665" y="479"/>
                    </a:cubicBezTo>
                    <a:cubicBezTo>
                      <a:pt x="1693" y="497"/>
                      <a:pt x="1693" y="497"/>
                      <a:pt x="1693" y="497"/>
                    </a:cubicBezTo>
                    <a:cubicBezTo>
                      <a:pt x="1696" y="499"/>
                      <a:pt x="1701" y="498"/>
                      <a:pt x="1703" y="495"/>
                    </a:cubicBezTo>
                    <a:cubicBezTo>
                      <a:pt x="1705" y="492"/>
                      <a:pt x="1704" y="487"/>
                      <a:pt x="1701" y="485"/>
                    </a:cubicBezTo>
                    <a:cubicBezTo>
                      <a:pt x="1673" y="466"/>
                      <a:pt x="1673" y="466"/>
                      <a:pt x="1673" y="466"/>
                    </a:cubicBezTo>
                    <a:cubicBezTo>
                      <a:pt x="1673" y="466"/>
                      <a:pt x="1673" y="466"/>
                      <a:pt x="1673" y="466"/>
                    </a:cubicBezTo>
                    <a:moveTo>
                      <a:pt x="1728" y="504"/>
                    </a:moveTo>
                    <a:cubicBezTo>
                      <a:pt x="1725" y="501"/>
                      <a:pt x="1720" y="502"/>
                      <a:pt x="1718" y="505"/>
                    </a:cubicBezTo>
                    <a:cubicBezTo>
                      <a:pt x="1716" y="509"/>
                      <a:pt x="1717" y="513"/>
                      <a:pt x="1720" y="515"/>
                    </a:cubicBezTo>
                    <a:cubicBezTo>
                      <a:pt x="1747" y="534"/>
                      <a:pt x="1747" y="534"/>
                      <a:pt x="1747" y="534"/>
                    </a:cubicBezTo>
                    <a:cubicBezTo>
                      <a:pt x="1750" y="536"/>
                      <a:pt x="1754" y="535"/>
                      <a:pt x="1757" y="532"/>
                    </a:cubicBezTo>
                    <a:cubicBezTo>
                      <a:pt x="1759" y="529"/>
                      <a:pt x="1758" y="525"/>
                      <a:pt x="1755" y="523"/>
                    </a:cubicBezTo>
                    <a:cubicBezTo>
                      <a:pt x="1728" y="504"/>
                      <a:pt x="1728" y="504"/>
                      <a:pt x="1728" y="504"/>
                    </a:cubicBezTo>
                    <a:cubicBezTo>
                      <a:pt x="1728" y="504"/>
                      <a:pt x="1728" y="504"/>
                      <a:pt x="1728" y="504"/>
                    </a:cubicBezTo>
                    <a:moveTo>
                      <a:pt x="1782" y="542"/>
                    </a:moveTo>
                    <a:cubicBezTo>
                      <a:pt x="1779" y="540"/>
                      <a:pt x="1774" y="540"/>
                      <a:pt x="1772" y="543"/>
                    </a:cubicBezTo>
                    <a:cubicBezTo>
                      <a:pt x="1770" y="546"/>
                      <a:pt x="1771" y="551"/>
                      <a:pt x="1774" y="553"/>
                    </a:cubicBezTo>
                    <a:cubicBezTo>
                      <a:pt x="1801" y="572"/>
                      <a:pt x="1801" y="572"/>
                      <a:pt x="1801" y="572"/>
                    </a:cubicBezTo>
                    <a:cubicBezTo>
                      <a:pt x="1803" y="574"/>
                      <a:pt x="1807" y="573"/>
                      <a:pt x="1809" y="570"/>
                    </a:cubicBezTo>
                    <a:cubicBezTo>
                      <a:pt x="1811" y="568"/>
                      <a:pt x="1811" y="564"/>
                      <a:pt x="1808" y="562"/>
                    </a:cubicBezTo>
                    <a:cubicBezTo>
                      <a:pt x="1782" y="542"/>
                      <a:pt x="1782" y="542"/>
                      <a:pt x="1782" y="542"/>
                    </a:cubicBezTo>
                    <a:cubicBezTo>
                      <a:pt x="1782" y="542"/>
                      <a:pt x="1782" y="542"/>
                      <a:pt x="1782" y="542"/>
                    </a:cubicBezTo>
                    <a:moveTo>
                      <a:pt x="1834" y="582"/>
                    </a:moveTo>
                    <a:cubicBezTo>
                      <a:pt x="1832" y="580"/>
                      <a:pt x="1828" y="580"/>
                      <a:pt x="1826" y="583"/>
                    </a:cubicBezTo>
                    <a:cubicBezTo>
                      <a:pt x="1824" y="585"/>
                      <a:pt x="1825" y="589"/>
                      <a:pt x="1827" y="591"/>
                    </a:cubicBezTo>
                    <a:cubicBezTo>
                      <a:pt x="1853" y="611"/>
                      <a:pt x="1853" y="611"/>
                      <a:pt x="1853" y="611"/>
                    </a:cubicBezTo>
                    <a:cubicBezTo>
                      <a:pt x="1856" y="613"/>
                      <a:pt x="1859" y="612"/>
                      <a:pt x="1861" y="610"/>
                    </a:cubicBezTo>
                    <a:cubicBezTo>
                      <a:pt x="1863" y="607"/>
                      <a:pt x="1863" y="604"/>
                      <a:pt x="1860" y="602"/>
                    </a:cubicBezTo>
                    <a:cubicBezTo>
                      <a:pt x="1834" y="582"/>
                      <a:pt x="1834" y="582"/>
                      <a:pt x="1834" y="582"/>
                    </a:cubicBezTo>
                    <a:cubicBezTo>
                      <a:pt x="1834" y="582"/>
                      <a:pt x="1834" y="582"/>
                      <a:pt x="1834" y="582"/>
                    </a:cubicBezTo>
                    <a:moveTo>
                      <a:pt x="1886" y="623"/>
                    </a:moveTo>
                    <a:cubicBezTo>
                      <a:pt x="1884" y="621"/>
                      <a:pt x="1880" y="621"/>
                      <a:pt x="1879" y="624"/>
                    </a:cubicBezTo>
                    <a:cubicBezTo>
                      <a:pt x="1877" y="626"/>
                      <a:pt x="1877" y="629"/>
                      <a:pt x="1879" y="631"/>
                    </a:cubicBezTo>
                    <a:cubicBezTo>
                      <a:pt x="1905" y="651"/>
                      <a:pt x="1905" y="651"/>
                      <a:pt x="1905" y="651"/>
                    </a:cubicBezTo>
                    <a:cubicBezTo>
                      <a:pt x="1907" y="653"/>
                      <a:pt x="1910" y="653"/>
                      <a:pt x="1912" y="651"/>
                    </a:cubicBezTo>
                    <a:cubicBezTo>
                      <a:pt x="1914" y="648"/>
                      <a:pt x="1914" y="645"/>
                      <a:pt x="1911" y="644"/>
                    </a:cubicBezTo>
                    <a:cubicBezTo>
                      <a:pt x="1886" y="623"/>
                      <a:pt x="1886" y="623"/>
                      <a:pt x="1886" y="623"/>
                    </a:cubicBezTo>
                    <a:cubicBezTo>
                      <a:pt x="1886" y="623"/>
                      <a:pt x="1886" y="623"/>
                      <a:pt x="1886" y="623"/>
                    </a:cubicBezTo>
                    <a:moveTo>
                      <a:pt x="1937" y="665"/>
                    </a:moveTo>
                    <a:cubicBezTo>
                      <a:pt x="1935" y="663"/>
                      <a:pt x="1932" y="664"/>
                      <a:pt x="1930" y="666"/>
                    </a:cubicBezTo>
                    <a:cubicBezTo>
                      <a:pt x="1929" y="667"/>
                      <a:pt x="1929" y="670"/>
                      <a:pt x="1931" y="672"/>
                    </a:cubicBezTo>
                    <a:cubicBezTo>
                      <a:pt x="1956" y="693"/>
                      <a:pt x="1956" y="693"/>
                      <a:pt x="1956" y="693"/>
                    </a:cubicBezTo>
                    <a:cubicBezTo>
                      <a:pt x="1958" y="694"/>
                      <a:pt x="1961" y="694"/>
                      <a:pt x="1962" y="692"/>
                    </a:cubicBezTo>
                    <a:cubicBezTo>
                      <a:pt x="1963" y="690"/>
                      <a:pt x="1963" y="688"/>
                      <a:pt x="1962" y="687"/>
                    </a:cubicBezTo>
                    <a:cubicBezTo>
                      <a:pt x="1937" y="665"/>
                      <a:pt x="1937" y="665"/>
                      <a:pt x="1937" y="665"/>
                    </a:cubicBezTo>
                    <a:cubicBezTo>
                      <a:pt x="1937" y="665"/>
                      <a:pt x="1937" y="665"/>
                      <a:pt x="1937" y="665"/>
                    </a:cubicBezTo>
                    <a:moveTo>
                      <a:pt x="1986" y="708"/>
                    </a:moveTo>
                    <a:cubicBezTo>
                      <a:pt x="1985" y="707"/>
                      <a:pt x="1983" y="707"/>
                      <a:pt x="1981" y="709"/>
                    </a:cubicBezTo>
                    <a:cubicBezTo>
                      <a:pt x="1980" y="710"/>
                      <a:pt x="1980" y="712"/>
                      <a:pt x="1982" y="714"/>
                    </a:cubicBezTo>
                    <a:cubicBezTo>
                      <a:pt x="2007" y="735"/>
                      <a:pt x="2007" y="735"/>
                      <a:pt x="2007" y="735"/>
                    </a:cubicBezTo>
                    <a:cubicBezTo>
                      <a:pt x="2008" y="736"/>
                      <a:pt x="2010" y="736"/>
                      <a:pt x="2011" y="735"/>
                    </a:cubicBezTo>
                    <a:cubicBezTo>
                      <a:pt x="2012" y="734"/>
                      <a:pt x="2012" y="732"/>
                      <a:pt x="2011" y="731"/>
                    </a:cubicBezTo>
                    <a:cubicBezTo>
                      <a:pt x="1986" y="708"/>
                      <a:pt x="1986" y="708"/>
                      <a:pt x="1986" y="708"/>
                    </a:cubicBezTo>
                    <a:cubicBezTo>
                      <a:pt x="1986" y="708"/>
                      <a:pt x="1986" y="708"/>
                      <a:pt x="1986" y="708"/>
                    </a:cubicBezTo>
                    <a:moveTo>
                      <a:pt x="2035" y="753"/>
                    </a:moveTo>
                    <a:cubicBezTo>
                      <a:pt x="2034" y="752"/>
                      <a:pt x="2032" y="752"/>
                      <a:pt x="2031" y="753"/>
                    </a:cubicBezTo>
                    <a:cubicBezTo>
                      <a:pt x="2030" y="754"/>
                      <a:pt x="2030" y="756"/>
                      <a:pt x="2031" y="757"/>
                    </a:cubicBezTo>
                    <a:cubicBezTo>
                      <a:pt x="2056" y="779"/>
                      <a:pt x="2056" y="779"/>
                      <a:pt x="2056" y="779"/>
                    </a:cubicBezTo>
                    <a:cubicBezTo>
                      <a:pt x="2057" y="779"/>
                      <a:pt x="2058" y="779"/>
                      <a:pt x="2059" y="778"/>
                    </a:cubicBezTo>
                    <a:cubicBezTo>
                      <a:pt x="2060" y="778"/>
                      <a:pt x="2060" y="776"/>
                      <a:pt x="2059" y="776"/>
                    </a:cubicBezTo>
                    <a:cubicBezTo>
                      <a:pt x="2035" y="753"/>
                      <a:pt x="2035" y="753"/>
                      <a:pt x="2035" y="753"/>
                    </a:cubicBezTo>
                    <a:cubicBezTo>
                      <a:pt x="2035" y="753"/>
                      <a:pt x="2035" y="753"/>
                      <a:pt x="2035" y="753"/>
                    </a:cubicBezTo>
                    <a:moveTo>
                      <a:pt x="2082" y="798"/>
                    </a:moveTo>
                    <a:cubicBezTo>
                      <a:pt x="2082" y="798"/>
                      <a:pt x="2081" y="798"/>
                      <a:pt x="2080" y="799"/>
                    </a:cubicBezTo>
                    <a:cubicBezTo>
                      <a:pt x="2080" y="799"/>
                      <a:pt x="2080" y="800"/>
                      <a:pt x="2080" y="801"/>
                    </a:cubicBezTo>
                    <a:cubicBezTo>
                      <a:pt x="2104" y="823"/>
                      <a:pt x="2104" y="823"/>
                      <a:pt x="2104" y="823"/>
                    </a:cubicBezTo>
                    <a:cubicBezTo>
                      <a:pt x="2105" y="824"/>
                      <a:pt x="2105" y="824"/>
                      <a:pt x="2106" y="823"/>
                    </a:cubicBezTo>
                    <a:cubicBezTo>
                      <a:pt x="2106" y="823"/>
                      <a:pt x="2106" y="822"/>
                      <a:pt x="2106" y="822"/>
                    </a:cubicBezTo>
                    <a:cubicBezTo>
                      <a:pt x="2082" y="799"/>
                      <a:pt x="2082" y="799"/>
                      <a:pt x="2082" y="799"/>
                    </a:cubicBezTo>
                    <a:cubicBezTo>
                      <a:pt x="2082" y="798"/>
                      <a:pt x="2082" y="798"/>
                      <a:pt x="2082" y="798"/>
                    </a:cubicBezTo>
                    <a:moveTo>
                      <a:pt x="2129" y="846"/>
                    </a:moveTo>
                    <a:cubicBezTo>
                      <a:pt x="2129" y="846"/>
                      <a:pt x="2129" y="846"/>
                      <a:pt x="2129" y="846"/>
                    </a:cubicBezTo>
                    <a:cubicBezTo>
                      <a:pt x="2129" y="846"/>
                      <a:pt x="2129" y="846"/>
                      <a:pt x="2129" y="846"/>
                    </a:cubicBezTo>
                    <a:cubicBezTo>
                      <a:pt x="2140" y="858"/>
                      <a:pt x="2140" y="858"/>
                      <a:pt x="2140" y="858"/>
                    </a:cubicBezTo>
                    <a:cubicBezTo>
                      <a:pt x="2129" y="846"/>
                      <a:pt x="2129" y="846"/>
                      <a:pt x="2129" y="846"/>
                    </a:cubicBezTo>
                    <a:cubicBezTo>
                      <a:pt x="2129" y="846"/>
                      <a:pt x="2129" y="846"/>
                      <a:pt x="2129" y="846"/>
                    </a:cubicBezTo>
                  </a:path>
                </a:pathLst>
              </a:custGeom>
              <a:solidFill>
                <a:srgbClr val="FFFFFF">
                  <a:alpha val="84000"/>
                </a:srgbClr>
              </a:solidFill>
              <a:ln>
                <a:noFill/>
              </a:ln>
            </p:spPr>
            <p:txBody>
              <a:bodyPr vert="horz" wrap="square" lIns="89643" tIns="44822" rIns="89643" bIns="44822" numCol="1" anchor="t" anchorCtr="0" compatLnSpc="1">
                <a:prstTxWarp prst="textNoShape">
                  <a:avLst/>
                </a:prstTxWarp>
              </a:bodyPr>
              <a:lstStyle/>
              <a:p>
                <a:pPr marL="0" marR="0" lvl="0" indent="0" algn="l" defTabSz="914348"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a:ln>
                    <a:noFill/>
                  </a:ln>
                  <a:solidFill>
                    <a:prstClr val="black"/>
                  </a:solidFill>
                  <a:effectLst/>
                  <a:uLnTx/>
                  <a:uFillTx/>
                  <a:latin typeface="Calibri" panose="020F0502020204030204"/>
                  <a:ea typeface="Heiti SC Light" charset="-122"/>
                  <a:cs typeface="+mn-cs"/>
                  <a:sym typeface="Gill Sans" charset="0"/>
                </a:endParaRPr>
              </a:p>
            </p:txBody>
          </p:sp>
          <p:sp>
            <p:nvSpPr>
              <p:cNvPr id="78" name="Freeform 616"/>
              <p:cNvSpPr>
                <a:spLocks noEditPoints="1"/>
              </p:cNvSpPr>
              <p:nvPr/>
            </p:nvSpPr>
            <p:spPr bwMode="auto">
              <a:xfrm>
                <a:off x="6874815" y="5833323"/>
                <a:ext cx="4099388" cy="1840756"/>
              </a:xfrm>
              <a:custGeom>
                <a:avLst/>
                <a:gdLst>
                  <a:gd name="T0" fmla="*/ 552 w 1486"/>
                  <a:gd name="T1" fmla="*/ 119 h 667"/>
                  <a:gd name="T2" fmla="*/ 552 w 1486"/>
                  <a:gd name="T3" fmla="*/ 118 h 667"/>
                  <a:gd name="T4" fmla="*/ 568 w 1486"/>
                  <a:gd name="T5" fmla="*/ 121 h 667"/>
                  <a:gd name="T6" fmla="*/ 519 w 1486"/>
                  <a:gd name="T7" fmla="*/ 116 h 667"/>
                  <a:gd name="T8" fmla="*/ 485 w 1486"/>
                  <a:gd name="T9" fmla="*/ 110 h 667"/>
                  <a:gd name="T10" fmla="*/ 487 w 1486"/>
                  <a:gd name="T11" fmla="*/ 109 h 667"/>
                  <a:gd name="T12" fmla="*/ 519 w 1486"/>
                  <a:gd name="T13" fmla="*/ 113 h 667"/>
                  <a:gd name="T14" fmla="*/ 519 w 1486"/>
                  <a:gd name="T15" fmla="*/ 116 h 667"/>
                  <a:gd name="T16" fmla="*/ 455 w 1486"/>
                  <a:gd name="T17" fmla="*/ 109 h 667"/>
                  <a:gd name="T18" fmla="*/ 420 w 1486"/>
                  <a:gd name="T19" fmla="*/ 103 h 667"/>
                  <a:gd name="T20" fmla="*/ 423 w 1486"/>
                  <a:gd name="T21" fmla="*/ 100 h 667"/>
                  <a:gd name="T22" fmla="*/ 455 w 1486"/>
                  <a:gd name="T23" fmla="*/ 104 h 667"/>
                  <a:gd name="T24" fmla="*/ 455 w 1486"/>
                  <a:gd name="T25" fmla="*/ 109 h 667"/>
                  <a:gd name="T26" fmla="*/ 390 w 1486"/>
                  <a:gd name="T27" fmla="*/ 103 h 667"/>
                  <a:gd name="T28" fmla="*/ 355 w 1486"/>
                  <a:gd name="T29" fmla="*/ 96 h 667"/>
                  <a:gd name="T30" fmla="*/ 359 w 1486"/>
                  <a:gd name="T31" fmla="*/ 93 h 667"/>
                  <a:gd name="T32" fmla="*/ 391 w 1486"/>
                  <a:gd name="T33" fmla="*/ 96 h 667"/>
                  <a:gd name="T34" fmla="*/ 391 w 1486"/>
                  <a:gd name="T35" fmla="*/ 103 h 667"/>
                  <a:gd name="T36" fmla="*/ 326 w 1486"/>
                  <a:gd name="T37" fmla="*/ 99 h 667"/>
                  <a:gd name="T38" fmla="*/ 289 w 1486"/>
                  <a:gd name="T39" fmla="*/ 91 h 667"/>
                  <a:gd name="T40" fmla="*/ 294 w 1486"/>
                  <a:gd name="T41" fmla="*/ 87 h 667"/>
                  <a:gd name="T42" fmla="*/ 327 w 1486"/>
                  <a:gd name="T43" fmla="*/ 90 h 667"/>
                  <a:gd name="T44" fmla="*/ 326 w 1486"/>
                  <a:gd name="T45" fmla="*/ 99 h 667"/>
                  <a:gd name="T46" fmla="*/ 262 w 1486"/>
                  <a:gd name="T47" fmla="*/ 95 h 667"/>
                  <a:gd name="T48" fmla="*/ 224 w 1486"/>
                  <a:gd name="T49" fmla="*/ 88 h 667"/>
                  <a:gd name="T50" fmla="*/ 230 w 1486"/>
                  <a:gd name="T51" fmla="*/ 82 h 667"/>
                  <a:gd name="T52" fmla="*/ 262 w 1486"/>
                  <a:gd name="T53" fmla="*/ 84 h 667"/>
                  <a:gd name="T54" fmla="*/ 262 w 1486"/>
                  <a:gd name="T55" fmla="*/ 95 h 667"/>
                  <a:gd name="T56" fmla="*/ 197 w 1486"/>
                  <a:gd name="T57" fmla="*/ 93 h 667"/>
                  <a:gd name="T58" fmla="*/ 158 w 1486"/>
                  <a:gd name="T59" fmla="*/ 85 h 667"/>
                  <a:gd name="T60" fmla="*/ 165 w 1486"/>
                  <a:gd name="T61" fmla="*/ 79 h 667"/>
                  <a:gd name="T62" fmla="*/ 197 w 1486"/>
                  <a:gd name="T63" fmla="*/ 80 h 667"/>
                  <a:gd name="T64" fmla="*/ 197 w 1486"/>
                  <a:gd name="T65" fmla="*/ 93 h 667"/>
                  <a:gd name="T66" fmla="*/ 133 w 1486"/>
                  <a:gd name="T67" fmla="*/ 91 h 667"/>
                  <a:gd name="T68" fmla="*/ 93 w 1486"/>
                  <a:gd name="T69" fmla="*/ 84 h 667"/>
                  <a:gd name="T70" fmla="*/ 100 w 1486"/>
                  <a:gd name="T71" fmla="*/ 77 h 667"/>
                  <a:gd name="T72" fmla="*/ 139 w 1486"/>
                  <a:gd name="T73" fmla="*/ 85 h 667"/>
                  <a:gd name="T74" fmla="*/ 36 w 1486"/>
                  <a:gd name="T75" fmla="*/ 92 h 667"/>
                  <a:gd name="T76" fmla="*/ 35 w 1486"/>
                  <a:gd name="T77" fmla="*/ 77 h 667"/>
                  <a:gd name="T78" fmla="*/ 68 w 1486"/>
                  <a:gd name="T79" fmla="*/ 77 h 667"/>
                  <a:gd name="T80" fmla="*/ 68 w 1486"/>
                  <a:gd name="T81" fmla="*/ 91 h 667"/>
                  <a:gd name="T82" fmla="*/ 36 w 1486"/>
                  <a:gd name="T83" fmla="*/ 92 h 667"/>
                  <a:gd name="T84" fmla="*/ 295 w 1486"/>
                  <a:gd name="T85" fmla="*/ 19 h 667"/>
                  <a:gd name="T86" fmla="*/ 701 w 1486"/>
                  <a:gd name="T87" fmla="*/ 582 h 667"/>
                  <a:gd name="T88" fmla="*/ 1450 w 1486"/>
                  <a:gd name="T89" fmla="*/ 596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86" h="667">
                    <a:moveTo>
                      <a:pt x="568" y="121"/>
                    </a:moveTo>
                    <a:cubicBezTo>
                      <a:pt x="552" y="119"/>
                      <a:pt x="552" y="119"/>
                      <a:pt x="552" y="119"/>
                    </a:cubicBezTo>
                    <a:cubicBezTo>
                      <a:pt x="551" y="119"/>
                      <a:pt x="551" y="119"/>
                      <a:pt x="551" y="119"/>
                    </a:cubicBezTo>
                    <a:cubicBezTo>
                      <a:pt x="552" y="118"/>
                      <a:pt x="552" y="118"/>
                      <a:pt x="552" y="118"/>
                    </a:cubicBezTo>
                    <a:cubicBezTo>
                      <a:pt x="552" y="118"/>
                      <a:pt x="552" y="118"/>
                      <a:pt x="552" y="118"/>
                    </a:cubicBezTo>
                    <a:cubicBezTo>
                      <a:pt x="568" y="121"/>
                      <a:pt x="568" y="121"/>
                      <a:pt x="568" y="121"/>
                    </a:cubicBezTo>
                    <a:moveTo>
                      <a:pt x="519" y="116"/>
                    </a:moveTo>
                    <a:cubicBezTo>
                      <a:pt x="519" y="116"/>
                      <a:pt x="519" y="116"/>
                      <a:pt x="519" y="116"/>
                    </a:cubicBezTo>
                    <a:cubicBezTo>
                      <a:pt x="487" y="112"/>
                      <a:pt x="487" y="112"/>
                      <a:pt x="487" y="112"/>
                    </a:cubicBezTo>
                    <a:cubicBezTo>
                      <a:pt x="486" y="112"/>
                      <a:pt x="485" y="111"/>
                      <a:pt x="485" y="110"/>
                    </a:cubicBezTo>
                    <a:cubicBezTo>
                      <a:pt x="485" y="109"/>
                      <a:pt x="486" y="109"/>
                      <a:pt x="487" y="109"/>
                    </a:cubicBezTo>
                    <a:cubicBezTo>
                      <a:pt x="487" y="109"/>
                      <a:pt x="487" y="109"/>
                      <a:pt x="487" y="109"/>
                    </a:cubicBezTo>
                    <a:cubicBezTo>
                      <a:pt x="487" y="109"/>
                      <a:pt x="487" y="109"/>
                      <a:pt x="487" y="109"/>
                    </a:cubicBezTo>
                    <a:cubicBezTo>
                      <a:pt x="519" y="113"/>
                      <a:pt x="519" y="113"/>
                      <a:pt x="519" y="113"/>
                    </a:cubicBezTo>
                    <a:cubicBezTo>
                      <a:pt x="520" y="114"/>
                      <a:pt x="520" y="114"/>
                      <a:pt x="520" y="115"/>
                    </a:cubicBezTo>
                    <a:cubicBezTo>
                      <a:pt x="520" y="115"/>
                      <a:pt x="520" y="116"/>
                      <a:pt x="519" y="116"/>
                    </a:cubicBezTo>
                    <a:moveTo>
                      <a:pt x="455" y="109"/>
                    </a:moveTo>
                    <a:cubicBezTo>
                      <a:pt x="455" y="109"/>
                      <a:pt x="455" y="109"/>
                      <a:pt x="455" y="109"/>
                    </a:cubicBezTo>
                    <a:cubicBezTo>
                      <a:pt x="423" y="106"/>
                      <a:pt x="423" y="106"/>
                      <a:pt x="423" y="106"/>
                    </a:cubicBezTo>
                    <a:cubicBezTo>
                      <a:pt x="421" y="106"/>
                      <a:pt x="420" y="104"/>
                      <a:pt x="420" y="103"/>
                    </a:cubicBezTo>
                    <a:cubicBezTo>
                      <a:pt x="420" y="101"/>
                      <a:pt x="421" y="100"/>
                      <a:pt x="423" y="100"/>
                    </a:cubicBezTo>
                    <a:cubicBezTo>
                      <a:pt x="423" y="100"/>
                      <a:pt x="423" y="100"/>
                      <a:pt x="423" y="100"/>
                    </a:cubicBezTo>
                    <a:cubicBezTo>
                      <a:pt x="423" y="100"/>
                      <a:pt x="423" y="100"/>
                      <a:pt x="423" y="100"/>
                    </a:cubicBezTo>
                    <a:cubicBezTo>
                      <a:pt x="455" y="104"/>
                      <a:pt x="455" y="104"/>
                      <a:pt x="455" y="104"/>
                    </a:cubicBezTo>
                    <a:cubicBezTo>
                      <a:pt x="457" y="104"/>
                      <a:pt x="457" y="106"/>
                      <a:pt x="457" y="107"/>
                    </a:cubicBezTo>
                    <a:cubicBezTo>
                      <a:pt x="457" y="108"/>
                      <a:pt x="456" y="109"/>
                      <a:pt x="455" y="109"/>
                    </a:cubicBezTo>
                    <a:moveTo>
                      <a:pt x="391" y="103"/>
                    </a:moveTo>
                    <a:cubicBezTo>
                      <a:pt x="391" y="103"/>
                      <a:pt x="391" y="103"/>
                      <a:pt x="390" y="103"/>
                    </a:cubicBezTo>
                    <a:cubicBezTo>
                      <a:pt x="358" y="101"/>
                      <a:pt x="358" y="101"/>
                      <a:pt x="358" y="101"/>
                    </a:cubicBezTo>
                    <a:cubicBezTo>
                      <a:pt x="356" y="100"/>
                      <a:pt x="354" y="99"/>
                      <a:pt x="355" y="96"/>
                    </a:cubicBezTo>
                    <a:cubicBezTo>
                      <a:pt x="355" y="94"/>
                      <a:pt x="356" y="93"/>
                      <a:pt x="358" y="93"/>
                    </a:cubicBezTo>
                    <a:cubicBezTo>
                      <a:pt x="359" y="93"/>
                      <a:pt x="359" y="93"/>
                      <a:pt x="359" y="93"/>
                    </a:cubicBezTo>
                    <a:cubicBezTo>
                      <a:pt x="359" y="93"/>
                      <a:pt x="359" y="93"/>
                      <a:pt x="359" y="93"/>
                    </a:cubicBezTo>
                    <a:cubicBezTo>
                      <a:pt x="391" y="96"/>
                      <a:pt x="391" y="96"/>
                      <a:pt x="391" y="96"/>
                    </a:cubicBezTo>
                    <a:cubicBezTo>
                      <a:pt x="393" y="97"/>
                      <a:pt x="394" y="98"/>
                      <a:pt x="394" y="100"/>
                    </a:cubicBezTo>
                    <a:cubicBezTo>
                      <a:pt x="394" y="102"/>
                      <a:pt x="392" y="103"/>
                      <a:pt x="391" y="103"/>
                    </a:cubicBezTo>
                    <a:moveTo>
                      <a:pt x="326" y="99"/>
                    </a:moveTo>
                    <a:cubicBezTo>
                      <a:pt x="326" y="99"/>
                      <a:pt x="326" y="99"/>
                      <a:pt x="326" y="99"/>
                    </a:cubicBezTo>
                    <a:cubicBezTo>
                      <a:pt x="294" y="97"/>
                      <a:pt x="294" y="97"/>
                      <a:pt x="294" y="97"/>
                    </a:cubicBezTo>
                    <a:cubicBezTo>
                      <a:pt x="291" y="96"/>
                      <a:pt x="289" y="94"/>
                      <a:pt x="289" y="91"/>
                    </a:cubicBezTo>
                    <a:cubicBezTo>
                      <a:pt x="289" y="89"/>
                      <a:pt x="291" y="87"/>
                      <a:pt x="294" y="87"/>
                    </a:cubicBezTo>
                    <a:cubicBezTo>
                      <a:pt x="294" y="87"/>
                      <a:pt x="294" y="87"/>
                      <a:pt x="294" y="87"/>
                    </a:cubicBezTo>
                    <a:cubicBezTo>
                      <a:pt x="294" y="87"/>
                      <a:pt x="294" y="87"/>
                      <a:pt x="294" y="87"/>
                    </a:cubicBezTo>
                    <a:cubicBezTo>
                      <a:pt x="327" y="90"/>
                      <a:pt x="327" y="90"/>
                      <a:pt x="327" y="90"/>
                    </a:cubicBezTo>
                    <a:cubicBezTo>
                      <a:pt x="329" y="90"/>
                      <a:pt x="331" y="92"/>
                      <a:pt x="331" y="94"/>
                    </a:cubicBezTo>
                    <a:cubicBezTo>
                      <a:pt x="330" y="97"/>
                      <a:pt x="329" y="99"/>
                      <a:pt x="326" y="99"/>
                    </a:cubicBezTo>
                    <a:moveTo>
                      <a:pt x="262" y="95"/>
                    </a:moveTo>
                    <a:cubicBezTo>
                      <a:pt x="262" y="95"/>
                      <a:pt x="262" y="95"/>
                      <a:pt x="262" y="95"/>
                    </a:cubicBezTo>
                    <a:cubicBezTo>
                      <a:pt x="229" y="94"/>
                      <a:pt x="229" y="94"/>
                      <a:pt x="229" y="94"/>
                    </a:cubicBezTo>
                    <a:cubicBezTo>
                      <a:pt x="226" y="93"/>
                      <a:pt x="224" y="91"/>
                      <a:pt x="224" y="88"/>
                    </a:cubicBezTo>
                    <a:cubicBezTo>
                      <a:pt x="224" y="85"/>
                      <a:pt x="226" y="82"/>
                      <a:pt x="229" y="82"/>
                    </a:cubicBezTo>
                    <a:cubicBezTo>
                      <a:pt x="230" y="82"/>
                      <a:pt x="230" y="82"/>
                      <a:pt x="230" y="82"/>
                    </a:cubicBezTo>
                    <a:cubicBezTo>
                      <a:pt x="230" y="82"/>
                      <a:pt x="230" y="82"/>
                      <a:pt x="230" y="82"/>
                    </a:cubicBezTo>
                    <a:cubicBezTo>
                      <a:pt x="262" y="84"/>
                      <a:pt x="262" y="84"/>
                      <a:pt x="262" y="84"/>
                    </a:cubicBezTo>
                    <a:cubicBezTo>
                      <a:pt x="265" y="85"/>
                      <a:pt x="267" y="87"/>
                      <a:pt x="267" y="90"/>
                    </a:cubicBezTo>
                    <a:cubicBezTo>
                      <a:pt x="267" y="93"/>
                      <a:pt x="265" y="95"/>
                      <a:pt x="262" y="95"/>
                    </a:cubicBezTo>
                    <a:moveTo>
                      <a:pt x="197" y="93"/>
                    </a:moveTo>
                    <a:cubicBezTo>
                      <a:pt x="197" y="93"/>
                      <a:pt x="197" y="93"/>
                      <a:pt x="197" y="93"/>
                    </a:cubicBezTo>
                    <a:cubicBezTo>
                      <a:pt x="165" y="92"/>
                      <a:pt x="165" y="92"/>
                      <a:pt x="165" y="92"/>
                    </a:cubicBezTo>
                    <a:cubicBezTo>
                      <a:pt x="161" y="92"/>
                      <a:pt x="158" y="89"/>
                      <a:pt x="158" y="85"/>
                    </a:cubicBezTo>
                    <a:cubicBezTo>
                      <a:pt x="158" y="82"/>
                      <a:pt x="161" y="79"/>
                      <a:pt x="165" y="79"/>
                    </a:cubicBezTo>
                    <a:cubicBezTo>
                      <a:pt x="165" y="79"/>
                      <a:pt x="165" y="79"/>
                      <a:pt x="165" y="79"/>
                    </a:cubicBezTo>
                    <a:cubicBezTo>
                      <a:pt x="165" y="79"/>
                      <a:pt x="165" y="79"/>
                      <a:pt x="165" y="79"/>
                    </a:cubicBezTo>
                    <a:cubicBezTo>
                      <a:pt x="197" y="80"/>
                      <a:pt x="197" y="80"/>
                      <a:pt x="197" y="80"/>
                    </a:cubicBezTo>
                    <a:cubicBezTo>
                      <a:pt x="201" y="81"/>
                      <a:pt x="203" y="83"/>
                      <a:pt x="203" y="87"/>
                    </a:cubicBezTo>
                    <a:cubicBezTo>
                      <a:pt x="203" y="90"/>
                      <a:pt x="200" y="93"/>
                      <a:pt x="197" y="93"/>
                    </a:cubicBezTo>
                    <a:moveTo>
                      <a:pt x="133" y="91"/>
                    </a:moveTo>
                    <a:cubicBezTo>
                      <a:pt x="133" y="91"/>
                      <a:pt x="133" y="91"/>
                      <a:pt x="133" y="91"/>
                    </a:cubicBezTo>
                    <a:cubicBezTo>
                      <a:pt x="100" y="91"/>
                      <a:pt x="100" y="91"/>
                      <a:pt x="100" y="91"/>
                    </a:cubicBezTo>
                    <a:cubicBezTo>
                      <a:pt x="96" y="91"/>
                      <a:pt x="93" y="88"/>
                      <a:pt x="93" y="84"/>
                    </a:cubicBezTo>
                    <a:cubicBezTo>
                      <a:pt x="93" y="80"/>
                      <a:pt x="96" y="77"/>
                      <a:pt x="100" y="77"/>
                    </a:cubicBezTo>
                    <a:cubicBezTo>
                      <a:pt x="100" y="77"/>
                      <a:pt x="100" y="77"/>
                      <a:pt x="100" y="77"/>
                    </a:cubicBezTo>
                    <a:cubicBezTo>
                      <a:pt x="133" y="78"/>
                      <a:pt x="133" y="78"/>
                      <a:pt x="133" y="78"/>
                    </a:cubicBezTo>
                    <a:cubicBezTo>
                      <a:pt x="136" y="78"/>
                      <a:pt x="139" y="81"/>
                      <a:pt x="139" y="85"/>
                    </a:cubicBezTo>
                    <a:cubicBezTo>
                      <a:pt x="139" y="89"/>
                      <a:pt x="136" y="91"/>
                      <a:pt x="133" y="91"/>
                    </a:cubicBezTo>
                    <a:moveTo>
                      <a:pt x="36" y="92"/>
                    </a:moveTo>
                    <a:cubicBezTo>
                      <a:pt x="31" y="92"/>
                      <a:pt x="28" y="89"/>
                      <a:pt x="28" y="85"/>
                    </a:cubicBezTo>
                    <a:cubicBezTo>
                      <a:pt x="28" y="81"/>
                      <a:pt x="31" y="77"/>
                      <a:pt x="35" y="77"/>
                    </a:cubicBezTo>
                    <a:cubicBezTo>
                      <a:pt x="36" y="77"/>
                      <a:pt x="36" y="77"/>
                      <a:pt x="36" y="77"/>
                    </a:cubicBezTo>
                    <a:cubicBezTo>
                      <a:pt x="68" y="77"/>
                      <a:pt x="68" y="77"/>
                      <a:pt x="68" y="77"/>
                    </a:cubicBezTo>
                    <a:cubicBezTo>
                      <a:pt x="72" y="77"/>
                      <a:pt x="75" y="80"/>
                      <a:pt x="75" y="84"/>
                    </a:cubicBezTo>
                    <a:cubicBezTo>
                      <a:pt x="75" y="88"/>
                      <a:pt x="72" y="91"/>
                      <a:pt x="68" y="91"/>
                    </a:cubicBezTo>
                    <a:cubicBezTo>
                      <a:pt x="36" y="92"/>
                      <a:pt x="36" y="92"/>
                      <a:pt x="36" y="92"/>
                    </a:cubicBezTo>
                    <a:cubicBezTo>
                      <a:pt x="36" y="92"/>
                      <a:pt x="36" y="92"/>
                      <a:pt x="36" y="92"/>
                    </a:cubicBezTo>
                    <a:moveTo>
                      <a:pt x="299" y="19"/>
                    </a:moveTo>
                    <a:cubicBezTo>
                      <a:pt x="298" y="19"/>
                      <a:pt x="296" y="19"/>
                      <a:pt x="295" y="19"/>
                    </a:cubicBezTo>
                    <a:cubicBezTo>
                      <a:pt x="143" y="33"/>
                      <a:pt x="31" y="0"/>
                      <a:pt x="20" y="88"/>
                    </a:cubicBezTo>
                    <a:cubicBezTo>
                      <a:pt x="0" y="235"/>
                      <a:pt x="382" y="507"/>
                      <a:pt x="701" y="582"/>
                    </a:cubicBezTo>
                    <a:cubicBezTo>
                      <a:pt x="890" y="626"/>
                      <a:pt x="1148" y="667"/>
                      <a:pt x="1309" y="667"/>
                    </a:cubicBezTo>
                    <a:cubicBezTo>
                      <a:pt x="1420" y="667"/>
                      <a:pt x="1486" y="647"/>
                      <a:pt x="1450" y="596"/>
                    </a:cubicBezTo>
                    <a:cubicBezTo>
                      <a:pt x="1304" y="385"/>
                      <a:pt x="416" y="19"/>
                      <a:pt x="299" y="19"/>
                    </a:cubicBezTo>
                  </a:path>
                </a:pathLst>
              </a:custGeom>
              <a:solidFill>
                <a:schemeClr val="tx2"/>
              </a:solidFill>
              <a:ln>
                <a:noFill/>
              </a:ln>
            </p:spPr>
            <p:txBody>
              <a:bodyPr vert="horz" wrap="square" lIns="89643" tIns="44822" rIns="89643" bIns="44822" numCol="1" anchor="t" anchorCtr="0" compatLnSpc="1">
                <a:prstTxWarp prst="textNoShape">
                  <a:avLst/>
                </a:prstTxWarp>
              </a:bodyPr>
              <a:lstStyle/>
              <a:p>
                <a:pPr marL="0" marR="0" lvl="0" indent="0" algn="l" defTabSz="914348"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a:ln>
                    <a:noFill/>
                  </a:ln>
                  <a:solidFill>
                    <a:prstClr val="black"/>
                  </a:solidFill>
                  <a:effectLst/>
                  <a:uLnTx/>
                  <a:uFillTx/>
                  <a:latin typeface="Calibri" panose="020F0502020204030204"/>
                  <a:ea typeface="Heiti SC Light" charset="-122"/>
                  <a:cs typeface="+mn-cs"/>
                  <a:sym typeface="Gill Sans" charset="0"/>
                </a:endParaRPr>
              </a:p>
            </p:txBody>
          </p:sp>
          <p:sp>
            <p:nvSpPr>
              <p:cNvPr id="79" name="Freeform 617"/>
              <p:cNvSpPr>
                <a:spLocks noEditPoints="1"/>
              </p:cNvSpPr>
              <p:nvPr/>
            </p:nvSpPr>
            <p:spPr bwMode="auto">
              <a:xfrm>
                <a:off x="3138444" y="5338409"/>
                <a:ext cx="6911297" cy="2528267"/>
              </a:xfrm>
              <a:custGeom>
                <a:avLst/>
                <a:gdLst>
                  <a:gd name="T0" fmla="*/ 0 w 2505"/>
                  <a:gd name="T1" fmla="*/ 3 h 916"/>
                  <a:gd name="T2" fmla="*/ 81 w 2505"/>
                  <a:gd name="T3" fmla="*/ 0 h 916"/>
                  <a:gd name="T4" fmla="*/ 146 w 2505"/>
                  <a:gd name="T5" fmla="*/ 6 h 916"/>
                  <a:gd name="T6" fmla="*/ 178 w 2505"/>
                  <a:gd name="T7" fmla="*/ 6 h 916"/>
                  <a:gd name="T8" fmla="*/ 176 w 2505"/>
                  <a:gd name="T9" fmla="*/ 3 h 916"/>
                  <a:gd name="T10" fmla="*/ 276 w 2505"/>
                  <a:gd name="T11" fmla="*/ 5 h 916"/>
                  <a:gd name="T12" fmla="*/ 340 w 2505"/>
                  <a:gd name="T13" fmla="*/ 18 h 916"/>
                  <a:gd name="T14" fmla="*/ 372 w 2505"/>
                  <a:gd name="T15" fmla="*/ 21 h 916"/>
                  <a:gd name="T16" fmla="*/ 368 w 2505"/>
                  <a:gd name="T17" fmla="*/ 15 h 916"/>
                  <a:gd name="T18" fmla="*/ 470 w 2505"/>
                  <a:gd name="T19" fmla="*/ 20 h 916"/>
                  <a:gd name="T20" fmla="*/ 534 w 2505"/>
                  <a:gd name="T21" fmla="*/ 40 h 916"/>
                  <a:gd name="T22" fmla="*/ 565 w 2505"/>
                  <a:gd name="T23" fmla="*/ 45 h 916"/>
                  <a:gd name="T24" fmla="*/ 560 w 2505"/>
                  <a:gd name="T25" fmla="*/ 37 h 916"/>
                  <a:gd name="T26" fmla="*/ 664 w 2505"/>
                  <a:gd name="T27" fmla="*/ 46 h 916"/>
                  <a:gd name="T28" fmla="*/ 726 w 2505"/>
                  <a:gd name="T29" fmla="*/ 71 h 916"/>
                  <a:gd name="T30" fmla="*/ 757 w 2505"/>
                  <a:gd name="T31" fmla="*/ 78 h 916"/>
                  <a:gd name="T32" fmla="*/ 751 w 2505"/>
                  <a:gd name="T33" fmla="*/ 68 h 916"/>
                  <a:gd name="T34" fmla="*/ 856 w 2505"/>
                  <a:gd name="T35" fmla="*/ 81 h 916"/>
                  <a:gd name="T36" fmla="*/ 916 w 2505"/>
                  <a:gd name="T37" fmla="*/ 111 h 916"/>
                  <a:gd name="T38" fmla="*/ 947 w 2505"/>
                  <a:gd name="T39" fmla="*/ 119 h 916"/>
                  <a:gd name="T40" fmla="*/ 941 w 2505"/>
                  <a:gd name="T41" fmla="*/ 108 h 916"/>
                  <a:gd name="T42" fmla="*/ 1046 w 2505"/>
                  <a:gd name="T43" fmla="*/ 125 h 916"/>
                  <a:gd name="T44" fmla="*/ 1104 w 2505"/>
                  <a:gd name="T45" fmla="*/ 160 h 916"/>
                  <a:gd name="T46" fmla="*/ 1135 w 2505"/>
                  <a:gd name="T47" fmla="*/ 169 h 916"/>
                  <a:gd name="T48" fmla="*/ 1129 w 2505"/>
                  <a:gd name="T49" fmla="*/ 158 h 916"/>
                  <a:gd name="T50" fmla="*/ 1234 w 2505"/>
                  <a:gd name="T51" fmla="*/ 180 h 916"/>
                  <a:gd name="T52" fmla="*/ 1290 w 2505"/>
                  <a:gd name="T53" fmla="*/ 218 h 916"/>
                  <a:gd name="T54" fmla="*/ 1320 w 2505"/>
                  <a:gd name="T55" fmla="*/ 229 h 916"/>
                  <a:gd name="T56" fmla="*/ 1314 w 2505"/>
                  <a:gd name="T57" fmla="*/ 217 h 916"/>
                  <a:gd name="T58" fmla="*/ 1418 w 2505"/>
                  <a:gd name="T59" fmla="*/ 244 h 916"/>
                  <a:gd name="T60" fmla="*/ 1484 w 2505"/>
                  <a:gd name="T61" fmla="*/ 280 h 916"/>
                  <a:gd name="T62" fmla="*/ 1532 w 2505"/>
                  <a:gd name="T63" fmla="*/ 310 h 916"/>
                  <a:gd name="T64" fmla="*/ 1562 w 2505"/>
                  <a:gd name="T65" fmla="*/ 322 h 916"/>
                  <a:gd name="T66" fmla="*/ 1617 w 2505"/>
                  <a:gd name="T67" fmla="*/ 336 h 916"/>
                  <a:gd name="T68" fmla="*/ 1688 w 2505"/>
                  <a:gd name="T69" fmla="*/ 359 h 916"/>
                  <a:gd name="T70" fmla="*/ 1688 w 2505"/>
                  <a:gd name="T71" fmla="*/ 359 h 916"/>
                  <a:gd name="T72" fmla="*/ 1776 w 2505"/>
                  <a:gd name="T73" fmla="*/ 402 h 916"/>
                  <a:gd name="T74" fmla="*/ 1837 w 2505"/>
                  <a:gd name="T75" fmla="*/ 444 h 916"/>
                  <a:gd name="T76" fmla="*/ 1883 w 2505"/>
                  <a:gd name="T77" fmla="*/ 478 h 916"/>
                  <a:gd name="T78" fmla="*/ 1911 w 2505"/>
                  <a:gd name="T79" fmla="*/ 494 h 916"/>
                  <a:gd name="T80" fmla="*/ 1965 w 2505"/>
                  <a:gd name="T81" fmla="*/ 516 h 916"/>
                  <a:gd name="T82" fmla="*/ 2030 w 2505"/>
                  <a:gd name="T83" fmla="*/ 547 h 916"/>
                  <a:gd name="T84" fmla="*/ 2030 w 2505"/>
                  <a:gd name="T85" fmla="*/ 547 h 916"/>
                  <a:gd name="T86" fmla="*/ 2112 w 2505"/>
                  <a:gd name="T87" fmla="*/ 601 h 916"/>
                  <a:gd name="T88" fmla="*/ 2167 w 2505"/>
                  <a:gd name="T89" fmla="*/ 646 h 916"/>
                  <a:gd name="T90" fmla="*/ 2213 w 2505"/>
                  <a:gd name="T91" fmla="*/ 684 h 916"/>
                  <a:gd name="T92" fmla="*/ 2239 w 2505"/>
                  <a:gd name="T93" fmla="*/ 703 h 916"/>
                  <a:gd name="T94" fmla="*/ 2296 w 2505"/>
                  <a:gd name="T95" fmla="*/ 735 h 916"/>
                  <a:gd name="T96" fmla="*/ 2296 w 2505"/>
                  <a:gd name="T97" fmla="*/ 735 h 916"/>
                  <a:gd name="T98" fmla="*/ 2372 w 2505"/>
                  <a:gd name="T99" fmla="*/ 797 h 916"/>
                  <a:gd name="T100" fmla="*/ 2421 w 2505"/>
                  <a:gd name="T101" fmla="*/ 842 h 916"/>
                  <a:gd name="T102" fmla="*/ 2468 w 2505"/>
                  <a:gd name="T103" fmla="*/ 884 h 916"/>
                  <a:gd name="T104" fmla="*/ 2493 w 2505"/>
                  <a:gd name="T105" fmla="*/ 90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05" h="916">
                    <a:moveTo>
                      <a:pt x="0" y="3"/>
                    </a:moveTo>
                    <a:cubicBezTo>
                      <a:pt x="16" y="2"/>
                      <a:pt x="16" y="2"/>
                      <a:pt x="16" y="2"/>
                    </a:cubicBezTo>
                    <a:cubicBezTo>
                      <a:pt x="16" y="3"/>
                      <a:pt x="16" y="3"/>
                      <a:pt x="16" y="3"/>
                    </a:cubicBezTo>
                    <a:cubicBezTo>
                      <a:pt x="16" y="3"/>
                      <a:pt x="16" y="3"/>
                      <a:pt x="16" y="3"/>
                    </a:cubicBezTo>
                    <a:cubicBezTo>
                      <a:pt x="16" y="3"/>
                      <a:pt x="16" y="3"/>
                      <a:pt x="16" y="3"/>
                    </a:cubicBezTo>
                    <a:lnTo>
                      <a:pt x="0" y="3"/>
                    </a:lnTo>
                    <a:close/>
                    <a:moveTo>
                      <a:pt x="48" y="2"/>
                    </a:moveTo>
                    <a:cubicBezTo>
                      <a:pt x="48" y="2"/>
                      <a:pt x="48" y="3"/>
                      <a:pt x="48" y="3"/>
                    </a:cubicBezTo>
                    <a:cubicBezTo>
                      <a:pt x="81" y="3"/>
                      <a:pt x="81" y="3"/>
                      <a:pt x="81" y="3"/>
                    </a:cubicBezTo>
                    <a:cubicBezTo>
                      <a:pt x="81" y="3"/>
                      <a:pt x="81" y="3"/>
                      <a:pt x="81" y="3"/>
                    </a:cubicBezTo>
                    <a:cubicBezTo>
                      <a:pt x="82" y="3"/>
                      <a:pt x="82" y="2"/>
                      <a:pt x="82" y="2"/>
                    </a:cubicBezTo>
                    <a:cubicBezTo>
                      <a:pt x="82" y="1"/>
                      <a:pt x="82" y="0"/>
                      <a:pt x="81" y="0"/>
                    </a:cubicBezTo>
                    <a:cubicBezTo>
                      <a:pt x="48" y="1"/>
                      <a:pt x="48" y="1"/>
                      <a:pt x="48" y="1"/>
                    </a:cubicBezTo>
                    <a:cubicBezTo>
                      <a:pt x="48" y="1"/>
                      <a:pt x="48" y="1"/>
                      <a:pt x="48" y="2"/>
                    </a:cubicBezTo>
                    <a:close/>
                    <a:moveTo>
                      <a:pt x="112" y="2"/>
                    </a:moveTo>
                    <a:cubicBezTo>
                      <a:pt x="111" y="3"/>
                      <a:pt x="112" y="4"/>
                      <a:pt x="113" y="4"/>
                    </a:cubicBezTo>
                    <a:cubicBezTo>
                      <a:pt x="146" y="6"/>
                      <a:pt x="146" y="6"/>
                      <a:pt x="146" y="6"/>
                    </a:cubicBezTo>
                    <a:cubicBezTo>
                      <a:pt x="146" y="6"/>
                      <a:pt x="146" y="6"/>
                      <a:pt x="146" y="6"/>
                    </a:cubicBezTo>
                    <a:cubicBezTo>
                      <a:pt x="147" y="6"/>
                      <a:pt x="148" y="4"/>
                      <a:pt x="148" y="3"/>
                    </a:cubicBezTo>
                    <a:cubicBezTo>
                      <a:pt x="148" y="2"/>
                      <a:pt x="147" y="0"/>
                      <a:pt x="146" y="0"/>
                    </a:cubicBezTo>
                    <a:cubicBezTo>
                      <a:pt x="113" y="0"/>
                      <a:pt x="113" y="0"/>
                      <a:pt x="113" y="0"/>
                    </a:cubicBezTo>
                    <a:cubicBezTo>
                      <a:pt x="112" y="0"/>
                      <a:pt x="112" y="1"/>
                      <a:pt x="112" y="2"/>
                    </a:cubicBezTo>
                    <a:close/>
                    <a:moveTo>
                      <a:pt x="176" y="3"/>
                    </a:moveTo>
                    <a:cubicBezTo>
                      <a:pt x="176" y="5"/>
                      <a:pt x="177" y="6"/>
                      <a:pt x="178" y="6"/>
                    </a:cubicBezTo>
                    <a:cubicBezTo>
                      <a:pt x="211" y="8"/>
                      <a:pt x="211" y="8"/>
                      <a:pt x="211" y="8"/>
                    </a:cubicBezTo>
                    <a:cubicBezTo>
                      <a:pt x="211" y="8"/>
                      <a:pt x="211" y="8"/>
                      <a:pt x="211" y="8"/>
                    </a:cubicBezTo>
                    <a:cubicBezTo>
                      <a:pt x="212" y="8"/>
                      <a:pt x="214" y="7"/>
                      <a:pt x="214" y="5"/>
                    </a:cubicBezTo>
                    <a:cubicBezTo>
                      <a:pt x="214" y="3"/>
                      <a:pt x="213" y="2"/>
                      <a:pt x="211" y="2"/>
                    </a:cubicBezTo>
                    <a:cubicBezTo>
                      <a:pt x="178" y="1"/>
                      <a:pt x="178" y="1"/>
                      <a:pt x="178" y="1"/>
                    </a:cubicBezTo>
                    <a:cubicBezTo>
                      <a:pt x="177" y="1"/>
                      <a:pt x="176" y="2"/>
                      <a:pt x="176" y="3"/>
                    </a:cubicBezTo>
                    <a:close/>
                    <a:moveTo>
                      <a:pt x="240" y="6"/>
                    </a:moveTo>
                    <a:cubicBezTo>
                      <a:pt x="240" y="8"/>
                      <a:pt x="241" y="10"/>
                      <a:pt x="243" y="10"/>
                    </a:cubicBezTo>
                    <a:cubicBezTo>
                      <a:pt x="275" y="12"/>
                      <a:pt x="275" y="12"/>
                      <a:pt x="275" y="12"/>
                    </a:cubicBezTo>
                    <a:cubicBezTo>
                      <a:pt x="275" y="12"/>
                      <a:pt x="275" y="12"/>
                      <a:pt x="275" y="12"/>
                    </a:cubicBezTo>
                    <a:cubicBezTo>
                      <a:pt x="278" y="12"/>
                      <a:pt x="279" y="11"/>
                      <a:pt x="279" y="9"/>
                    </a:cubicBezTo>
                    <a:cubicBezTo>
                      <a:pt x="280" y="6"/>
                      <a:pt x="278" y="5"/>
                      <a:pt x="276" y="5"/>
                    </a:cubicBezTo>
                    <a:cubicBezTo>
                      <a:pt x="243" y="3"/>
                      <a:pt x="243" y="3"/>
                      <a:pt x="243" y="3"/>
                    </a:cubicBezTo>
                    <a:cubicBezTo>
                      <a:pt x="242" y="3"/>
                      <a:pt x="240" y="4"/>
                      <a:pt x="240" y="6"/>
                    </a:cubicBezTo>
                    <a:close/>
                    <a:moveTo>
                      <a:pt x="304" y="10"/>
                    </a:moveTo>
                    <a:cubicBezTo>
                      <a:pt x="304" y="13"/>
                      <a:pt x="305" y="15"/>
                      <a:pt x="308" y="15"/>
                    </a:cubicBezTo>
                    <a:cubicBezTo>
                      <a:pt x="340" y="18"/>
                      <a:pt x="340" y="18"/>
                      <a:pt x="340" y="18"/>
                    </a:cubicBezTo>
                    <a:cubicBezTo>
                      <a:pt x="340" y="18"/>
                      <a:pt x="340" y="18"/>
                      <a:pt x="340" y="18"/>
                    </a:cubicBezTo>
                    <a:cubicBezTo>
                      <a:pt x="343" y="18"/>
                      <a:pt x="345" y="16"/>
                      <a:pt x="345" y="13"/>
                    </a:cubicBezTo>
                    <a:cubicBezTo>
                      <a:pt x="345" y="11"/>
                      <a:pt x="343" y="9"/>
                      <a:pt x="341" y="8"/>
                    </a:cubicBezTo>
                    <a:cubicBezTo>
                      <a:pt x="308" y="6"/>
                      <a:pt x="308" y="6"/>
                      <a:pt x="308" y="6"/>
                    </a:cubicBezTo>
                    <a:cubicBezTo>
                      <a:pt x="306" y="6"/>
                      <a:pt x="304" y="8"/>
                      <a:pt x="304" y="10"/>
                    </a:cubicBezTo>
                    <a:close/>
                    <a:moveTo>
                      <a:pt x="368" y="15"/>
                    </a:moveTo>
                    <a:cubicBezTo>
                      <a:pt x="368" y="18"/>
                      <a:pt x="370" y="21"/>
                      <a:pt x="372" y="21"/>
                    </a:cubicBezTo>
                    <a:cubicBezTo>
                      <a:pt x="405" y="24"/>
                      <a:pt x="405" y="24"/>
                      <a:pt x="405" y="24"/>
                    </a:cubicBezTo>
                    <a:cubicBezTo>
                      <a:pt x="405" y="24"/>
                      <a:pt x="405" y="24"/>
                      <a:pt x="405" y="24"/>
                    </a:cubicBezTo>
                    <a:cubicBezTo>
                      <a:pt x="408" y="24"/>
                      <a:pt x="410" y="22"/>
                      <a:pt x="410" y="19"/>
                    </a:cubicBezTo>
                    <a:cubicBezTo>
                      <a:pt x="411" y="16"/>
                      <a:pt x="409" y="14"/>
                      <a:pt x="406" y="14"/>
                    </a:cubicBezTo>
                    <a:cubicBezTo>
                      <a:pt x="373" y="11"/>
                      <a:pt x="373" y="11"/>
                      <a:pt x="373" y="11"/>
                    </a:cubicBezTo>
                    <a:cubicBezTo>
                      <a:pt x="371" y="11"/>
                      <a:pt x="368" y="13"/>
                      <a:pt x="368" y="15"/>
                    </a:cubicBezTo>
                    <a:close/>
                    <a:moveTo>
                      <a:pt x="432" y="22"/>
                    </a:moveTo>
                    <a:cubicBezTo>
                      <a:pt x="432" y="25"/>
                      <a:pt x="434" y="27"/>
                      <a:pt x="437" y="28"/>
                    </a:cubicBezTo>
                    <a:cubicBezTo>
                      <a:pt x="469" y="32"/>
                      <a:pt x="469" y="32"/>
                      <a:pt x="469" y="32"/>
                    </a:cubicBezTo>
                    <a:cubicBezTo>
                      <a:pt x="469" y="32"/>
                      <a:pt x="469" y="32"/>
                      <a:pt x="469" y="32"/>
                    </a:cubicBezTo>
                    <a:cubicBezTo>
                      <a:pt x="472" y="32"/>
                      <a:pt x="475" y="30"/>
                      <a:pt x="476" y="26"/>
                    </a:cubicBezTo>
                    <a:cubicBezTo>
                      <a:pt x="476" y="23"/>
                      <a:pt x="474" y="20"/>
                      <a:pt x="470" y="20"/>
                    </a:cubicBezTo>
                    <a:cubicBezTo>
                      <a:pt x="438" y="17"/>
                      <a:pt x="438" y="17"/>
                      <a:pt x="438" y="17"/>
                    </a:cubicBezTo>
                    <a:cubicBezTo>
                      <a:pt x="435" y="16"/>
                      <a:pt x="432" y="19"/>
                      <a:pt x="432" y="22"/>
                    </a:cubicBezTo>
                    <a:close/>
                    <a:moveTo>
                      <a:pt x="496" y="29"/>
                    </a:moveTo>
                    <a:cubicBezTo>
                      <a:pt x="495" y="32"/>
                      <a:pt x="498" y="35"/>
                      <a:pt x="501" y="36"/>
                    </a:cubicBezTo>
                    <a:cubicBezTo>
                      <a:pt x="533" y="40"/>
                      <a:pt x="533" y="40"/>
                      <a:pt x="533" y="40"/>
                    </a:cubicBezTo>
                    <a:cubicBezTo>
                      <a:pt x="534" y="40"/>
                      <a:pt x="534" y="40"/>
                      <a:pt x="534" y="40"/>
                    </a:cubicBezTo>
                    <a:cubicBezTo>
                      <a:pt x="537" y="41"/>
                      <a:pt x="540" y="38"/>
                      <a:pt x="541" y="35"/>
                    </a:cubicBezTo>
                    <a:cubicBezTo>
                      <a:pt x="541" y="31"/>
                      <a:pt x="539" y="28"/>
                      <a:pt x="535" y="27"/>
                    </a:cubicBezTo>
                    <a:cubicBezTo>
                      <a:pt x="503" y="24"/>
                      <a:pt x="503" y="24"/>
                      <a:pt x="503" y="24"/>
                    </a:cubicBezTo>
                    <a:cubicBezTo>
                      <a:pt x="499" y="23"/>
                      <a:pt x="496" y="25"/>
                      <a:pt x="496" y="29"/>
                    </a:cubicBezTo>
                    <a:close/>
                    <a:moveTo>
                      <a:pt x="560" y="37"/>
                    </a:moveTo>
                    <a:cubicBezTo>
                      <a:pt x="559" y="41"/>
                      <a:pt x="562" y="44"/>
                      <a:pt x="565" y="45"/>
                    </a:cubicBezTo>
                    <a:cubicBezTo>
                      <a:pt x="598" y="50"/>
                      <a:pt x="598" y="50"/>
                      <a:pt x="598" y="50"/>
                    </a:cubicBezTo>
                    <a:cubicBezTo>
                      <a:pt x="598" y="50"/>
                      <a:pt x="598" y="50"/>
                      <a:pt x="598" y="50"/>
                    </a:cubicBezTo>
                    <a:cubicBezTo>
                      <a:pt x="601" y="50"/>
                      <a:pt x="605" y="47"/>
                      <a:pt x="605" y="44"/>
                    </a:cubicBezTo>
                    <a:cubicBezTo>
                      <a:pt x="606" y="40"/>
                      <a:pt x="603" y="36"/>
                      <a:pt x="600" y="36"/>
                    </a:cubicBezTo>
                    <a:cubicBezTo>
                      <a:pt x="567" y="32"/>
                      <a:pt x="567" y="32"/>
                      <a:pt x="567" y="32"/>
                    </a:cubicBezTo>
                    <a:cubicBezTo>
                      <a:pt x="564" y="31"/>
                      <a:pt x="560" y="34"/>
                      <a:pt x="560" y="37"/>
                    </a:cubicBezTo>
                    <a:close/>
                    <a:moveTo>
                      <a:pt x="624" y="46"/>
                    </a:moveTo>
                    <a:cubicBezTo>
                      <a:pt x="623" y="50"/>
                      <a:pt x="626" y="54"/>
                      <a:pt x="630" y="55"/>
                    </a:cubicBezTo>
                    <a:cubicBezTo>
                      <a:pt x="662" y="60"/>
                      <a:pt x="662" y="60"/>
                      <a:pt x="662" y="60"/>
                    </a:cubicBezTo>
                    <a:cubicBezTo>
                      <a:pt x="662" y="60"/>
                      <a:pt x="662" y="60"/>
                      <a:pt x="662" y="60"/>
                    </a:cubicBezTo>
                    <a:cubicBezTo>
                      <a:pt x="666" y="61"/>
                      <a:pt x="669" y="58"/>
                      <a:pt x="670" y="54"/>
                    </a:cubicBezTo>
                    <a:cubicBezTo>
                      <a:pt x="671" y="50"/>
                      <a:pt x="668" y="46"/>
                      <a:pt x="664" y="46"/>
                    </a:cubicBezTo>
                    <a:cubicBezTo>
                      <a:pt x="632" y="41"/>
                      <a:pt x="632" y="41"/>
                      <a:pt x="632" y="41"/>
                    </a:cubicBezTo>
                    <a:cubicBezTo>
                      <a:pt x="628" y="40"/>
                      <a:pt x="624" y="43"/>
                      <a:pt x="624" y="46"/>
                    </a:cubicBezTo>
                    <a:close/>
                    <a:moveTo>
                      <a:pt x="687" y="57"/>
                    </a:moveTo>
                    <a:cubicBezTo>
                      <a:pt x="687" y="61"/>
                      <a:pt x="689" y="65"/>
                      <a:pt x="693" y="66"/>
                    </a:cubicBezTo>
                    <a:cubicBezTo>
                      <a:pt x="725" y="71"/>
                      <a:pt x="725" y="71"/>
                      <a:pt x="725" y="71"/>
                    </a:cubicBezTo>
                    <a:cubicBezTo>
                      <a:pt x="726" y="71"/>
                      <a:pt x="726" y="71"/>
                      <a:pt x="726" y="71"/>
                    </a:cubicBezTo>
                    <a:cubicBezTo>
                      <a:pt x="730" y="72"/>
                      <a:pt x="734" y="69"/>
                      <a:pt x="734" y="65"/>
                    </a:cubicBezTo>
                    <a:cubicBezTo>
                      <a:pt x="735" y="61"/>
                      <a:pt x="732" y="57"/>
                      <a:pt x="728" y="56"/>
                    </a:cubicBezTo>
                    <a:cubicBezTo>
                      <a:pt x="696" y="51"/>
                      <a:pt x="696" y="51"/>
                      <a:pt x="696" y="51"/>
                    </a:cubicBezTo>
                    <a:cubicBezTo>
                      <a:pt x="692" y="50"/>
                      <a:pt x="688" y="53"/>
                      <a:pt x="687" y="57"/>
                    </a:cubicBezTo>
                    <a:close/>
                    <a:moveTo>
                      <a:pt x="751" y="68"/>
                    </a:moveTo>
                    <a:cubicBezTo>
                      <a:pt x="750" y="72"/>
                      <a:pt x="753" y="77"/>
                      <a:pt x="757" y="78"/>
                    </a:cubicBezTo>
                    <a:cubicBezTo>
                      <a:pt x="789" y="84"/>
                      <a:pt x="789" y="84"/>
                      <a:pt x="789" y="84"/>
                    </a:cubicBezTo>
                    <a:cubicBezTo>
                      <a:pt x="789" y="84"/>
                      <a:pt x="789" y="84"/>
                      <a:pt x="789" y="84"/>
                    </a:cubicBezTo>
                    <a:cubicBezTo>
                      <a:pt x="794" y="85"/>
                      <a:pt x="798" y="82"/>
                      <a:pt x="799" y="77"/>
                    </a:cubicBezTo>
                    <a:cubicBezTo>
                      <a:pt x="799" y="73"/>
                      <a:pt x="797" y="69"/>
                      <a:pt x="792" y="68"/>
                    </a:cubicBezTo>
                    <a:cubicBezTo>
                      <a:pt x="760" y="62"/>
                      <a:pt x="760" y="62"/>
                      <a:pt x="760" y="62"/>
                    </a:cubicBezTo>
                    <a:cubicBezTo>
                      <a:pt x="756" y="61"/>
                      <a:pt x="752" y="64"/>
                      <a:pt x="751" y="68"/>
                    </a:cubicBezTo>
                    <a:close/>
                    <a:moveTo>
                      <a:pt x="814" y="81"/>
                    </a:moveTo>
                    <a:cubicBezTo>
                      <a:pt x="814" y="85"/>
                      <a:pt x="816" y="89"/>
                      <a:pt x="821" y="90"/>
                    </a:cubicBezTo>
                    <a:cubicBezTo>
                      <a:pt x="853" y="97"/>
                      <a:pt x="853" y="97"/>
                      <a:pt x="853" y="97"/>
                    </a:cubicBezTo>
                    <a:cubicBezTo>
                      <a:pt x="853" y="97"/>
                      <a:pt x="853" y="97"/>
                      <a:pt x="853" y="97"/>
                    </a:cubicBezTo>
                    <a:cubicBezTo>
                      <a:pt x="857" y="98"/>
                      <a:pt x="862" y="95"/>
                      <a:pt x="863" y="91"/>
                    </a:cubicBezTo>
                    <a:cubicBezTo>
                      <a:pt x="863" y="86"/>
                      <a:pt x="861" y="82"/>
                      <a:pt x="856" y="81"/>
                    </a:cubicBezTo>
                    <a:cubicBezTo>
                      <a:pt x="824" y="74"/>
                      <a:pt x="824" y="74"/>
                      <a:pt x="824" y="74"/>
                    </a:cubicBezTo>
                    <a:cubicBezTo>
                      <a:pt x="820" y="73"/>
                      <a:pt x="815" y="76"/>
                      <a:pt x="814" y="81"/>
                    </a:cubicBezTo>
                    <a:close/>
                    <a:moveTo>
                      <a:pt x="878" y="94"/>
                    </a:moveTo>
                    <a:cubicBezTo>
                      <a:pt x="877" y="99"/>
                      <a:pt x="880" y="103"/>
                      <a:pt x="884" y="104"/>
                    </a:cubicBezTo>
                    <a:cubicBezTo>
                      <a:pt x="916" y="111"/>
                      <a:pt x="916" y="111"/>
                      <a:pt x="916" y="111"/>
                    </a:cubicBezTo>
                    <a:cubicBezTo>
                      <a:pt x="916" y="111"/>
                      <a:pt x="916" y="111"/>
                      <a:pt x="916" y="111"/>
                    </a:cubicBezTo>
                    <a:cubicBezTo>
                      <a:pt x="921" y="113"/>
                      <a:pt x="925" y="110"/>
                      <a:pt x="926" y="105"/>
                    </a:cubicBezTo>
                    <a:cubicBezTo>
                      <a:pt x="927" y="100"/>
                      <a:pt x="924" y="96"/>
                      <a:pt x="920" y="95"/>
                    </a:cubicBezTo>
                    <a:cubicBezTo>
                      <a:pt x="888" y="88"/>
                      <a:pt x="888" y="88"/>
                      <a:pt x="888" y="88"/>
                    </a:cubicBezTo>
                    <a:cubicBezTo>
                      <a:pt x="883" y="87"/>
                      <a:pt x="879" y="89"/>
                      <a:pt x="878" y="94"/>
                    </a:cubicBezTo>
                    <a:close/>
                    <a:moveTo>
                      <a:pt x="941" y="108"/>
                    </a:moveTo>
                    <a:cubicBezTo>
                      <a:pt x="940" y="113"/>
                      <a:pt x="943" y="118"/>
                      <a:pt x="947" y="119"/>
                    </a:cubicBezTo>
                    <a:cubicBezTo>
                      <a:pt x="979" y="127"/>
                      <a:pt x="979" y="127"/>
                      <a:pt x="979" y="127"/>
                    </a:cubicBezTo>
                    <a:cubicBezTo>
                      <a:pt x="979" y="127"/>
                      <a:pt x="979" y="127"/>
                      <a:pt x="979" y="127"/>
                    </a:cubicBezTo>
                    <a:cubicBezTo>
                      <a:pt x="984" y="128"/>
                      <a:pt x="988" y="125"/>
                      <a:pt x="990" y="120"/>
                    </a:cubicBezTo>
                    <a:cubicBezTo>
                      <a:pt x="991" y="115"/>
                      <a:pt x="988" y="111"/>
                      <a:pt x="983" y="110"/>
                    </a:cubicBezTo>
                    <a:cubicBezTo>
                      <a:pt x="951" y="102"/>
                      <a:pt x="951" y="102"/>
                      <a:pt x="951" y="102"/>
                    </a:cubicBezTo>
                    <a:cubicBezTo>
                      <a:pt x="947" y="101"/>
                      <a:pt x="942" y="104"/>
                      <a:pt x="941" y="108"/>
                    </a:cubicBezTo>
                    <a:close/>
                    <a:moveTo>
                      <a:pt x="1004" y="124"/>
                    </a:moveTo>
                    <a:cubicBezTo>
                      <a:pt x="1002" y="129"/>
                      <a:pt x="1005" y="134"/>
                      <a:pt x="1010" y="135"/>
                    </a:cubicBezTo>
                    <a:cubicBezTo>
                      <a:pt x="1042" y="143"/>
                      <a:pt x="1042" y="143"/>
                      <a:pt x="1042" y="143"/>
                    </a:cubicBezTo>
                    <a:cubicBezTo>
                      <a:pt x="1042" y="143"/>
                      <a:pt x="1042" y="143"/>
                      <a:pt x="1042" y="143"/>
                    </a:cubicBezTo>
                    <a:cubicBezTo>
                      <a:pt x="1047" y="144"/>
                      <a:pt x="1051" y="142"/>
                      <a:pt x="1053" y="137"/>
                    </a:cubicBezTo>
                    <a:cubicBezTo>
                      <a:pt x="1054" y="132"/>
                      <a:pt x="1051" y="127"/>
                      <a:pt x="1046" y="125"/>
                    </a:cubicBezTo>
                    <a:cubicBezTo>
                      <a:pt x="1015" y="117"/>
                      <a:pt x="1015" y="117"/>
                      <a:pt x="1015" y="117"/>
                    </a:cubicBezTo>
                    <a:cubicBezTo>
                      <a:pt x="1010" y="116"/>
                      <a:pt x="1005" y="119"/>
                      <a:pt x="1004" y="124"/>
                    </a:cubicBezTo>
                    <a:close/>
                    <a:moveTo>
                      <a:pt x="1066" y="140"/>
                    </a:moveTo>
                    <a:cubicBezTo>
                      <a:pt x="1065" y="145"/>
                      <a:pt x="1068" y="150"/>
                      <a:pt x="1073" y="152"/>
                    </a:cubicBezTo>
                    <a:cubicBezTo>
                      <a:pt x="1104" y="160"/>
                      <a:pt x="1104" y="160"/>
                      <a:pt x="1104" y="160"/>
                    </a:cubicBezTo>
                    <a:cubicBezTo>
                      <a:pt x="1104" y="160"/>
                      <a:pt x="1104" y="160"/>
                      <a:pt x="1104" y="160"/>
                    </a:cubicBezTo>
                    <a:cubicBezTo>
                      <a:pt x="1109" y="162"/>
                      <a:pt x="1114" y="159"/>
                      <a:pt x="1115" y="154"/>
                    </a:cubicBezTo>
                    <a:cubicBezTo>
                      <a:pt x="1117" y="149"/>
                      <a:pt x="1114" y="144"/>
                      <a:pt x="1109" y="143"/>
                    </a:cubicBezTo>
                    <a:cubicBezTo>
                      <a:pt x="1078" y="134"/>
                      <a:pt x="1078" y="134"/>
                      <a:pt x="1078" y="134"/>
                    </a:cubicBezTo>
                    <a:cubicBezTo>
                      <a:pt x="1073" y="133"/>
                      <a:pt x="1068" y="135"/>
                      <a:pt x="1066" y="140"/>
                    </a:cubicBezTo>
                    <a:close/>
                    <a:moveTo>
                      <a:pt x="1129" y="158"/>
                    </a:moveTo>
                    <a:cubicBezTo>
                      <a:pt x="1127" y="163"/>
                      <a:pt x="1130" y="168"/>
                      <a:pt x="1135" y="169"/>
                    </a:cubicBezTo>
                    <a:cubicBezTo>
                      <a:pt x="1166" y="179"/>
                      <a:pt x="1166" y="179"/>
                      <a:pt x="1166" y="179"/>
                    </a:cubicBezTo>
                    <a:cubicBezTo>
                      <a:pt x="1166" y="179"/>
                      <a:pt x="1166" y="179"/>
                      <a:pt x="1166" y="179"/>
                    </a:cubicBezTo>
                    <a:cubicBezTo>
                      <a:pt x="1171" y="180"/>
                      <a:pt x="1176" y="177"/>
                      <a:pt x="1178" y="172"/>
                    </a:cubicBezTo>
                    <a:cubicBezTo>
                      <a:pt x="1179" y="167"/>
                      <a:pt x="1176" y="162"/>
                      <a:pt x="1172" y="161"/>
                    </a:cubicBezTo>
                    <a:cubicBezTo>
                      <a:pt x="1140" y="152"/>
                      <a:pt x="1140" y="152"/>
                      <a:pt x="1140" y="152"/>
                    </a:cubicBezTo>
                    <a:cubicBezTo>
                      <a:pt x="1135" y="150"/>
                      <a:pt x="1130" y="153"/>
                      <a:pt x="1129" y="158"/>
                    </a:cubicBezTo>
                    <a:close/>
                    <a:moveTo>
                      <a:pt x="1191" y="176"/>
                    </a:moveTo>
                    <a:cubicBezTo>
                      <a:pt x="1190" y="181"/>
                      <a:pt x="1192" y="187"/>
                      <a:pt x="1197" y="188"/>
                    </a:cubicBezTo>
                    <a:cubicBezTo>
                      <a:pt x="1228" y="198"/>
                      <a:pt x="1228" y="198"/>
                      <a:pt x="1228" y="198"/>
                    </a:cubicBezTo>
                    <a:cubicBezTo>
                      <a:pt x="1228" y="198"/>
                      <a:pt x="1228" y="198"/>
                      <a:pt x="1228" y="198"/>
                    </a:cubicBezTo>
                    <a:cubicBezTo>
                      <a:pt x="1233" y="199"/>
                      <a:pt x="1238" y="197"/>
                      <a:pt x="1240" y="192"/>
                    </a:cubicBezTo>
                    <a:cubicBezTo>
                      <a:pt x="1241" y="187"/>
                      <a:pt x="1239" y="182"/>
                      <a:pt x="1234" y="180"/>
                    </a:cubicBezTo>
                    <a:cubicBezTo>
                      <a:pt x="1203" y="170"/>
                      <a:pt x="1203" y="170"/>
                      <a:pt x="1203" y="170"/>
                    </a:cubicBezTo>
                    <a:cubicBezTo>
                      <a:pt x="1198" y="169"/>
                      <a:pt x="1193" y="171"/>
                      <a:pt x="1191" y="176"/>
                    </a:cubicBezTo>
                    <a:close/>
                    <a:moveTo>
                      <a:pt x="1253" y="196"/>
                    </a:moveTo>
                    <a:cubicBezTo>
                      <a:pt x="1251" y="201"/>
                      <a:pt x="1254" y="206"/>
                      <a:pt x="1259" y="208"/>
                    </a:cubicBezTo>
                    <a:cubicBezTo>
                      <a:pt x="1290" y="218"/>
                      <a:pt x="1290" y="218"/>
                      <a:pt x="1290" y="218"/>
                    </a:cubicBezTo>
                    <a:cubicBezTo>
                      <a:pt x="1290" y="218"/>
                      <a:pt x="1290" y="218"/>
                      <a:pt x="1290" y="218"/>
                    </a:cubicBezTo>
                    <a:cubicBezTo>
                      <a:pt x="1295" y="220"/>
                      <a:pt x="1300" y="217"/>
                      <a:pt x="1302" y="212"/>
                    </a:cubicBezTo>
                    <a:cubicBezTo>
                      <a:pt x="1303" y="207"/>
                      <a:pt x="1301" y="202"/>
                      <a:pt x="1296" y="200"/>
                    </a:cubicBezTo>
                    <a:cubicBezTo>
                      <a:pt x="1265" y="190"/>
                      <a:pt x="1265" y="190"/>
                      <a:pt x="1265" y="190"/>
                    </a:cubicBezTo>
                    <a:cubicBezTo>
                      <a:pt x="1260" y="188"/>
                      <a:pt x="1255" y="191"/>
                      <a:pt x="1253" y="196"/>
                    </a:cubicBezTo>
                    <a:close/>
                    <a:moveTo>
                      <a:pt x="1314" y="217"/>
                    </a:moveTo>
                    <a:cubicBezTo>
                      <a:pt x="1313" y="222"/>
                      <a:pt x="1315" y="227"/>
                      <a:pt x="1320" y="229"/>
                    </a:cubicBezTo>
                    <a:cubicBezTo>
                      <a:pt x="1351" y="240"/>
                      <a:pt x="1351" y="240"/>
                      <a:pt x="1351" y="240"/>
                    </a:cubicBezTo>
                    <a:cubicBezTo>
                      <a:pt x="1351" y="240"/>
                      <a:pt x="1351" y="240"/>
                      <a:pt x="1351" y="240"/>
                    </a:cubicBezTo>
                    <a:cubicBezTo>
                      <a:pt x="1356" y="240"/>
                      <a:pt x="1361" y="239"/>
                      <a:pt x="1363" y="234"/>
                    </a:cubicBezTo>
                    <a:cubicBezTo>
                      <a:pt x="1365" y="229"/>
                      <a:pt x="1362" y="223"/>
                      <a:pt x="1357" y="222"/>
                    </a:cubicBezTo>
                    <a:cubicBezTo>
                      <a:pt x="1327" y="211"/>
                      <a:pt x="1327" y="211"/>
                      <a:pt x="1327" y="211"/>
                    </a:cubicBezTo>
                    <a:cubicBezTo>
                      <a:pt x="1322" y="209"/>
                      <a:pt x="1316" y="212"/>
                      <a:pt x="1314" y="217"/>
                    </a:cubicBezTo>
                    <a:close/>
                    <a:moveTo>
                      <a:pt x="1388" y="233"/>
                    </a:moveTo>
                    <a:cubicBezTo>
                      <a:pt x="1383" y="231"/>
                      <a:pt x="1378" y="233"/>
                      <a:pt x="1376" y="238"/>
                    </a:cubicBezTo>
                    <a:cubicBezTo>
                      <a:pt x="1374" y="243"/>
                      <a:pt x="1376" y="249"/>
                      <a:pt x="1381" y="251"/>
                    </a:cubicBezTo>
                    <a:cubicBezTo>
                      <a:pt x="1412" y="262"/>
                      <a:pt x="1412" y="262"/>
                      <a:pt x="1412" y="262"/>
                    </a:cubicBezTo>
                    <a:cubicBezTo>
                      <a:pt x="1417" y="264"/>
                      <a:pt x="1422" y="261"/>
                      <a:pt x="1424" y="256"/>
                    </a:cubicBezTo>
                    <a:cubicBezTo>
                      <a:pt x="1426" y="251"/>
                      <a:pt x="1423" y="246"/>
                      <a:pt x="1418" y="244"/>
                    </a:cubicBezTo>
                    <a:cubicBezTo>
                      <a:pt x="1388" y="233"/>
                      <a:pt x="1388" y="233"/>
                      <a:pt x="1388" y="233"/>
                    </a:cubicBezTo>
                    <a:close/>
                    <a:moveTo>
                      <a:pt x="1449" y="256"/>
                    </a:moveTo>
                    <a:cubicBezTo>
                      <a:pt x="1444" y="254"/>
                      <a:pt x="1439" y="256"/>
                      <a:pt x="1437" y="261"/>
                    </a:cubicBezTo>
                    <a:cubicBezTo>
                      <a:pt x="1435" y="266"/>
                      <a:pt x="1437" y="271"/>
                      <a:pt x="1442" y="273"/>
                    </a:cubicBezTo>
                    <a:cubicBezTo>
                      <a:pt x="1472" y="285"/>
                      <a:pt x="1472" y="285"/>
                      <a:pt x="1472" y="285"/>
                    </a:cubicBezTo>
                    <a:cubicBezTo>
                      <a:pt x="1477" y="287"/>
                      <a:pt x="1482" y="285"/>
                      <a:pt x="1484" y="280"/>
                    </a:cubicBezTo>
                    <a:cubicBezTo>
                      <a:pt x="1486" y="275"/>
                      <a:pt x="1484" y="270"/>
                      <a:pt x="1479" y="268"/>
                    </a:cubicBezTo>
                    <a:cubicBezTo>
                      <a:pt x="1449" y="256"/>
                      <a:pt x="1449" y="256"/>
                      <a:pt x="1449" y="256"/>
                    </a:cubicBezTo>
                    <a:close/>
                    <a:moveTo>
                      <a:pt x="1509" y="280"/>
                    </a:moveTo>
                    <a:cubicBezTo>
                      <a:pt x="1505" y="278"/>
                      <a:pt x="1499" y="280"/>
                      <a:pt x="1497" y="285"/>
                    </a:cubicBezTo>
                    <a:cubicBezTo>
                      <a:pt x="1495" y="290"/>
                      <a:pt x="1497" y="295"/>
                      <a:pt x="1502" y="297"/>
                    </a:cubicBezTo>
                    <a:cubicBezTo>
                      <a:pt x="1532" y="310"/>
                      <a:pt x="1532" y="310"/>
                      <a:pt x="1532" y="310"/>
                    </a:cubicBezTo>
                    <a:cubicBezTo>
                      <a:pt x="1537" y="312"/>
                      <a:pt x="1542" y="309"/>
                      <a:pt x="1544" y="305"/>
                    </a:cubicBezTo>
                    <a:cubicBezTo>
                      <a:pt x="1546" y="300"/>
                      <a:pt x="1544" y="294"/>
                      <a:pt x="1539" y="292"/>
                    </a:cubicBezTo>
                    <a:cubicBezTo>
                      <a:pt x="1509" y="280"/>
                      <a:pt x="1509" y="280"/>
                      <a:pt x="1509" y="280"/>
                    </a:cubicBezTo>
                    <a:close/>
                    <a:moveTo>
                      <a:pt x="1569" y="305"/>
                    </a:moveTo>
                    <a:cubicBezTo>
                      <a:pt x="1565" y="303"/>
                      <a:pt x="1559" y="305"/>
                      <a:pt x="1557" y="310"/>
                    </a:cubicBezTo>
                    <a:cubicBezTo>
                      <a:pt x="1555" y="315"/>
                      <a:pt x="1557" y="320"/>
                      <a:pt x="1562" y="322"/>
                    </a:cubicBezTo>
                    <a:cubicBezTo>
                      <a:pt x="1592" y="335"/>
                      <a:pt x="1592" y="335"/>
                      <a:pt x="1592" y="335"/>
                    </a:cubicBezTo>
                    <a:cubicBezTo>
                      <a:pt x="1597" y="337"/>
                      <a:pt x="1602" y="335"/>
                      <a:pt x="1604" y="330"/>
                    </a:cubicBezTo>
                    <a:cubicBezTo>
                      <a:pt x="1606" y="326"/>
                      <a:pt x="1604" y="320"/>
                      <a:pt x="1599" y="318"/>
                    </a:cubicBezTo>
                    <a:cubicBezTo>
                      <a:pt x="1569" y="305"/>
                      <a:pt x="1569" y="305"/>
                      <a:pt x="1569" y="305"/>
                    </a:cubicBezTo>
                    <a:close/>
                    <a:moveTo>
                      <a:pt x="1629" y="332"/>
                    </a:moveTo>
                    <a:cubicBezTo>
                      <a:pt x="1624" y="329"/>
                      <a:pt x="1619" y="331"/>
                      <a:pt x="1617" y="336"/>
                    </a:cubicBezTo>
                    <a:cubicBezTo>
                      <a:pt x="1615" y="341"/>
                      <a:pt x="1617" y="346"/>
                      <a:pt x="1621" y="348"/>
                    </a:cubicBezTo>
                    <a:cubicBezTo>
                      <a:pt x="1651" y="362"/>
                      <a:pt x="1651" y="362"/>
                      <a:pt x="1651" y="362"/>
                    </a:cubicBezTo>
                    <a:cubicBezTo>
                      <a:pt x="1656" y="364"/>
                      <a:pt x="1661" y="362"/>
                      <a:pt x="1663" y="357"/>
                    </a:cubicBezTo>
                    <a:cubicBezTo>
                      <a:pt x="1665" y="353"/>
                      <a:pt x="1663" y="347"/>
                      <a:pt x="1659" y="345"/>
                    </a:cubicBezTo>
                    <a:cubicBezTo>
                      <a:pt x="1629" y="332"/>
                      <a:pt x="1629" y="332"/>
                      <a:pt x="1629" y="332"/>
                    </a:cubicBezTo>
                    <a:close/>
                    <a:moveTo>
                      <a:pt x="1688" y="359"/>
                    </a:moveTo>
                    <a:cubicBezTo>
                      <a:pt x="1684" y="357"/>
                      <a:pt x="1678" y="359"/>
                      <a:pt x="1676" y="363"/>
                    </a:cubicBezTo>
                    <a:cubicBezTo>
                      <a:pt x="1674" y="368"/>
                      <a:pt x="1676" y="373"/>
                      <a:pt x="1680" y="375"/>
                    </a:cubicBezTo>
                    <a:cubicBezTo>
                      <a:pt x="1710" y="389"/>
                      <a:pt x="1710" y="389"/>
                      <a:pt x="1710" y="389"/>
                    </a:cubicBezTo>
                    <a:cubicBezTo>
                      <a:pt x="1714" y="391"/>
                      <a:pt x="1719" y="389"/>
                      <a:pt x="1721" y="385"/>
                    </a:cubicBezTo>
                    <a:cubicBezTo>
                      <a:pt x="1724" y="381"/>
                      <a:pt x="1722" y="375"/>
                      <a:pt x="1717" y="373"/>
                    </a:cubicBezTo>
                    <a:cubicBezTo>
                      <a:pt x="1688" y="359"/>
                      <a:pt x="1688" y="359"/>
                      <a:pt x="1688" y="359"/>
                    </a:cubicBezTo>
                    <a:close/>
                    <a:moveTo>
                      <a:pt x="1747" y="388"/>
                    </a:moveTo>
                    <a:cubicBezTo>
                      <a:pt x="1742" y="386"/>
                      <a:pt x="1737" y="387"/>
                      <a:pt x="1735" y="392"/>
                    </a:cubicBezTo>
                    <a:cubicBezTo>
                      <a:pt x="1733" y="396"/>
                      <a:pt x="1735" y="401"/>
                      <a:pt x="1739" y="403"/>
                    </a:cubicBezTo>
                    <a:cubicBezTo>
                      <a:pt x="1768" y="418"/>
                      <a:pt x="1768" y="418"/>
                      <a:pt x="1768" y="418"/>
                    </a:cubicBezTo>
                    <a:cubicBezTo>
                      <a:pt x="1772" y="420"/>
                      <a:pt x="1777" y="418"/>
                      <a:pt x="1779" y="414"/>
                    </a:cubicBezTo>
                    <a:cubicBezTo>
                      <a:pt x="1781" y="410"/>
                      <a:pt x="1780" y="404"/>
                      <a:pt x="1776" y="402"/>
                    </a:cubicBezTo>
                    <a:cubicBezTo>
                      <a:pt x="1747" y="388"/>
                      <a:pt x="1747" y="388"/>
                      <a:pt x="1747" y="388"/>
                    </a:cubicBezTo>
                    <a:close/>
                    <a:moveTo>
                      <a:pt x="1805" y="417"/>
                    </a:moveTo>
                    <a:cubicBezTo>
                      <a:pt x="1800" y="415"/>
                      <a:pt x="1795" y="417"/>
                      <a:pt x="1793" y="421"/>
                    </a:cubicBezTo>
                    <a:cubicBezTo>
                      <a:pt x="1791" y="425"/>
                      <a:pt x="1793" y="430"/>
                      <a:pt x="1797" y="432"/>
                    </a:cubicBezTo>
                    <a:cubicBezTo>
                      <a:pt x="1826" y="447"/>
                      <a:pt x="1826" y="447"/>
                      <a:pt x="1826" y="447"/>
                    </a:cubicBezTo>
                    <a:cubicBezTo>
                      <a:pt x="1830" y="449"/>
                      <a:pt x="1835" y="448"/>
                      <a:pt x="1837" y="444"/>
                    </a:cubicBezTo>
                    <a:cubicBezTo>
                      <a:pt x="1839" y="440"/>
                      <a:pt x="1837" y="435"/>
                      <a:pt x="1833" y="433"/>
                    </a:cubicBezTo>
                    <a:cubicBezTo>
                      <a:pt x="1805" y="417"/>
                      <a:pt x="1805" y="417"/>
                      <a:pt x="1805" y="417"/>
                    </a:cubicBezTo>
                    <a:close/>
                    <a:moveTo>
                      <a:pt x="1862" y="448"/>
                    </a:moveTo>
                    <a:cubicBezTo>
                      <a:pt x="1858" y="446"/>
                      <a:pt x="1853" y="447"/>
                      <a:pt x="1851" y="451"/>
                    </a:cubicBezTo>
                    <a:cubicBezTo>
                      <a:pt x="1849" y="455"/>
                      <a:pt x="1850" y="460"/>
                      <a:pt x="1854" y="462"/>
                    </a:cubicBezTo>
                    <a:cubicBezTo>
                      <a:pt x="1883" y="478"/>
                      <a:pt x="1883" y="478"/>
                      <a:pt x="1883" y="478"/>
                    </a:cubicBezTo>
                    <a:cubicBezTo>
                      <a:pt x="1887" y="480"/>
                      <a:pt x="1891" y="479"/>
                      <a:pt x="1893" y="475"/>
                    </a:cubicBezTo>
                    <a:cubicBezTo>
                      <a:pt x="1896" y="471"/>
                      <a:pt x="1894" y="466"/>
                      <a:pt x="1890" y="464"/>
                    </a:cubicBezTo>
                    <a:cubicBezTo>
                      <a:pt x="1862" y="448"/>
                      <a:pt x="1862" y="448"/>
                      <a:pt x="1862" y="448"/>
                    </a:cubicBezTo>
                    <a:close/>
                    <a:moveTo>
                      <a:pt x="1919" y="480"/>
                    </a:moveTo>
                    <a:cubicBezTo>
                      <a:pt x="1915" y="478"/>
                      <a:pt x="1910" y="479"/>
                      <a:pt x="1908" y="483"/>
                    </a:cubicBezTo>
                    <a:cubicBezTo>
                      <a:pt x="1906" y="487"/>
                      <a:pt x="1907" y="491"/>
                      <a:pt x="1911" y="494"/>
                    </a:cubicBezTo>
                    <a:cubicBezTo>
                      <a:pt x="1939" y="510"/>
                      <a:pt x="1939" y="510"/>
                      <a:pt x="1939" y="510"/>
                    </a:cubicBezTo>
                    <a:cubicBezTo>
                      <a:pt x="1943" y="512"/>
                      <a:pt x="1947" y="510"/>
                      <a:pt x="1950" y="507"/>
                    </a:cubicBezTo>
                    <a:cubicBezTo>
                      <a:pt x="1952" y="503"/>
                      <a:pt x="1950" y="499"/>
                      <a:pt x="1947" y="497"/>
                    </a:cubicBezTo>
                    <a:cubicBezTo>
                      <a:pt x="1919" y="480"/>
                      <a:pt x="1919" y="480"/>
                      <a:pt x="1919" y="480"/>
                    </a:cubicBezTo>
                    <a:close/>
                    <a:moveTo>
                      <a:pt x="1975" y="513"/>
                    </a:moveTo>
                    <a:cubicBezTo>
                      <a:pt x="1971" y="511"/>
                      <a:pt x="1967" y="512"/>
                      <a:pt x="1965" y="516"/>
                    </a:cubicBezTo>
                    <a:cubicBezTo>
                      <a:pt x="1963" y="519"/>
                      <a:pt x="1964" y="524"/>
                      <a:pt x="1967" y="526"/>
                    </a:cubicBezTo>
                    <a:cubicBezTo>
                      <a:pt x="1995" y="542"/>
                      <a:pt x="1995" y="542"/>
                      <a:pt x="1995" y="542"/>
                    </a:cubicBezTo>
                    <a:cubicBezTo>
                      <a:pt x="1999" y="544"/>
                      <a:pt x="2003" y="543"/>
                      <a:pt x="2005" y="540"/>
                    </a:cubicBezTo>
                    <a:cubicBezTo>
                      <a:pt x="2007" y="537"/>
                      <a:pt x="2006" y="532"/>
                      <a:pt x="2003" y="530"/>
                    </a:cubicBezTo>
                    <a:cubicBezTo>
                      <a:pt x="1975" y="513"/>
                      <a:pt x="1975" y="513"/>
                      <a:pt x="1975" y="513"/>
                    </a:cubicBezTo>
                    <a:close/>
                    <a:moveTo>
                      <a:pt x="2030" y="547"/>
                    </a:moveTo>
                    <a:cubicBezTo>
                      <a:pt x="2027" y="545"/>
                      <a:pt x="2023" y="546"/>
                      <a:pt x="2021" y="550"/>
                    </a:cubicBezTo>
                    <a:cubicBezTo>
                      <a:pt x="2019" y="553"/>
                      <a:pt x="2020" y="557"/>
                      <a:pt x="2023" y="559"/>
                    </a:cubicBezTo>
                    <a:cubicBezTo>
                      <a:pt x="2051" y="576"/>
                      <a:pt x="2051" y="576"/>
                      <a:pt x="2051" y="576"/>
                    </a:cubicBezTo>
                    <a:cubicBezTo>
                      <a:pt x="2054" y="578"/>
                      <a:pt x="2058" y="577"/>
                      <a:pt x="2060" y="574"/>
                    </a:cubicBezTo>
                    <a:cubicBezTo>
                      <a:pt x="2062" y="571"/>
                      <a:pt x="2061" y="567"/>
                      <a:pt x="2058" y="565"/>
                    </a:cubicBezTo>
                    <a:cubicBezTo>
                      <a:pt x="2030" y="547"/>
                      <a:pt x="2030" y="547"/>
                      <a:pt x="2030" y="547"/>
                    </a:cubicBezTo>
                    <a:close/>
                    <a:moveTo>
                      <a:pt x="2085" y="583"/>
                    </a:moveTo>
                    <a:cubicBezTo>
                      <a:pt x="2082" y="581"/>
                      <a:pt x="2078" y="582"/>
                      <a:pt x="2076" y="585"/>
                    </a:cubicBezTo>
                    <a:cubicBezTo>
                      <a:pt x="2074" y="588"/>
                      <a:pt x="2075" y="592"/>
                      <a:pt x="2078" y="594"/>
                    </a:cubicBezTo>
                    <a:cubicBezTo>
                      <a:pt x="2105" y="611"/>
                      <a:pt x="2105" y="611"/>
                      <a:pt x="2105" y="611"/>
                    </a:cubicBezTo>
                    <a:cubicBezTo>
                      <a:pt x="2108" y="613"/>
                      <a:pt x="2112" y="612"/>
                      <a:pt x="2114" y="609"/>
                    </a:cubicBezTo>
                    <a:cubicBezTo>
                      <a:pt x="2116" y="607"/>
                      <a:pt x="2115" y="603"/>
                      <a:pt x="2112" y="601"/>
                    </a:cubicBezTo>
                    <a:cubicBezTo>
                      <a:pt x="2085" y="583"/>
                      <a:pt x="2085" y="583"/>
                      <a:pt x="2085" y="583"/>
                    </a:cubicBezTo>
                    <a:close/>
                    <a:moveTo>
                      <a:pt x="2139" y="619"/>
                    </a:moveTo>
                    <a:cubicBezTo>
                      <a:pt x="2136" y="617"/>
                      <a:pt x="2132" y="618"/>
                      <a:pt x="2131" y="621"/>
                    </a:cubicBezTo>
                    <a:cubicBezTo>
                      <a:pt x="2129" y="623"/>
                      <a:pt x="2130" y="627"/>
                      <a:pt x="2132" y="629"/>
                    </a:cubicBezTo>
                    <a:cubicBezTo>
                      <a:pt x="2159" y="647"/>
                      <a:pt x="2159" y="647"/>
                      <a:pt x="2159" y="647"/>
                    </a:cubicBezTo>
                    <a:cubicBezTo>
                      <a:pt x="2162" y="649"/>
                      <a:pt x="2165" y="648"/>
                      <a:pt x="2167" y="646"/>
                    </a:cubicBezTo>
                    <a:cubicBezTo>
                      <a:pt x="2169" y="643"/>
                      <a:pt x="2168" y="640"/>
                      <a:pt x="2166" y="638"/>
                    </a:cubicBezTo>
                    <a:cubicBezTo>
                      <a:pt x="2139" y="619"/>
                      <a:pt x="2139" y="619"/>
                      <a:pt x="2139" y="619"/>
                    </a:cubicBezTo>
                    <a:close/>
                    <a:moveTo>
                      <a:pt x="2192" y="657"/>
                    </a:moveTo>
                    <a:cubicBezTo>
                      <a:pt x="2190" y="655"/>
                      <a:pt x="2186" y="656"/>
                      <a:pt x="2185" y="658"/>
                    </a:cubicBezTo>
                    <a:cubicBezTo>
                      <a:pt x="2183" y="660"/>
                      <a:pt x="2184" y="664"/>
                      <a:pt x="2186" y="665"/>
                    </a:cubicBezTo>
                    <a:cubicBezTo>
                      <a:pt x="2213" y="684"/>
                      <a:pt x="2213" y="684"/>
                      <a:pt x="2213" y="684"/>
                    </a:cubicBezTo>
                    <a:cubicBezTo>
                      <a:pt x="2215" y="686"/>
                      <a:pt x="2218" y="685"/>
                      <a:pt x="2219" y="683"/>
                    </a:cubicBezTo>
                    <a:cubicBezTo>
                      <a:pt x="2221" y="681"/>
                      <a:pt x="2221" y="677"/>
                      <a:pt x="2218" y="676"/>
                    </a:cubicBezTo>
                    <a:cubicBezTo>
                      <a:pt x="2192" y="657"/>
                      <a:pt x="2192" y="657"/>
                      <a:pt x="2192" y="657"/>
                    </a:cubicBezTo>
                    <a:close/>
                    <a:moveTo>
                      <a:pt x="2244" y="695"/>
                    </a:moveTo>
                    <a:cubicBezTo>
                      <a:pt x="2242" y="694"/>
                      <a:pt x="2239" y="694"/>
                      <a:pt x="2238" y="696"/>
                    </a:cubicBezTo>
                    <a:cubicBezTo>
                      <a:pt x="2236" y="698"/>
                      <a:pt x="2237" y="701"/>
                      <a:pt x="2239" y="703"/>
                    </a:cubicBezTo>
                    <a:cubicBezTo>
                      <a:pt x="2265" y="722"/>
                      <a:pt x="2265" y="722"/>
                      <a:pt x="2265" y="722"/>
                    </a:cubicBezTo>
                    <a:cubicBezTo>
                      <a:pt x="2267" y="723"/>
                      <a:pt x="2270" y="723"/>
                      <a:pt x="2271" y="721"/>
                    </a:cubicBezTo>
                    <a:cubicBezTo>
                      <a:pt x="2273" y="719"/>
                      <a:pt x="2272" y="717"/>
                      <a:pt x="2270" y="715"/>
                    </a:cubicBezTo>
                    <a:cubicBezTo>
                      <a:pt x="2245" y="695"/>
                      <a:pt x="2245" y="695"/>
                      <a:pt x="2245" y="695"/>
                    </a:cubicBezTo>
                    <a:lnTo>
                      <a:pt x="2244" y="695"/>
                    </a:lnTo>
                    <a:close/>
                    <a:moveTo>
                      <a:pt x="2296" y="735"/>
                    </a:moveTo>
                    <a:cubicBezTo>
                      <a:pt x="2294" y="734"/>
                      <a:pt x="2292" y="734"/>
                      <a:pt x="2290" y="736"/>
                    </a:cubicBezTo>
                    <a:cubicBezTo>
                      <a:pt x="2289" y="738"/>
                      <a:pt x="2290" y="740"/>
                      <a:pt x="2291" y="741"/>
                    </a:cubicBezTo>
                    <a:cubicBezTo>
                      <a:pt x="2317" y="761"/>
                      <a:pt x="2317" y="761"/>
                      <a:pt x="2317" y="761"/>
                    </a:cubicBezTo>
                    <a:cubicBezTo>
                      <a:pt x="2319" y="762"/>
                      <a:pt x="2321" y="762"/>
                      <a:pt x="2322" y="760"/>
                    </a:cubicBezTo>
                    <a:cubicBezTo>
                      <a:pt x="2323" y="759"/>
                      <a:pt x="2323" y="757"/>
                      <a:pt x="2321" y="755"/>
                    </a:cubicBezTo>
                    <a:cubicBezTo>
                      <a:pt x="2296" y="735"/>
                      <a:pt x="2296" y="735"/>
                      <a:pt x="2296" y="735"/>
                    </a:cubicBezTo>
                    <a:close/>
                    <a:moveTo>
                      <a:pt x="2347" y="776"/>
                    </a:moveTo>
                    <a:cubicBezTo>
                      <a:pt x="2345" y="775"/>
                      <a:pt x="2343" y="775"/>
                      <a:pt x="2342" y="776"/>
                    </a:cubicBezTo>
                    <a:cubicBezTo>
                      <a:pt x="2341" y="778"/>
                      <a:pt x="2341" y="780"/>
                      <a:pt x="2343" y="781"/>
                    </a:cubicBezTo>
                    <a:cubicBezTo>
                      <a:pt x="2368" y="801"/>
                      <a:pt x="2368" y="801"/>
                      <a:pt x="2368" y="801"/>
                    </a:cubicBezTo>
                    <a:cubicBezTo>
                      <a:pt x="2369" y="802"/>
                      <a:pt x="2371" y="802"/>
                      <a:pt x="2372" y="800"/>
                    </a:cubicBezTo>
                    <a:cubicBezTo>
                      <a:pt x="2373" y="799"/>
                      <a:pt x="2373" y="798"/>
                      <a:pt x="2372" y="797"/>
                    </a:cubicBezTo>
                    <a:cubicBezTo>
                      <a:pt x="2347" y="776"/>
                      <a:pt x="2347" y="776"/>
                      <a:pt x="2347" y="776"/>
                    </a:cubicBezTo>
                    <a:close/>
                    <a:moveTo>
                      <a:pt x="2396" y="818"/>
                    </a:moveTo>
                    <a:cubicBezTo>
                      <a:pt x="2395" y="817"/>
                      <a:pt x="2394" y="817"/>
                      <a:pt x="2393" y="818"/>
                    </a:cubicBezTo>
                    <a:cubicBezTo>
                      <a:pt x="2392" y="819"/>
                      <a:pt x="2393" y="820"/>
                      <a:pt x="2394" y="821"/>
                    </a:cubicBezTo>
                    <a:cubicBezTo>
                      <a:pt x="2419" y="842"/>
                      <a:pt x="2419" y="842"/>
                      <a:pt x="2419" y="842"/>
                    </a:cubicBezTo>
                    <a:cubicBezTo>
                      <a:pt x="2419" y="843"/>
                      <a:pt x="2420" y="842"/>
                      <a:pt x="2421" y="842"/>
                    </a:cubicBezTo>
                    <a:cubicBezTo>
                      <a:pt x="2422" y="841"/>
                      <a:pt x="2422" y="840"/>
                      <a:pt x="2421" y="839"/>
                    </a:cubicBezTo>
                    <a:cubicBezTo>
                      <a:pt x="2396" y="818"/>
                      <a:pt x="2396" y="818"/>
                      <a:pt x="2396" y="818"/>
                    </a:cubicBezTo>
                    <a:close/>
                    <a:moveTo>
                      <a:pt x="2445" y="861"/>
                    </a:moveTo>
                    <a:cubicBezTo>
                      <a:pt x="2445" y="860"/>
                      <a:pt x="2444" y="860"/>
                      <a:pt x="2443" y="861"/>
                    </a:cubicBezTo>
                    <a:cubicBezTo>
                      <a:pt x="2443" y="861"/>
                      <a:pt x="2443" y="862"/>
                      <a:pt x="2443" y="863"/>
                    </a:cubicBezTo>
                    <a:cubicBezTo>
                      <a:pt x="2468" y="884"/>
                      <a:pt x="2468" y="884"/>
                      <a:pt x="2468" y="884"/>
                    </a:cubicBezTo>
                    <a:cubicBezTo>
                      <a:pt x="2469" y="884"/>
                      <a:pt x="2469" y="884"/>
                      <a:pt x="2469" y="884"/>
                    </a:cubicBezTo>
                    <a:cubicBezTo>
                      <a:pt x="2469" y="883"/>
                      <a:pt x="2469" y="883"/>
                      <a:pt x="2469" y="883"/>
                    </a:cubicBezTo>
                    <a:cubicBezTo>
                      <a:pt x="2445" y="861"/>
                      <a:pt x="2445" y="861"/>
                      <a:pt x="2445" y="861"/>
                    </a:cubicBezTo>
                    <a:close/>
                    <a:moveTo>
                      <a:pt x="2493" y="905"/>
                    </a:moveTo>
                    <a:cubicBezTo>
                      <a:pt x="2493" y="905"/>
                      <a:pt x="2493" y="905"/>
                      <a:pt x="2493" y="905"/>
                    </a:cubicBezTo>
                    <a:cubicBezTo>
                      <a:pt x="2493" y="906"/>
                      <a:pt x="2493" y="906"/>
                      <a:pt x="2493" y="906"/>
                    </a:cubicBezTo>
                    <a:cubicBezTo>
                      <a:pt x="2505" y="916"/>
                      <a:pt x="2505" y="916"/>
                      <a:pt x="2505" y="916"/>
                    </a:cubicBezTo>
                    <a:cubicBezTo>
                      <a:pt x="2493" y="905"/>
                      <a:pt x="2493" y="905"/>
                      <a:pt x="2493" y="905"/>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marL="0" marR="0" lvl="0" indent="0" algn="l" defTabSz="914348"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a:ln>
                    <a:noFill/>
                  </a:ln>
                  <a:solidFill>
                    <a:prstClr val="black"/>
                  </a:solidFill>
                  <a:effectLst/>
                  <a:uLnTx/>
                  <a:uFillTx/>
                  <a:latin typeface="Calibri" panose="020F0502020204030204"/>
                  <a:ea typeface="Heiti SC Light" charset="-122"/>
                  <a:cs typeface="+mn-cs"/>
                  <a:sym typeface="Gill Sans" charset="0"/>
                </a:endParaRPr>
              </a:p>
            </p:txBody>
          </p:sp>
          <p:sp>
            <p:nvSpPr>
              <p:cNvPr id="80" name="Freeform 618"/>
              <p:cNvSpPr>
                <a:spLocks noEditPoints="1"/>
              </p:cNvSpPr>
              <p:nvPr/>
            </p:nvSpPr>
            <p:spPr bwMode="auto">
              <a:xfrm>
                <a:off x="3008878" y="6045763"/>
                <a:ext cx="5432390" cy="1280476"/>
              </a:xfrm>
              <a:custGeom>
                <a:avLst/>
                <a:gdLst>
                  <a:gd name="T0" fmla="*/ 12 w 1969"/>
                  <a:gd name="T1" fmla="*/ 454 h 464"/>
                  <a:gd name="T2" fmla="*/ 64 w 1969"/>
                  <a:gd name="T3" fmla="*/ 415 h 464"/>
                  <a:gd name="T4" fmla="*/ 87 w 1969"/>
                  <a:gd name="T5" fmla="*/ 396 h 464"/>
                  <a:gd name="T6" fmla="*/ 114 w 1969"/>
                  <a:gd name="T7" fmla="*/ 374 h 464"/>
                  <a:gd name="T8" fmla="*/ 172 w 1969"/>
                  <a:gd name="T9" fmla="*/ 344 h 464"/>
                  <a:gd name="T10" fmla="*/ 140 w 1969"/>
                  <a:gd name="T11" fmla="*/ 360 h 464"/>
                  <a:gd name="T12" fmla="*/ 230 w 1969"/>
                  <a:gd name="T13" fmla="*/ 306 h 464"/>
                  <a:gd name="T14" fmla="*/ 257 w 1969"/>
                  <a:gd name="T15" fmla="*/ 297 h 464"/>
                  <a:gd name="T16" fmla="*/ 252 w 1969"/>
                  <a:gd name="T17" fmla="*/ 288 h 464"/>
                  <a:gd name="T18" fmla="*/ 343 w 1969"/>
                  <a:gd name="T19" fmla="*/ 254 h 464"/>
                  <a:gd name="T20" fmla="*/ 364 w 1969"/>
                  <a:gd name="T21" fmla="*/ 237 h 464"/>
                  <a:gd name="T22" fmla="*/ 396 w 1969"/>
                  <a:gd name="T23" fmla="*/ 215 h 464"/>
                  <a:gd name="T24" fmla="*/ 461 w 1969"/>
                  <a:gd name="T25" fmla="*/ 203 h 464"/>
                  <a:gd name="T26" fmla="*/ 422 w 1969"/>
                  <a:gd name="T27" fmla="*/ 211 h 464"/>
                  <a:gd name="T28" fmla="*/ 526 w 1969"/>
                  <a:gd name="T29" fmla="*/ 169 h 464"/>
                  <a:gd name="T30" fmla="*/ 552 w 1969"/>
                  <a:gd name="T31" fmla="*/ 168 h 464"/>
                  <a:gd name="T32" fmla="*/ 546 w 1969"/>
                  <a:gd name="T33" fmla="*/ 153 h 464"/>
                  <a:gd name="T34" fmla="*/ 643 w 1969"/>
                  <a:gd name="T35" fmla="*/ 138 h 464"/>
                  <a:gd name="T36" fmla="*/ 663 w 1969"/>
                  <a:gd name="T37" fmla="*/ 122 h 464"/>
                  <a:gd name="T38" fmla="*/ 700 w 1969"/>
                  <a:gd name="T39" fmla="*/ 102 h 464"/>
                  <a:gd name="T40" fmla="*/ 767 w 1969"/>
                  <a:gd name="T41" fmla="*/ 103 h 464"/>
                  <a:gd name="T42" fmla="*/ 725 w 1969"/>
                  <a:gd name="T43" fmla="*/ 104 h 464"/>
                  <a:gd name="T44" fmla="*/ 837 w 1969"/>
                  <a:gd name="T45" fmla="*/ 76 h 464"/>
                  <a:gd name="T46" fmla="*/ 861 w 1969"/>
                  <a:gd name="T47" fmla="*/ 80 h 464"/>
                  <a:gd name="T48" fmla="*/ 857 w 1969"/>
                  <a:gd name="T49" fmla="*/ 62 h 464"/>
                  <a:gd name="T50" fmla="*/ 956 w 1969"/>
                  <a:gd name="T51" fmla="*/ 60 h 464"/>
                  <a:gd name="T52" fmla="*/ 985 w 1969"/>
                  <a:gd name="T53" fmla="*/ 37 h 464"/>
                  <a:gd name="T54" fmla="*/ 1017 w 1969"/>
                  <a:gd name="T55" fmla="*/ 32 h 464"/>
                  <a:gd name="T56" fmla="*/ 1051 w 1969"/>
                  <a:gd name="T57" fmla="*/ 46 h 464"/>
                  <a:gd name="T58" fmla="*/ 1049 w 1969"/>
                  <a:gd name="T59" fmla="*/ 27 h 464"/>
                  <a:gd name="T60" fmla="*/ 1155 w 1969"/>
                  <a:gd name="T61" fmla="*/ 23 h 464"/>
                  <a:gd name="T62" fmla="*/ 1169 w 1969"/>
                  <a:gd name="T63" fmla="*/ 22 h 464"/>
                  <a:gd name="T64" fmla="*/ 1178 w 1969"/>
                  <a:gd name="T65" fmla="*/ 12 h 464"/>
                  <a:gd name="T66" fmla="*/ 1276 w 1969"/>
                  <a:gd name="T67" fmla="*/ 22 h 464"/>
                  <a:gd name="T68" fmla="*/ 1307 w 1969"/>
                  <a:gd name="T69" fmla="*/ 3 h 464"/>
                  <a:gd name="T70" fmla="*/ 1339 w 1969"/>
                  <a:gd name="T71" fmla="*/ 1 h 464"/>
                  <a:gd name="T72" fmla="*/ 1372 w 1969"/>
                  <a:gd name="T73" fmla="*/ 17 h 464"/>
                  <a:gd name="T74" fmla="*/ 1372 w 1969"/>
                  <a:gd name="T75" fmla="*/ 0 h 464"/>
                  <a:gd name="T76" fmla="*/ 1476 w 1969"/>
                  <a:gd name="T77" fmla="*/ 7 h 464"/>
                  <a:gd name="T78" fmla="*/ 1494 w 1969"/>
                  <a:gd name="T79" fmla="*/ 7 h 464"/>
                  <a:gd name="T80" fmla="*/ 1501 w 1969"/>
                  <a:gd name="T81" fmla="*/ 0 h 464"/>
                  <a:gd name="T82" fmla="*/ 1598 w 1969"/>
                  <a:gd name="T83" fmla="*/ 16 h 464"/>
                  <a:gd name="T84" fmla="*/ 1631 w 1969"/>
                  <a:gd name="T85" fmla="*/ 5 h 464"/>
                  <a:gd name="T86" fmla="*/ 1663 w 1969"/>
                  <a:gd name="T87" fmla="*/ 7 h 464"/>
                  <a:gd name="T88" fmla="*/ 1695 w 1969"/>
                  <a:gd name="T89" fmla="*/ 20 h 464"/>
                  <a:gd name="T90" fmla="*/ 1695 w 1969"/>
                  <a:gd name="T91" fmla="*/ 10 h 464"/>
                  <a:gd name="T92" fmla="*/ 1795 w 1969"/>
                  <a:gd name="T93" fmla="*/ 23 h 464"/>
                  <a:gd name="T94" fmla="*/ 1821 w 1969"/>
                  <a:gd name="T95" fmla="*/ 26 h 464"/>
                  <a:gd name="T96" fmla="*/ 1824 w 1969"/>
                  <a:gd name="T97" fmla="*/ 23 h 464"/>
                  <a:gd name="T98" fmla="*/ 1920 w 1969"/>
                  <a:gd name="T99" fmla="*/ 39 h 464"/>
                  <a:gd name="T100" fmla="*/ 1953 w 1969"/>
                  <a:gd name="T101" fmla="*/ 41 h 464"/>
                  <a:gd name="T102" fmla="*/ 1953 w 1969"/>
                  <a:gd name="T103" fmla="*/ 41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69" h="464">
                    <a:moveTo>
                      <a:pt x="0" y="464"/>
                    </a:moveTo>
                    <a:cubicBezTo>
                      <a:pt x="12" y="453"/>
                      <a:pt x="12" y="453"/>
                      <a:pt x="12" y="453"/>
                    </a:cubicBezTo>
                    <a:cubicBezTo>
                      <a:pt x="12" y="453"/>
                      <a:pt x="12" y="453"/>
                      <a:pt x="12" y="453"/>
                    </a:cubicBezTo>
                    <a:cubicBezTo>
                      <a:pt x="12" y="454"/>
                      <a:pt x="12" y="454"/>
                      <a:pt x="12" y="454"/>
                    </a:cubicBezTo>
                    <a:cubicBezTo>
                      <a:pt x="12" y="454"/>
                      <a:pt x="12" y="454"/>
                      <a:pt x="12" y="454"/>
                    </a:cubicBezTo>
                    <a:cubicBezTo>
                      <a:pt x="0" y="464"/>
                      <a:pt x="0" y="464"/>
                      <a:pt x="0" y="464"/>
                    </a:cubicBezTo>
                    <a:moveTo>
                      <a:pt x="36" y="434"/>
                    </a:moveTo>
                    <a:cubicBezTo>
                      <a:pt x="37" y="434"/>
                      <a:pt x="37" y="434"/>
                      <a:pt x="38" y="434"/>
                    </a:cubicBezTo>
                    <a:cubicBezTo>
                      <a:pt x="64" y="415"/>
                      <a:pt x="64" y="415"/>
                      <a:pt x="64" y="415"/>
                    </a:cubicBezTo>
                    <a:cubicBezTo>
                      <a:pt x="64" y="415"/>
                      <a:pt x="64" y="415"/>
                      <a:pt x="64" y="415"/>
                    </a:cubicBezTo>
                    <a:cubicBezTo>
                      <a:pt x="65" y="414"/>
                      <a:pt x="65" y="413"/>
                      <a:pt x="64" y="412"/>
                    </a:cubicBezTo>
                    <a:cubicBezTo>
                      <a:pt x="64" y="412"/>
                      <a:pt x="63" y="411"/>
                      <a:pt x="62" y="412"/>
                    </a:cubicBezTo>
                    <a:cubicBezTo>
                      <a:pt x="37" y="432"/>
                      <a:pt x="37" y="432"/>
                      <a:pt x="37" y="432"/>
                    </a:cubicBezTo>
                    <a:cubicBezTo>
                      <a:pt x="36" y="432"/>
                      <a:pt x="36" y="433"/>
                      <a:pt x="36" y="434"/>
                    </a:cubicBezTo>
                    <a:moveTo>
                      <a:pt x="87" y="396"/>
                    </a:moveTo>
                    <a:cubicBezTo>
                      <a:pt x="88" y="397"/>
                      <a:pt x="89" y="397"/>
                      <a:pt x="90" y="396"/>
                    </a:cubicBezTo>
                    <a:cubicBezTo>
                      <a:pt x="117" y="378"/>
                      <a:pt x="117" y="378"/>
                      <a:pt x="117" y="378"/>
                    </a:cubicBezTo>
                    <a:cubicBezTo>
                      <a:pt x="117" y="378"/>
                      <a:pt x="117" y="378"/>
                      <a:pt x="117" y="378"/>
                    </a:cubicBezTo>
                    <a:cubicBezTo>
                      <a:pt x="119" y="378"/>
                      <a:pt x="119" y="376"/>
                      <a:pt x="118" y="375"/>
                    </a:cubicBezTo>
                    <a:cubicBezTo>
                      <a:pt x="117" y="373"/>
                      <a:pt x="116" y="373"/>
                      <a:pt x="114" y="374"/>
                    </a:cubicBezTo>
                    <a:cubicBezTo>
                      <a:pt x="88" y="393"/>
                      <a:pt x="88" y="393"/>
                      <a:pt x="88" y="393"/>
                    </a:cubicBezTo>
                    <a:cubicBezTo>
                      <a:pt x="87" y="393"/>
                      <a:pt x="87" y="395"/>
                      <a:pt x="87" y="396"/>
                    </a:cubicBezTo>
                    <a:moveTo>
                      <a:pt x="140" y="360"/>
                    </a:moveTo>
                    <a:cubicBezTo>
                      <a:pt x="141" y="362"/>
                      <a:pt x="143" y="362"/>
                      <a:pt x="145" y="361"/>
                    </a:cubicBezTo>
                    <a:cubicBezTo>
                      <a:pt x="172" y="344"/>
                      <a:pt x="172" y="344"/>
                      <a:pt x="172" y="344"/>
                    </a:cubicBezTo>
                    <a:cubicBezTo>
                      <a:pt x="172" y="344"/>
                      <a:pt x="172" y="344"/>
                      <a:pt x="172" y="344"/>
                    </a:cubicBezTo>
                    <a:cubicBezTo>
                      <a:pt x="174" y="343"/>
                      <a:pt x="175" y="341"/>
                      <a:pt x="174" y="339"/>
                    </a:cubicBezTo>
                    <a:cubicBezTo>
                      <a:pt x="172" y="337"/>
                      <a:pt x="170" y="337"/>
                      <a:pt x="168" y="338"/>
                    </a:cubicBezTo>
                    <a:cubicBezTo>
                      <a:pt x="141" y="356"/>
                      <a:pt x="141" y="356"/>
                      <a:pt x="141" y="356"/>
                    </a:cubicBezTo>
                    <a:cubicBezTo>
                      <a:pt x="140" y="357"/>
                      <a:pt x="139" y="359"/>
                      <a:pt x="140" y="360"/>
                    </a:cubicBezTo>
                    <a:moveTo>
                      <a:pt x="194" y="327"/>
                    </a:moveTo>
                    <a:cubicBezTo>
                      <a:pt x="195" y="329"/>
                      <a:pt x="198" y="330"/>
                      <a:pt x="200" y="328"/>
                    </a:cubicBezTo>
                    <a:cubicBezTo>
                      <a:pt x="228" y="313"/>
                      <a:pt x="228" y="313"/>
                      <a:pt x="228" y="313"/>
                    </a:cubicBezTo>
                    <a:cubicBezTo>
                      <a:pt x="228" y="313"/>
                      <a:pt x="228" y="313"/>
                      <a:pt x="228" y="313"/>
                    </a:cubicBezTo>
                    <a:cubicBezTo>
                      <a:pt x="231" y="311"/>
                      <a:pt x="232" y="308"/>
                      <a:pt x="230" y="306"/>
                    </a:cubicBezTo>
                    <a:cubicBezTo>
                      <a:pt x="229" y="304"/>
                      <a:pt x="226" y="303"/>
                      <a:pt x="223" y="304"/>
                    </a:cubicBezTo>
                    <a:cubicBezTo>
                      <a:pt x="196" y="321"/>
                      <a:pt x="196" y="321"/>
                      <a:pt x="196" y="321"/>
                    </a:cubicBezTo>
                    <a:cubicBezTo>
                      <a:pt x="194" y="322"/>
                      <a:pt x="193" y="325"/>
                      <a:pt x="194" y="327"/>
                    </a:cubicBezTo>
                    <a:moveTo>
                      <a:pt x="250" y="295"/>
                    </a:moveTo>
                    <a:cubicBezTo>
                      <a:pt x="251" y="298"/>
                      <a:pt x="254" y="299"/>
                      <a:pt x="257" y="297"/>
                    </a:cubicBezTo>
                    <a:cubicBezTo>
                      <a:pt x="285" y="282"/>
                      <a:pt x="285" y="282"/>
                      <a:pt x="285" y="282"/>
                    </a:cubicBezTo>
                    <a:cubicBezTo>
                      <a:pt x="285" y="282"/>
                      <a:pt x="285" y="282"/>
                      <a:pt x="285" y="282"/>
                    </a:cubicBezTo>
                    <a:cubicBezTo>
                      <a:pt x="288" y="281"/>
                      <a:pt x="289" y="277"/>
                      <a:pt x="288" y="275"/>
                    </a:cubicBezTo>
                    <a:cubicBezTo>
                      <a:pt x="286" y="272"/>
                      <a:pt x="283" y="271"/>
                      <a:pt x="280" y="272"/>
                    </a:cubicBezTo>
                    <a:cubicBezTo>
                      <a:pt x="252" y="288"/>
                      <a:pt x="252" y="288"/>
                      <a:pt x="252" y="288"/>
                    </a:cubicBezTo>
                    <a:cubicBezTo>
                      <a:pt x="249" y="289"/>
                      <a:pt x="248" y="293"/>
                      <a:pt x="250" y="295"/>
                    </a:cubicBezTo>
                    <a:moveTo>
                      <a:pt x="306" y="265"/>
                    </a:moveTo>
                    <a:cubicBezTo>
                      <a:pt x="307" y="268"/>
                      <a:pt x="311" y="270"/>
                      <a:pt x="314" y="268"/>
                    </a:cubicBezTo>
                    <a:cubicBezTo>
                      <a:pt x="343" y="254"/>
                      <a:pt x="343" y="254"/>
                      <a:pt x="343" y="254"/>
                    </a:cubicBezTo>
                    <a:cubicBezTo>
                      <a:pt x="343" y="254"/>
                      <a:pt x="343" y="254"/>
                      <a:pt x="343" y="254"/>
                    </a:cubicBezTo>
                    <a:cubicBezTo>
                      <a:pt x="347" y="252"/>
                      <a:pt x="348" y="249"/>
                      <a:pt x="346" y="245"/>
                    </a:cubicBezTo>
                    <a:cubicBezTo>
                      <a:pt x="345" y="242"/>
                      <a:pt x="341" y="241"/>
                      <a:pt x="338" y="243"/>
                    </a:cubicBezTo>
                    <a:cubicBezTo>
                      <a:pt x="309" y="257"/>
                      <a:pt x="309" y="257"/>
                      <a:pt x="309" y="257"/>
                    </a:cubicBezTo>
                    <a:cubicBezTo>
                      <a:pt x="306" y="259"/>
                      <a:pt x="305" y="262"/>
                      <a:pt x="306" y="265"/>
                    </a:cubicBezTo>
                    <a:moveTo>
                      <a:pt x="364" y="237"/>
                    </a:moveTo>
                    <a:cubicBezTo>
                      <a:pt x="365" y="241"/>
                      <a:pt x="369" y="242"/>
                      <a:pt x="372" y="241"/>
                    </a:cubicBezTo>
                    <a:cubicBezTo>
                      <a:pt x="402" y="227"/>
                      <a:pt x="402" y="227"/>
                      <a:pt x="402" y="227"/>
                    </a:cubicBezTo>
                    <a:cubicBezTo>
                      <a:pt x="402" y="227"/>
                      <a:pt x="402" y="227"/>
                      <a:pt x="402" y="227"/>
                    </a:cubicBezTo>
                    <a:cubicBezTo>
                      <a:pt x="406" y="226"/>
                      <a:pt x="407" y="222"/>
                      <a:pt x="405" y="218"/>
                    </a:cubicBezTo>
                    <a:cubicBezTo>
                      <a:pt x="404" y="215"/>
                      <a:pt x="400" y="213"/>
                      <a:pt x="396" y="215"/>
                    </a:cubicBezTo>
                    <a:cubicBezTo>
                      <a:pt x="367" y="228"/>
                      <a:pt x="367" y="228"/>
                      <a:pt x="367" y="228"/>
                    </a:cubicBezTo>
                    <a:cubicBezTo>
                      <a:pt x="364" y="230"/>
                      <a:pt x="362" y="234"/>
                      <a:pt x="364" y="237"/>
                    </a:cubicBezTo>
                    <a:moveTo>
                      <a:pt x="422" y="211"/>
                    </a:moveTo>
                    <a:cubicBezTo>
                      <a:pt x="423" y="215"/>
                      <a:pt x="428" y="216"/>
                      <a:pt x="431" y="215"/>
                    </a:cubicBezTo>
                    <a:cubicBezTo>
                      <a:pt x="461" y="203"/>
                      <a:pt x="461" y="203"/>
                      <a:pt x="461" y="203"/>
                    </a:cubicBezTo>
                    <a:cubicBezTo>
                      <a:pt x="461" y="203"/>
                      <a:pt x="461" y="203"/>
                      <a:pt x="461" y="203"/>
                    </a:cubicBezTo>
                    <a:cubicBezTo>
                      <a:pt x="465" y="201"/>
                      <a:pt x="467" y="196"/>
                      <a:pt x="465" y="193"/>
                    </a:cubicBezTo>
                    <a:cubicBezTo>
                      <a:pt x="464" y="189"/>
                      <a:pt x="459" y="187"/>
                      <a:pt x="456" y="189"/>
                    </a:cubicBezTo>
                    <a:cubicBezTo>
                      <a:pt x="426" y="201"/>
                      <a:pt x="426" y="201"/>
                      <a:pt x="426" y="201"/>
                    </a:cubicBezTo>
                    <a:cubicBezTo>
                      <a:pt x="422" y="203"/>
                      <a:pt x="420" y="207"/>
                      <a:pt x="422" y="211"/>
                    </a:cubicBezTo>
                    <a:moveTo>
                      <a:pt x="481" y="186"/>
                    </a:moveTo>
                    <a:cubicBezTo>
                      <a:pt x="483" y="190"/>
                      <a:pt x="487" y="192"/>
                      <a:pt x="491" y="191"/>
                    </a:cubicBezTo>
                    <a:cubicBezTo>
                      <a:pt x="521" y="179"/>
                      <a:pt x="521" y="179"/>
                      <a:pt x="521" y="179"/>
                    </a:cubicBezTo>
                    <a:cubicBezTo>
                      <a:pt x="522" y="179"/>
                      <a:pt x="522" y="179"/>
                      <a:pt x="522" y="179"/>
                    </a:cubicBezTo>
                    <a:cubicBezTo>
                      <a:pt x="526" y="178"/>
                      <a:pt x="528" y="173"/>
                      <a:pt x="526" y="169"/>
                    </a:cubicBezTo>
                    <a:cubicBezTo>
                      <a:pt x="525" y="165"/>
                      <a:pt x="520" y="163"/>
                      <a:pt x="516" y="164"/>
                    </a:cubicBezTo>
                    <a:cubicBezTo>
                      <a:pt x="486" y="176"/>
                      <a:pt x="486" y="176"/>
                      <a:pt x="486" y="176"/>
                    </a:cubicBezTo>
                    <a:cubicBezTo>
                      <a:pt x="482" y="178"/>
                      <a:pt x="480" y="182"/>
                      <a:pt x="481" y="186"/>
                    </a:cubicBezTo>
                    <a:moveTo>
                      <a:pt x="541" y="163"/>
                    </a:moveTo>
                    <a:cubicBezTo>
                      <a:pt x="543" y="168"/>
                      <a:pt x="547" y="170"/>
                      <a:pt x="552" y="168"/>
                    </a:cubicBezTo>
                    <a:cubicBezTo>
                      <a:pt x="582" y="158"/>
                      <a:pt x="582" y="158"/>
                      <a:pt x="582" y="158"/>
                    </a:cubicBezTo>
                    <a:cubicBezTo>
                      <a:pt x="582" y="158"/>
                      <a:pt x="582" y="158"/>
                      <a:pt x="582" y="158"/>
                    </a:cubicBezTo>
                    <a:cubicBezTo>
                      <a:pt x="587" y="156"/>
                      <a:pt x="589" y="151"/>
                      <a:pt x="587" y="147"/>
                    </a:cubicBezTo>
                    <a:cubicBezTo>
                      <a:pt x="586" y="143"/>
                      <a:pt x="581" y="140"/>
                      <a:pt x="577" y="142"/>
                    </a:cubicBezTo>
                    <a:cubicBezTo>
                      <a:pt x="546" y="153"/>
                      <a:pt x="546" y="153"/>
                      <a:pt x="546" y="153"/>
                    </a:cubicBezTo>
                    <a:cubicBezTo>
                      <a:pt x="542" y="154"/>
                      <a:pt x="540" y="159"/>
                      <a:pt x="541" y="163"/>
                    </a:cubicBezTo>
                    <a:moveTo>
                      <a:pt x="602" y="142"/>
                    </a:moveTo>
                    <a:cubicBezTo>
                      <a:pt x="603" y="147"/>
                      <a:pt x="608" y="149"/>
                      <a:pt x="613" y="148"/>
                    </a:cubicBezTo>
                    <a:cubicBezTo>
                      <a:pt x="643" y="138"/>
                      <a:pt x="643" y="138"/>
                      <a:pt x="643" y="138"/>
                    </a:cubicBezTo>
                    <a:cubicBezTo>
                      <a:pt x="643" y="138"/>
                      <a:pt x="643" y="138"/>
                      <a:pt x="643" y="138"/>
                    </a:cubicBezTo>
                    <a:cubicBezTo>
                      <a:pt x="648" y="136"/>
                      <a:pt x="651" y="131"/>
                      <a:pt x="649" y="127"/>
                    </a:cubicBezTo>
                    <a:cubicBezTo>
                      <a:pt x="648" y="122"/>
                      <a:pt x="643" y="120"/>
                      <a:pt x="638" y="121"/>
                    </a:cubicBezTo>
                    <a:cubicBezTo>
                      <a:pt x="607" y="131"/>
                      <a:pt x="607" y="131"/>
                      <a:pt x="607" y="131"/>
                    </a:cubicBezTo>
                    <a:cubicBezTo>
                      <a:pt x="603" y="133"/>
                      <a:pt x="600" y="138"/>
                      <a:pt x="602" y="142"/>
                    </a:cubicBezTo>
                    <a:moveTo>
                      <a:pt x="663" y="122"/>
                    </a:moveTo>
                    <a:cubicBezTo>
                      <a:pt x="664" y="127"/>
                      <a:pt x="669" y="130"/>
                      <a:pt x="674" y="128"/>
                    </a:cubicBezTo>
                    <a:cubicBezTo>
                      <a:pt x="705" y="119"/>
                      <a:pt x="705" y="119"/>
                      <a:pt x="705" y="119"/>
                    </a:cubicBezTo>
                    <a:cubicBezTo>
                      <a:pt x="705" y="119"/>
                      <a:pt x="705" y="119"/>
                      <a:pt x="705" y="119"/>
                    </a:cubicBezTo>
                    <a:cubicBezTo>
                      <a:pt x="710" y="118"/>
                      <a:pt x="713" y="113"/>
                      <a:pt x="711" y="108"/>
                    </a:cubicBezTo>
                    <a:cubicBezTo>
                      <a:pt x="710" y="103"/>
                      <a:pt x="705" y="101"/>
                      <a:pt x="700" y="102"/>
                    </a:cubicBezTo>
                    <a:cubicBezTo>
                      <a:pt x="669" y="111"/>
                      <a:pt x="669" y="111"/>
                      <a:pt x="669" y="111"/>
                    </a:cubicBezTo>
                    <a:cubicBezTo>
                      <a:pt x="664" y="113"/>
                      <a:pt x="662" y="118"/>
                      <a:pt x="663" y="122"/>
                    </a:cubicBezTo>
                    <a:moveTo>
                      <a:pt x="725" y="104"/>
                    </a:moveTo>
                    <a:cubicBezTo>
                      <a:pt x="726" y="109"/>
                      <a:pt x="731" y="112"/>
                      <a:pt x="736" y="111"/>
                    </a:cubicBezTo>
                    <a:cubicBezTo>
                      <a:pt x="767" y="103"/>
                      <a:pt x="767" y="103"/>
                      <a:pt x="767" y="103"/>
                    </a:cubicBezTo>
                    <a:cubicBezTo>
                      <a:pt x="767" y="103"/>
                      <a:pt x="767" y="103"/>
                      <a:pt x="767" y="103"/>
                    </a:cubicBezTo>
                    <a:cubicBezTo>
                      <a:pt x="772" y="101"/>
                      <a:pt x="775" y="96"/>
                      <a:pt x="774" y="91"/>
                    </a:cubicBezTo>
                    <a:cubicBezTo>
                      <a:pt x="773" y="86"/>
                      <a:pt x="767" y="83"/>
                      <a:pt x="763" y="85"/>
                    </a:cubicBezTo>
                    <a:cubicBezTo>
                      <a:pt x="731" y="93"/>
                      <a:pt x="731" y="93"/>
                      <a:pt x="731" y="93"/>
                    </a:cubicBezTo>
                    <a:cubicBezTo>
                      <a:pt x="726" y="94"/>
                      <a:pt x="724" y="99"/>
                      <a:pt x="725" y="104"/>
                    </a:cubicBezTo>
                    <a:moveTo>
                      <a:pt x="787" y="88"/>
                    </a:moveTo>
                    <a:cubicBezTo>
                      <a:pt x="788" y="93"/>
                      <a:pt x="793" y="96"/>
                      <a:pt x="798" y="95"/>
                    </a:cubicBezTo>
                    <a:cubicBezTo>
                      <a:pt x="830" y="87"/>
                      <a:pt x="830" y="87"/>
                      <a:pt x="830" y="87"/>
                    </a:cubicBezTo>
                    <a:cubicBezTo>
                      <a:pt x="830" y="87"/>
                      <a:pt x="830" y="87"/>
                      <a:pt x="830" y="87"/>
                    </a:cubicBezTo>
                    <a:cubicBezTo>
                      <a:pt x="835" y="86"/>
                      <a:pt x="838" y="81"/>
                      <a:pt x="837" y="76"/>
                    </a:cubicBezTo>
                    <a:cubicBezTo>
                      <a:pt x="836" y="71"/>
                      <a:pt x="831" y="68"/>
                      <a:pt x="826" y="69"/>
                    </a:cubicBezTo>
                    <a:cubicBezTo>
                      <a:pt x="794" y="77"/>
                      <a:pt x="794" y="77"/>
                      <a:pt x="794" y="77"/>
                    </a:cubicBezTo>
                    <a:cubicBezTo>
                      <a:pt x="789" y="78"/>
                      <a:pt x="786" y="83"/>
                      <a:pt x="787" y="88"/>
                    </a:cubicBezTo>
                    <a:moveTo>
                      <a:pt x="850" y="73"/>
                    </a:moveTo>
                    <a:cubicBezTo>
                      <a:pt x="851" y="78"/>
                      <a:pt x="856" y="81"/>
                      <a:pt x="861" y="80"/>
                    </a:cubicBezTo>
                    <a:cubicBezTo>
                      <a:pt x="893" y="74"/>
                      <a:pt x="893" y="74"/>
                      <a:pt x="893" y="74"/>
                    </a:cubicBezTo>
                    <a:cubicBezTo>
                      <a:pt x="893" y="74"/>
                      <a:pt x="893" y="74"/>
                      <a:pt x="893" y="74"/>
                    </a:cubicBezTo>
                    <a:cubicBezTo>
                      <a:pt x="898" y="72"/>
                      <a:pt x="901" y="67"/>
                      <a:pt x="900" y="62"/>
                    </a:cubicBezTo>
                    <a:cubicBezTo>
                      <a:pt x="899" y="57"/>
                      <a:pt x="894" y="54"/>
                      <a:pt x="889" y="55"/>
                    </a:cubicBezTo>
                    <a:cubicBezTo>
                      <a:pt x="857" y="62"/>
                      <a:pt x="857" y="62"/>
                      <a:pt x="857" y="62"/>
                    </a:cubicBezTo>
                    <a:cubicBezTo>
                      <a:pt x="852" y="63"/>
                      <a:pt x="849" y="68"/>
                      <a:pt x="850" y="73"/>
                    </a:cubicBezTo>
                    <a:moveTo>
                      <a:pt x="913" y="60"/>
                    </a:moveTo>
                    <a:cubicBezTo>
                      <a:pt x="914" y="65"/>
                      <a:pt x="919" y="68"/>
                      <a:pt x="924" y="67"/>
                    </a:cubicBezTo>
                    <a:cubicBezTo>
                      <a:pt x="956" y="60"/>
                      <a:pt x="956" y="60"/>
                      <a:pt x="956" y="60"/>
                    </a:cubicBezTo>
                    <a:cubicBezTo>
                      <a:pt x="956" y="60"/>
                      <a:pt x="956" y="60"/>
                      <a:pt x="956" y="60"/>
                    </a:cubicBezTo>
                    <a:cubicBezTo>
                      <a:pt x="961" y="60"/>
                      <a:pt x="965" y="55"/>
                      <a:pt x="964" y="50"/>
                    </a:cubicBezTo>
                    <a:cubicBezTo>
                      <a:pt x="963" y="45"/>
                      <a:pt x="958" y="42"/>
                      <a:pt x="953" y="43"/>
                    </a:cubicBezTo>
                    <a:cubicBezTo>
                      <a:pt x="921" y="49"/>
                      <a:pt x="921" y="49"/>
                      <a:pt x="921" y="49"/>
                    </a:cubicBezTo>
                    <a:cubicBezTo>
                      <a:pt x="916" y="50"/>
                      <a:pt x="912" y="54"/>
                      <a:pt x="913" y="60"/>
                    </a:cubicBezTo>
                    <a:moveTo>
                      <a:pt x="985" y="37"/>
                    </a:moveTo>
                    <a:cubicBezTo>
                      <a:pt x="979" y="38"/>
                      <a:pt x="976" y="43"/>
                      <a:pt x="977" y="48"/>
                    </a:cubicBezTo>
                    <a:cubicBezTo>
                      <a:pt x="978" y="53"/>
                      <a:pt x="983" y="57"/>
                      <a:pt x="988" y="56"/>
                    </a:cubicBezTo>
                    <a:cubicBezTo>
                      <a:pt x="1020" y="51"/>
                      <a:pt x="1020" y="51"/>
                      <a:pt x="1020" y="51"/>
                    </a:cubicBezTo>
                    <a:cubicBezTo>
                      <a:pt x="1025" y="50"/>
                      <a:pt x="1028" y="45"/>
                      <a:pt x="1027" y="40"/>
                    </a:cubicBezTo>
                    <a:cubicBezTo>
                      <a:pt x="1027" y="35"/>
                      <a:pt x="1022" y="31"/>
                      <a:pt x="1017" y="32"/>
                    </a:cubicBezTo>
                    <a:cubicBezTo>
                      <a:pt x="985" y="37"/>
                      <a:pt x="985" y="37"/>
                      <a:pt x="985" y="37"/>
                    </a:cubicBezTo>
                    <a:cubicBezTo>
                      <a:pt x="985" y="37"/>
                      <a:pt x="985" y="37"/>
                      <a:pt x="985" y="37"/>
                    </a:cubicBezTo>
                    <a:moveTo>
                      <a:pt x="1049" y="27"/>
                    </a:moveTo>
                    <a:cubicBezTo>
                      <a:pt x="1044" y="28"/>
                      <a:pt x="1040" y="33"/>
                      <a:pt x="1041" y="38"/>
                    </a:cubicBezTo>
                    <a:cubicBezTo>
                      <a:pt x="1042" y="43"/>
                      <a:pt x="1046" y="46"/>
                      <a:pt x="1051" y="46"/>
                    </a:cubicBezTo>
                    <a:cubicBezTo>
                      <a:pt x="1083" y="41"/>
                      <a:pt x="1083" y="41"/>
                      <a:pt x="1083" y="41"/>
                    </a:cubicBezTo>
                    <a:cubicBezTo>
                      <a:pt x="1088" y="41"/>
                      <a:pt x="1092" y="36"/>
                      <a:pt x="1091" y="31"/>
                    </a:cubicBezTo>
                    <a:cubicBezTo>
                      <a:pt x="1091" y="26"/>
                      <a:pt x="1086" y="22"/>
                      <a:pt x="1081" y="23"/>
                    </a:cubicBezTo>
                    <a:cubicBezTo>
                      <a:pt x="1049" y="27"/>
                      <a:pt x="1049" y="27"/>
                      <a:pt x="1049" y="27"/>
                    </a:cubicBezTo>
                    <a:cubicBezTo>
                      <a:pt x="1049" y="27"/>
                      <a:pt x="1049" y="27"/>
                      <a:pt x="1049" y="27"/>
                    </a:cubicBezTo>
                    <a:moveTo>
                      <a:pt x="1113" y="19"/>
                    </a:moveTo>
                    <a:cubicBezTo>
                      <a:pt x="1108" y="19"/>
                      <a:pt x="1104" y="24"/>
                      <a:pt x="1105" y="29"/>
                    </a:cubicBezTo>
                    <a:cubicBezTo>
                      <a:pt x="1106" y="34"/>
                      <a:pt x="1110" y="38"/>
                      <a:pt x="1115" y="37"/>
                    </a:cubicBezTo>
                    <a:cubicBezTo>
                      <a:pt x="1147" y="33"/>
                      <a:pt x="1147" y="33"/>
                      <a:pt x="1147" y="33"/>
                    </a:cubicBezTo>
                    <a:cubicBezTo>
                      <a:pt x="1152" y="33"/>
                      <a:pt x="1156" y="28"/>
                      <a:pt x="1155" y="23"/>
                    </a:cubicBezTo>
                    <a:cubicBezTo>
                      <a:pt x="1155" y="18"/>
                      <a:pt x="1150" y="15"/>
                      <a:pt x="1145" y="15"/>
                    </a:cubicBezTo>
                    <a:cubicBezTo>
                      <a:pt x="1113" y="19"/>
                      <a:pt x="1113" y="19"/>
                      <a:pt x="1113" y="19"/>
                    </a:cubicBezTo>
                    <a:cubicBezTo>
                      <a:pt x="1113" y="19"/>
                      <a:pt x="1113" y="19"/>
                      <a:pt x="1113" y="19"/>
                    </a:cubicBezTo>
                    <a:moveTo>
                      <a:pt x="1178" y="12"/>
                    </a:moveTo>
                    <a:cubicBezTo>
                      <a:pt x="1172" y="12"/>
                      <a:pt x="1169" y="17"/>
                      <a:pt x="1169" y="22"/>
                    </a:cubicBezTo>
                    <a:cubicBezTo>
                      <a:pt x="1170" y="27"/>
                      <a:pt x="1174" y="31"/>
                      <a:pt x="1179" y="30"/>
                    </a:cubicBezTo>
                    <a:cubicBezTo>
                      <a:pt x="1211" y="27"/>
                      <a:pt x="1211" y="27"/>
                      <a:pt x="1211" y="27"/>
                    </a:cubicBezTo>
                    <a:cubicBezTo>
                      <a:pt x="1216" y="26"/>
                      <a:pt x="1220" y="22"/>
                      <a:pt x="1220" y="17"/>
                    </a:cubicBezTo>
                    <a:cubicBezTo>
                      <a:pt x="1219" y="12"/>
                      <a:pt x="1215" y="9"/>
                      <a:pt x="1210" y="9"/>
                    </a:cubicBezTo>
                    <a:cubicBezTo>
                      <a:pt x="1178" y="12"/>
                      <a:pt x="1178" y="12"/>
                      <a:pt x="1178" y="12"/>
                    </a:cubicBezTo>
                    <a:cubicBezTo>
                      <a:pt x="1178" y="12"/>
                      <a:pt x="1178" y="12"/>
                      <a:pt x="1178" y="12"/>
                    </a:cubicBezTo>
                    <a:moveTo>
                      <a:pt x="1242" y="7"/>
                    </a:moveTo>
                    <a:cubicBezTo>
                      <a:pt x="1237" y="7"/>
                      <a:pt x="1234" y="11"/>
                      <a:pt x="1234" y="16"/>
                    </a:cubicBezTo>
                    <a:cubicBezTo>
                      <a:pt x="1234" y="21"/>
                      <a:pt x="1239" y="25"/>
                      <a:pt x="1243" y="24"/>
                    </a:cubicBezTo>
                    <a:cubicBezTo>
                      <a:pt x="1276" y="22"/>
                      <a:pt x="1276" y="22"/>
                      <a:pt x="1276" y="22"/>
                    </a:cubicBezTo>
                    <a:cubicBezTo>
                      <a:pt x="1280" y="21"/>
                      <a:pt x="1284" y="17"/>
                      <a:pt x="1284" y="13"/>
                    </a:cubicBezTo>
                    <a:cubicBezTo>
                      <a:pt x="1283" y="8"/>
                      <a:pt x="1279" y="4"/>
                      <a:pt x="1275" y="5"/>
                    </a:cubicBezTo>
                    <a:cubicBezTo>
                      <a:pt x="1242" y="7"/>
                      <a:pt x="1242" y="7"/>
                      <a:pt x="1242" y="7"/>
                    </a:cubicBezTo>
                    <a:cubicBezTo>
                      <a:pt x="1242" y="7"/>
                      <a:pt x="1242" y="7"/>
                      <a:pt x="1242" y="7"/>
                    </a:cubicBezTo>
                    <a:moveTo>
                      <a:pt x="1307" y="3"/>
                    </a:moveTo>
                    <a:cubicBezTo>
                      <a:pt x="1302" y="3"/>
                      <a:pt x="1299" y="7"/>
                      <a:pt x="1299" y="12"/>
                    </a:cubicBezTo>
                    <a:cubicBezTo>
                      <a:pt x="1299" y="16"/>
                      <a:pt x="1303" y="20"/>
                      <a:pt x="1308" y="20"/>
                    </a:cubicBezTo>
                    <a:cubicBezTo>
                      <a:pt x="1340" y="18"/>
                      <a:pt x="1340" y="18"/>
                      <a:pt x="1340" y="18"/>
                    </a:cubicBezTo>
                    <a:cubicBezTo>
                      <a:pt x="1345" y="18"/>
                      <a:pt x="1348" y="14"/>
                      <a:pt x="1348" y="9"/>
                    </a:cubicBezTo>
                    <a:cubicBezTo>
                      <a:pt x="1348" y="5"/>
                      <a:pt x="1344" y="1"/>
                      <a:pt x="1339" y="1"/>
                    </a:cubicBezTo>
                    <a:cubicBezTo>
                      <a:pt x="1307" y="3"/>
                      <a:pt x="1307" y="3"/>
                      <a:pt x="1307" y="3"/>
                    </a:cubicBezTo>
                    <a:cubicBezTo>
                      <a:pt x="1307" y="3"/>
                      <a:pt x="1307" y="3"/>
                      <a:pt x="1307" y="3"/>
                    </a:cubicBezTo>
                    <a:moveTo>
                      <a:pt x="1372" y="0"/>
                    </a:moveTo>
                    <a:cubicBezTo>
                      <a:pt x="1367" y="0"/>
                      <a:pt x="1364" y="4"/>
                      <a:pt x="1364" y="9"/>
                    </a:cubicBezTo>
                    <a:cubicBezTo>
                      <a:pt x="1364" y="13"/>
                      <a:pt x="1368" y="17"/>
                      <a:pt x="1372" y="17"/>
                    </a:cubicBezTo>
                    <a:cubicBezTo>
                      <a:pt x="1405" y="16"/>
                      <a:pt x="1405" y="16"/>
                      <a:pt x="1405" y="16"/>
                    </a:cubicBezTo>
                    <a:cubicBezTo>
                      <a:pt x="1409" y="15"/>
                      <a:pt x="1412" y="12"/>
                      <a:pt x="1412" y="8"/>
                    </a:cubicBezTo>
                    <a:cubicBezTo>
                      <a:pt x="1412" y="3"/>
                      <a:pt x="1408" y="0"/>
                      <a:pt x="1404" y="0"/>
                    </a:cubicBezTo>
                    <a:cubicBezTo>
                      <a:pt x="1372" y="0"/>
                      <a:pt x="1372" y="0"/>
                      <a:pt x="1372" y="0"/>
                    </a:cubicBezTo>
                    <a:cubicBezTo>
                      <a:pt x="1372" y="0"/>
                      <a:pt x="1372" y="0"/>
                      <a:pt x="1372" y="0"/>
                    </a:cubicBezTo>
                    <a:moveTo>
                      <a:pt x="1436" y="0"/>
                    </a:moveTo>
                    <a:cubicBezTo>
                      <a:pt x="1432" y="0"/>
                      <a:pt x="1429" y="4"/>
                      <a:pt x="1429" y="8"/>
                    </a:cubicBezTo>
                    <a:cubicBezTo>
                      <a:pt x="1429" y="12"/>
                      <a:pt x="1432" y="15"/>
                      <a:pt x="1437" y="15"/>
                    </a:cubicBezTo>
                    <a:cubicBezTo>
                      <a:pt x="1469" y="14"/>
                      <a:pt x="1469" y="14"/>
                      <a:pt x="1469" y="14"/>
                    </a:cubicBezTo>
                    <a:cubicBezTo>
                      <a:pt x="1473" y="14"/>
                      <a:pt x="1476" y="11"/>
                      <a:pt x="1476" y="7"/>
                    </a:cubicBezTo>
                    <a:cubicBezTo>
                      <a:pt x="1476" y="3"/>
                      <a:pt x="1473" y="0"/>
                      <a:pt x="1469" y="0"/>
                    </a:cubicBezTo>
                    <a:cubicBezTo>
                      <a:pt x="1437" y="0"/>
                      <a:pt x="1437" y="0"/>
                      <a:pt x="1437" y="0"/>
                    </a:cubicBezTo>
                    <a:cubicBezTo>
                      <a:pt x="1436" y="0"/>
                      <a:pt x="1436" y="0"/>
                      <a:pt x="1436" y="0"/>
                    </a:cubicBezTo>
                    <a:moveTo>
                      <a:pt x="1501" y="0"/>
                    </a:moveTo>
                    <a:cubicBezTo>
                      <a:pt x="1497" y="0"/>
                      <a:pt x="1494" y="3"/>
                      <a:pt x="1494" y="7"/>
                    </a:cubicBezTo>
                    <a:cubicBezTo>
                      <a:pt x="1494" y="11"/>
                      <a:pt x="1497" y="14"/>
                      <a:pt x="1501" y="14"/>
                    </a:cubicBezTo>
                    <a:cubicBezTo>
                      <a:pt x="1534" y="14"/>
                      <a:pt x="1534" y="14"/>
                      <a:pt x="1534" y="14"/>
                    </a:cubicBezTo>
                    <a:cubicBezTo>
                      <a:pt x="1537" y="14"/>
                      <a:pt x="1540" y="12"/>
                      <a:pt x="1540" y="8"/>
                    </a:cubicBezTo>
                    <a:cubicBezTo>
                      <a:pt x="1540" y="4"/>
                      <a:pt x="1537" y="1"/>
                      <a:pt x="1534" y="1"/>
                    </a:cubicBezTo>
                    <a:cubicBezTo>
                      <a:pt x="1501" y="0"/>
                      <a:pt x="1501" y="0"/>
                      <a:pt x="1501" y="0"/>
                    </a:cubicBezTo>
                    <a:cubicBezTo>
                      <a:pt x="1501" y="0"/>
                      <a:pt x="1501" y="0"/>
                      <a:pt x="1501" y="0"/>
                    </a:cubicBezTo>
                    <a:moveTo>
                      <a:pt x="1566" y="2"/>
                    </a:moveTo>
                    <a:cubicBezTo>
                      <a:pt x="1562" y="2"/>
                      <a:pt x="1559" y="5"/>
                      <a:pt x="1559" y="8"/>
                    </a:cubicBezTo>
                    <a:cubicBezTo>
                      <a:pt x="1559" y="12"/>
                      <a:pt x="1562" y="15"/>
                      <a:pt x="1566" y="15"/>
                    </a:cubicBezTo>
                    <a:cubicBezTo>
                      <a:pt x="1598" y="16"/>
                      <a:pt x="1598" y="16"/>
                      <a:pt x="1598" y="16"/>
                    </a:cubicBezTo>
                    <a:cubicBezTo>
                      <a:pt x="1601" y="16"/>
                      <a:pt x="1604" y="13"/>
                      <a:pt x="1604" y="10"/>
                    </a:cubicBezTo>
                    <a:cubicBezTo>
                      <a:pt x="1604" y="6"/>
                      <a:pt x="1602" y="4"/>
                      <a:pt x="1598" y="3"/>
                    </a:cubicBezTo>
                    <a:cubicBezTo>
                      <a:pt x="1566" y="2"/>
                      <a:pt x="1566" y="2"/>
                      <a:pt x="1566" y="2"/>
                    </a:cubicBezTo>
                    <a:cubicBezTo>
                      <a:pt x="1566" y="2"/>
                      <a:pt x="1566" y="2"/>
                      <a:pt x="1566" y="2"/>
                    </a:cubicBezTo>
                    <a:moveTo>
                      <a:pt x="1631" y="5"/>
                    </a:moveTo>
                    <a:cubicBezTo>
                      <a:pt x="1628" y="5"/>
                      <a:pt x="1625" y="8"/>
                      <a:pt x="1625" y="11"/>
                    </a:cubicBezTo>
                    <a:cubicBezTo>
                      <a:pt x="1625" y="14"/>
                      <a:pt x="1627" y="16"/>
                      <a:pt x="1630" y="17"/>
                    </a:cubicBezTo>
                    <a:cubicBezTo>
                      <a:pt x="1663" y="18"/>
                      <a:pt x="1663" y="18"/>
                      <a:pt x="1663" y="18"/>
                    </a:cubicBezTo>
                    <a:cubicBezTo>
                      <a:pt x="1665" y="18"/>
                      <a:pt x="1668" y="16"/>
                      <a:pt x="1668" y="13"/>
                    </a:cubicBezTo>
                    <a:cubicBezTo>
                      <a:pt x="1668" y="10"/>
                      <a:pt x="1666" y="8"/>
                      <a:pt x="1663" y="7"/>
                    </a:cubicBezTo>
                    <a:cubicBezTo>
                      <a:pt x="1631" y="5"/>
                      <a:pt x="1631" y="5"/>
                      <a:pt x="1631" y="5"/>
                    </a:cubicBezTo>
                    <a:cubicBezTo>
                      <a:pt x="1631" y="5"/>
                      <a:pt x="1631" y="5"/>
                      <a:pt x="1631" y="5"/>
                    </a:cubicBezTo>
                    <a:moveTo>
                      <a:pt x="1695" y="10"/>
                    </a:moveTo>
                    <a:cubicBezTo>
                      <a:pt x="1693" y="10"/>
                      <a:pt x="1690" y="12"/>
                      <a:pt x="1690" y="14"/>
                    </a:cubicBezTo>
                    <a:cubicBezTo>
                      <a:pt x="1690" y="17"/>
                      <a:pt x="1692" y="19"/>
                      <a:pt x="1695" y="20"/>
                    </a:cubicBezTo>
                    <a:cubicBezTo>
                      <a:pt x="1727" y="22"/>
                      <a:pt x="1727" y="22"/>
                      <a:pt x="1727" y="22"/>
                    </a:cubicBezTo>
                    <a:cubicBezTo>
                      <a:pt x="1729" y="22"/>
                      <a:pt x="1731" y="20"/>
                      <a:pt x="1732" y="17"/>
                    </a:cubicBezTo>
                    <a:cubicBezTo>
                      <a:pt x="1732" y="15"/>
                      <a:pt x="1730" y="13"/>
                      <a:pt x="1728" y="13"/>
                    </a:cubicBezTo>
                    <a:cubicBezTo>
                      <a:pt x="1695" y="10"/>
                      <a:pt x="1695" y="10"/>
                      <a:pt x="1695" y="10"/>
                    </a:cubicBezTo>
                    <a:cubicBezTo>
                      <a:pt x="1695" y="10"/>
                      <a:pt x="1695" y="10"/>
                      <a:pt x="1695" y="10"/>
                    </a:cubicBezTo>
                    <a:moveTo>
                      <a:pt x="1760" y="16"/>
                    </a:moveTo>
                    <a:cubicBezTo>
                      <a:pt x="1758" y="16"/>
                      <a:pt x="1756" y="17"/>
                      <a:pt x="1756" y="19"/>
                    </a:cubicBezTo>
                    <a:cubicBezTo>
                      <a:pt x="1755" y="22"/>
                      <a:pt x="1757" y="23"/>
                      <a:pt x="1759" y="24"/>
                    </a:cubicBezTo>
                    <a:cubicBezTo>
                      <a:pt x="1791" y="26"/>
                      <a:pt x="1791" y="26"/>
                      <a:pt x="1791" y="26"/>
                    </a:cubicBezTo>
                    <a:cubicBezTo>
                      <a:pt x="1793" y="26"/>
                      <a:pt x="1795" y="25"/>
                      <a:pt x="1795" y="23"/>
                    </a:cubicBezTo>
                    <a:cubicBezTo>
                      <a:pt x="1795" y="21"/>
                      <a:pt x="1794" y="20"/>
                      <a:pt x="1792" y="19"/>
                    </a:cubicBezTo>
                    <a:cubicBezTo>
                      <a:pt x="1760" y="16"/>
                      <a:pt x="1760" y="16"/>
                      <a:pt x="1760" y="16"/>
                    </a:cubicBezTo>
                    <a:cubicBezTo>
                      <a:pt x="1760" y="16"/>
                      <a:pt x="1760" y="16"/>
                      <a:pt x="1760" y="16"/>
                    </a:cubicBezTo>
                    <a:moveTo>
                      <a:pt x="1824" y="23"/>
                    </a:moveTo>
                    <a:cubicBezTo>
                      <a:pt x="1823" y="23"/>
                      <a:pt x="1821" y="24"/>
                      <a:pt x="1821" y="26"/>
                    </a:cubicBezTo>
                    <a:cubicBezTo>
                      <a:pt x="1821" y="27"/>
                      <a:pt x="1822" y="29"/>
                      <a:pt x="1824" y="29"/>
                    </a:cubicBezTo>
                    <a:cubicBezTo>
                      <a:pt x="1856" y="32"/>
                      <a:pt x="1856" y="32"/>
                      <a:pt x="1856" y="32"/>
                    </a:cubicBezTo>
                    <a:cubicBezTo>
                      <a:pt x="1857" y="32"/>
                      <a:pt x="1858" y="31"/>
                      <a:pt x="1858" y="30"/>
                    </a:cubicBezTo>
                    <a:cubicBezTo>
                      <a:pt x="1858" y="29"/>
                      <a:pt x="1858" y="27"/>
                      <a:pt x="1856" y="27"/>
                    </a:cubicBezTo>
                    <a:cubicBezTo>
                      <a:pt x="1824" y="23"/>
                      <a:pt x="1824" y="23"/>
                      <a:pt x="1824" y="23"/>
                    </a:cubicBezTo>
                    <a:cubicBezTo>
                      <a:pt x="1824" y="23"/>
                      <a:pt x="1824" y="23"/>
                      <a:pt x="1824" y="23"/>
                    </a:cubicBezTo>
                    <a:moveTo>
                      <a:pt x="1888" y="32"/>
                    </a:moveTo>
                    <a:cubicBezTo>
                      <a:pt x="1887" y="32"/>
                      <a:pt x="1886" y="32"/>
                      <a:pt x="1886" y="33"/>
                    </a:cubicBezTo>
                    <a:cubicBezTo>
                      <a:pt x="1886" y="34"/>
                      <a:pt x="1887" y="35"/>
                      <a:pt x="1888" y="35"/>
                    </a:cubicBezTo>
                    <a:cubicBezTo>
                      <a:pt x="1920" y="39"/>
                      <a:pt x="1920" y="39"/>
                      <a:pt x="1920" y="39"/>
                    </a:cubicBezTo>
                    <a:cubicBezTo>
                      <a:pt x="1921" y="39"/>
                      <a:pt x="1921" y="38"/>
                      <a:pt x="1921" y="38"/>
                    </a:cubicBezTo>
                    <a:cubicBezTo>
                      <a:pt x="1921" y="37"/>
                      <a:pt x="1921" y="37"/>
                      <a:pt x="1920" y="36"/>
                    </a:cubicBezTo>
                    <a:cubicBezTo>
                      <a:pt x="1888" y="32"/>
                      <a:pt x="1888" y="32"/>
                      <a:pt x="1888" y="32"/>
                    </a:cubicBezTo>
                    <a:cubicBezTo>
                      <a:pt x="1888" y="32"/>
                      <a:pt x="1888" y="32"/>
                      <a:pt x="1888" y="32"/>
                    </a:cubicBezTo>
                    <a:moveTo>
                      <a:pt x="1953" y="41"/>
                    </a:moveTo>
                    <a:cubicBezTo>
                      <a:pt x="1952" y="42"/>
                      <a:pt x="1952" y="42"/>
                      <a:pt x="1952" y="42"/>
                    </a:cubicBezTo>
                    <a:cubicBezTo>
                      <a:pt x="1953" y="42"/>
                      <a:pt x="1953" y="42"/>
                      <a:pt x="1953" y="42"/>
                    </a:cubicBezTo>
                    <a:cubicBezTo>
                      <a:pt x="1969" y="44"/>
                      <a:pt x="1969" y="44"/>
                      <a:pt x="1969" y="44"/>
                    </a:cubicBezTo>
                    <a:cubicBezTo>
                      <a:pt x="1953" y="41"/>
                      <a:pt x="1953" y="41"/>
                      <a:pt x="1953" y="41"/>
                    </a:cubicBezTo>
                    <a:cubicBezTo>
                      <a:pt x="1953" y="41"/>
                      <a:pt x="1953" y="41"/>
                      <a:pt x="1953" y="41"/>
                    </a:cubicBezTo>
                  </a:path>
                </a:pathLst>
              </a:custGeom>
              <a:solidFill>
                <a:schemeClr val="accent4">
                  <a:lumMod val="60000"/>
                  <a:lumOff val="40000"/>
                  <a:alpha val="32000"/>
                </a:schemeClr>
              </a:solidFill>
              <a:ln>
                <a:noFill/>
              </a:ln>
            </p:spPr>
            <p:txBody>
              <a:bodyPr vert="horz" wrap="square" lIns="89643" tIns="44822" rIns="89643" bIns="44822" numCol="1" anchor="t" anchorCtr="0" compatLnSpc="1">
                <a:prstTxWarp prst="textNoShape">
                  <a:avLst/>
                </a:prstTxWarp>
              </a:bodyPr>
              <a:lstStyle/>
              <a:p>
                <a:pPr marL="0" marR="0" lvl="0" indent="0" algn="l" defTabSz="914348"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a:ln>
                    <a:noFill/>
                  </a:ln>
                  <a:solidFill>
                    <a:prstClr val="black"/>
                  </a:solidFill>
                  <a:effectLst/>
                  <a:uLnTx/>
                  <a:uFillTx/>
                  <a:latin typeface="Calibri" panose="020F0502020204030204"/>
                  <a:ea typeface="Heiti SC Light" charset="-122"/>
                  <a:cs typeface="+mn-cs"/>
                  <a:sym typeface="Gill Sans" charset="0"/>
                </a:endParaRPr>
              </a:p>
            </p:txBody>
          </p:sp>
          <p:sp>
            <p:nvSpPr>
              <p:cNvPr id="81" name="Freeform 619"/>
              <p:cNvSpPr>
                <a:spLocks noEditPoints="1"/>
              </p:cNvSpPr>
              <p:nvPr/>
            </p:nvSpPr>
            <p:spPr bwMode="auto">
              <a:xfrm>
                <a:off x="164286" y="5319733"/>
                <a:ext cx="3633654" cy="3086213"/>
              </a:xfrm>
              <a:custGeom>
                <a:avLst/>
                <a:gdLst>
                  <a:gd name="T0" fmla="*/ 1 w 1317"/>
                  <a:gd name="T1" fmla="*/ 1108 h 1118"/>
                  <a:gd name="T2" fmla="*/ 4 w 1317"/>
                  <a:gd name="T3" fmla="*/ 1085 h 1118"/>
                  <a:gd name="T4" fmla="*/ 5 w 1317"/>
                  <a:gd name="T5" fmla="*/ 1086 h 1118"/>
                  <a:gd name="T6" fmla="*/ 0 w 1317"/>
                  <a:gd name="T7" fmla="*/ 1113 h 1118"/>
                  <a:gd name="T8" fmla="*/ 17 w 1317"/>
                  <a:gd name="T9" fmla="*/ 1033 h 1118"/>
                  <a:gd name="T10" fmla="*/ 24 w 1317"/>
                  <a:gd name="T11" fmla="*/ 997 h 1118"/>
                  <a:gd name="T12" fmla="*/ 14 w 1317"/>
                  <a:gd name="T13" fmla="*/ 1035 h 1118"/>
                  <a:gd name="T14" fmla="*/ 53 w 1317"/>
                  <a:gd name="T15" fmla="*/ 918 h 1118"/>
                  <a:gd name="T16" fmla="*/ 43 w 1317"/>
                  <a:gd name="T17" fmla="*/ 915 h 1118"/>
                  <a:gd name="T18" fmla="*/ 64 w 1317"/>
                  <a:gd name="T19" fmla="*/ 871 h 1118"/>
                  <a:gd name="T20" fmla="*/ 85 w 1317"/>
                  <a:gd name="T21" fmla="*/ 838 h 1118"/>
                  <a:gd name="T22" fmla="*/ 60 w 1317"/>
                  <a:gd name="T23" fmla="*/ 863 h 1118"/>
                  <a:gd name="T24" fmla="*/ 108 w 1317"/>
                  <a:gd name="T25" fmla="*/ 789 h 1118"/>
                  <a:gd name="T26" fmla="*/ 119 w 1317"/>
                  <a:gd name="T27" fmla="*/ 748 h 1118"/>
                  <a:gd name="T28" fmla="*/ 97 w 1317"/>
                  <a:gd name="T29" fmla="*/ 792 h 1118"/>
                  <a:gd name="T30" fmla="*/ 165 w 1317"/>
                  <a:gd name="T31" fmla="*/ 684 h 1118"/>
                  <a:gd name="T32" fmla="*/ 148 w 1317"/>
                  <a:gd name="T33" fmla="*/ 674 h 1118"/>
                  <a:gd name="T34" fmla="*/ 179 w 1317"/>
                  <a:gd name="T35" fmla="*/ 641 h 1118"/>
                  <a:gd name="T36" fmla="*/ 212 w 1317"/>
                  <a:gd name="T37" fmla="*/ 611 h 1118"/>
                  <a:gd name="T38" fmla="*/ 176 w 1317"/>
                  <a:gd name="T39" fmla="*/ 627 h 1118"/>
                  <a:gd name="T40" fmla="*/ 243 w 1317"/>
                  <a:gd name="T41" fmla="*/ 568 h 1118"/>
                  <a:gd name="T42" fmla="*/ 261 w 1317"/>
                  <a:gd name="T43" fmla="*/ 526 h 1118"/>
                  <a:gd name="T44" fmla="*/ 228 w 1317"/>
                  <a:gd name="T45" fmla="*/ 570 h 1118"/>
                  <a:gd name="T46" fmla="*/ 320 w 1317"/>
                  <a:gd name="T47" fmla="*/ 476 h 1118"/>
                  <a:gd name="T48" fmla="*/ 302 w 1317"/>
                  <a:gd name="T49" fmla="*/ 461 h 1118"/>
                  <a:gd name="T50" fmla="*/ 340 w 1317"/>
                  <a:gd name="T51" fmla="*/ 437 h 1118"/>
                  <a:gd name="T52" fmla="*/ 380 w 1317"/>
                  <a:gd name="T53" fmla="*/ 414 h 1118"/>
                  <a:gd name="T54" fmla="*/ 340 w 1317"/>
                  <a:gd name="T55" fmla="*/ 420 h 1118"/>
                  <a:gd name="T56" fmla="*/ 420 w 1317"/>
                  <a:gd name="T57" fmla="*/ 378 h 1118"/>
                  <a:gd name="T58" fmla="*/ 446 w 1317"/>
                  <a:gd name="T59" fmla="*/ 339 h 1118"/>
                  <a:gd name="T60" fmla="*/ 403 w 1317"/>
                  <a:gd name="T61" fmla="*/ 377 h 1118"/>
                  <a:gd name="T62" fmla="*/ 486 w 1317"/>
                  <a:gd name="T63" fmla="*/ 323 h 1118"/>
                  <a:gd name="T64" fmla="*/ 498 w 1317"/>
                  <a:gd name="T65" fmla="*/ 284 h 1118"/>
                  <a:gd name="T66" fmla="*/ 540 w 1317"/>
                  <a:gd name="T67" fmla="*/ 269 h 1118"/>
                  <a:gd name="T68" fmla="*/ 587 w 1317"/>
                  <a:gd name="T69" fmla="*/ 238 h 1118"/>
                  <a:gd name="T70" fmla="*/ 618 w 1317"/>
                  <a:gd name="T71" fmla="*/ 206 h 1118"/>
                  <a:gd name="T72" fmla="*/ 658 w 1317"/>
                  <a:gd name="T73" fmla="*/ 210 h 1118"/>
                  <a:gd name="T74" fmla="*/ 618 w 1317"/>
                  <a:gd name="T75" fmla="*/ 206 h 1118"/>
                  <a:gd name="T76" fmla="*/ 705 w 1317"/>
                  <a:gd name="T77" fmla="*/ 185 h 1118"/>
                  <a:gd name="T78" fmla="*/ 725 w 1317"/>
                  <a:gd name="T79" fmla="*/ 150 h 1118"/>
                  <a:gd name="T80" fmla="*/ 775 w 1317"/>
                  <a:gd name="T81" fmla="*/ 128 h 1118"/>
                  <a:gd name="T82" fmla="*/ 814 w 1317"/>
                  <a:gd name="T83" fmla="*/ 134 h 1118"/>
                  <a:gd name="T84" fmla="*/ 775 w 1317"/>
                  <a:gd name="T85" fmla="*/ 128 h 1118"/>
                  <a:gd name="T86" fmla="*/ 864 w 1317"/>
                  <a:gd name="T87" fmla="*/ 114 h 1118"/>
                  <a:gd name="T88" fmla="*/ 888 w 1317"/>
                  <a:gd name="T89" fmla="*/ 85 h 1118"/>
                  <a:gd name="T90" fmla="*/ 935 w 1317"/>
                  <a:gd name="T91" fmla="*/ 80 h 1118"/>
                  <a:gd name="T92" fmla="*/ 982 w 1317"/>
                  <a:gd name="T93" fmla="*/ 65 h 1118"/>
                  <a:gd name="T94" fmla="*/ 940 w 1317"/>
                  <a:gd name="T95" fmla="*/ 69 h 1118"/>
                  <a:gd name="T96" fmla="*/ 1029 w 1317"/>
                  <a:gd name="T97" fmla="*/ 60 h 1118"/>
                  <a:gd name="T98" fmla="*/ 1057 w 1317"/>
                  <a:gd name="T99" fmla="*/ 39 h 1118"/>
                  <a:gd name="T100" fmla="*/ 1106 w 1317"/>
                  <a:gd name="T101" fmla="*/ 34 h 1118"/>
                  <a:gd name="T102" fmla="*/ 1149 w 1317"/>
                  <a:gd name="T103" fmla="*/ 26 h 1118"/>
                  <a:gd name="T104" fmla="*/ 1111 w 1317"/>
                  <a:gd name="T105" fmla="*/ 28 h 1118"/>
                  <a:gd name="T106" fmla="*/ 1198 w 1317"/>
                  <a:gd name="T107" fmla="*/ 20 h 1118"/>
                  <a:gd name="T108" fmla="*/ 1230 w 1317"/>
                  <a:gd name="T109" fmla="*/ 9 h 1118"/>
                  <a:gd name="T110" fmla="*/ 1283 w 1317"/>
                  <a:gd name="T111" fmla="*/ 4 h 1118"/>
                  <a:gd name="T112" fmla="*/ 1317 w 1317"/>
                  <a:gd name="T113" fmla="*/ 0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17" h="1118">
                    <a:moveTo>
                      <a:pt x="0" y="1118"/>
                    </a:moveTo>
                    <a:cubicBezTo>
                      <a:pt x="0" y="1118"/>
                      <a:pt x="0" y="1116"/>
                      <a:pt x="0" y="1113"/>
                    </a:cubicBezTo>
                    <a:cubicBezTo>
                      <a:pt x="0" y="1111"/>
                      <a:pt x="0" y="1110"/>
                      <a:pt x="1" y="1108"/>
                    </a:cubicBezTo>
                    <a:cubicBezTo>
                      <a:pt x="1" y="1106"/>
                      <a:pt x="1" y="1104"/>
                      <a:pt x="1" y="1102"/>
                    </a:cubicBezTo>
                    <a:cubicBezTo>
                      <a:pt x="2" y="1094"/>
                      <a:pt x="3" y="1085"/>
                      <a:pt x="3" y="1085"/>
                    </a:cubicBezTo>
                    <a:cubicBezTo>
                      <a:pt x="3" y="1085"/>
                      <a:pt x="4" y="1084"/>
                      <a:pt x="4" y="1085"/>
                    </a:cubicBezTo>
                    <a:cubicBezTo>
                      <a:pt x="5" y="1085"/>
                      <a:pt x="5" y="1085"/>
                      <a:pt x="5" y="1086"/>
                    </a:cubicBezTo>
                    <a:cubicBezTo>
                      <a:pt x="5" y="1086"/>
                      <a:pt x="5" y="1086"/>
                      <a:pt x="5" y="1086"/>
                    </a:cubicBezTo>
                    <a:cubicBezTo>
                      <a:pt x="5" y="1086"/>
                      <a:pt x="5" y="1086"/>
                      <a:pt x="5" y="1086"/>
                    </a:cubicBezTo>
                    <a:cubicBezTo>
                      <a:pt x="5" y="1086"/>
                      <a:pt x="4" y="1094"/>
                      <a:pt x="2" y="1102"/>
                    </a:cubicBezTo>
                    <a:cubicBezTo>
                      <a:pt x="2" y="1104"/>
                      <a:pt x="2" y="1106"/>
                      <a:pt x="1" y="1108"/>
                    </a:cubicBezTo>
                    <a:cubicBezTo>
                      <a:pt x="1" y="1110"/>
                      <a:pt x="1" y="1111"/>
                      <a:pt x="0" y="1113"/>
                    </a:cubicBezTo>
                    <a:cubicBezTo>
                      <a:pt x="0" y="1116"/>
                      <a:pt x="0" y="1118"/>
                      <a:pt x="0" y="1118"/>
                    </a:cubicBezTo>
                    <a:close/>
                    <a:moveTo>
                      <a:pt x="14" y="1035"/>
                    </a:moveTo>
                    <a:cubicBezTo>
                      <a:pt x="16" y="1035"/>
                      <a:pt x="17" y="1034"/>
                      <a:pt x="17" y="1033"/>
                    </a:cubicBezTo>
                    <a:cubicBezTo>
                      <a:pt x="26" y="1001"/>
                      <a:pt x="26" y="1001"/>
                      <a:pt x="26" y="1001"/>
                    </a:cubicBezTo>
                    <a:cubicBezTo>
                      <a:pt x="26" y="1001"/>
                      <a:pt x="26" y="1001"/>
                      <a:pt x="26" y="1001"/>
                    </a:cubicBezTo>
                    <a:cubicBezTo>
                      <a:pt x="27" y="999"/>
                      <a:pt x="25" y="997"/>
                      <a:pt x="24" y="997"/>
                    </a:cubicBezTo>
                    <a:cubicBezTo>
                      <a:pt x="22" y="996"/>
                      <a:pt x="20" y="998"/>
                      <a:pt x="19" y="1000"/>
                    </a:cubicBezTo>
                    <a:cubicBezTo>
                      <a:pt x="12" y="1031"/>
                      <a:pt x="12" y="1031"/>
                      <a:pt x="12" y="1031"/>
                    </a:cubicBezTo>
                    <a:cubicBezTo>
                      <a:pt x="12" y="1033"/>
                      <a:pt x="13" y="1034"/>
                      <a:pt x="14" y="1035"/>
                    </a:cubicBezTo>
                    <a:close/>
                    <a:moveTo>
                      <a:pt x="36" y="952"/>
                    </a:moveTo>
                    <a:cubicBezTo>
                      <a:pt x="39" y="953"/>
                      <a:pt x="41" y="952"/>
                      <a:pt x="42" y="949"/>
                    </a:cubicBezTo>
                    <a:cubicBezTo>
                      <a:pt x="53" y="918"/>
                      <a:pt x="53" y="918"/>
                      <a:pt x="53" y="918"/>
                    </a:cubicBezTo>
                    <a:cubicBezTo>
                      <a:pt x="53" y="918"/>
                      <a:pt x="53" y="918"/>
                      <a:pt x="53" y="918"/>
                    </a:cubicBezTo>
                    <a:cubicBezTo>
                      <a:pt x="54" y="915"/>
                      <a:pt x="52" y="912"/>
                      <a:pt x="49" y="912"/>
                    </a:cubicBezTo>
                    <a:cubicBezTo>
                      <a:pt x="47" y="911"/>
                      <a:pt x="44" y="912"/>
                      <a:pt x="43" y="915"/>
                    </a:cubicBezTo>
                    <a:cubicBezTo>
                      <a:pt x="33" y="946"/>
                      <a:pt x="33" y="946"/>
                      <a:pt x="33" y="946"/>
                    </a:cubicBezTo>
                    <a:cubicBezTo>
                      <a:pt x="33" y="949"/>
                      <a:pt x="34" y="951"/>
                      <a:pt x="36" y="952"/>
                    </a:cubicBezTo>
                    <a:close/>
                    <a:moveTo>
                      <a:pt x="64" y="871"/>
                    </a:moveTo>
                    <a:cubicBezTo>
                      <a:pt x="67" y="873"/>
                      <a:pt x="71" y="871"/>
                      <a:pt x="72" y="868"/>
                    </a:cubicBezTo>
                    <a:cubicBezTo>
                      <a:pt x="85" y="838"/>
                      <a:pt x="85" y="838"/>
                      <a:pt x="85" y="838"/>
                    </a:cubicBezTo>
                    <a:cubicBezTo>
                      <a:pt x="85" y="838"/>
                      <a:pt x="85" y="838"/>
                      <a:pt x="85" y="838"/>
                    </a:cubicBezTo>
                    <a:cubicBezTo>
                      <a:pt x="87" y="834"/>
                      <a:pt x="85" y="830"/>
                      <a:pt x="81" y="828"/>
                    </a:cubicBezTo>
                    <a:cubicBezTo>
                      <a:pt x="78" y="827"/>
                      <a:pt x="74" y="829"/>
                      <a:pt x="72" y="833"/>
                    </a:cubicBezTo>
                    <a:cubicBezTo>
                      <a:pt x="60" y="863"/>
                      <a:pt x="60" y="863"/>
                      <a:pt x="60" y="863"/>
                    </a:cubicBezTo>
                    <a:cubicBezTo>
                      <a:pt x="59" y="866"/>
                      <a:pt x="61" y="870"/>
                      <a:pt x="64" y="871"/>
                    </a:cubicBezTo>
                    <a:close/>
                    <a:moveTo>
                      <a:pt x="97" y="792"/>
                    </a:moveTo>
                    <a:cubicBezTo>
                      <a:pt x="101" y="794"/>
                      <a:pt x="106" y="793"/>
                      <a:pt x="108" y="789"/>
                    </a:cubicBezTo>
                    <a:cubicBezTo>
                      <a:pt x="123" y="760"/>
                      <a:pt x="123" y="760"/>
                      <a:pt x="123" y="760"/>
                    </a:cubicBezTo>
                    <a:cubicBezTo>
                      <a:pt x="123" y="759"/>
                      <a:pt x="123" y="759"/>
                      <a:pt x="123" y="759"/>
                    </a:cubicBezTo>
                    <a:cubicBezTo>
                      <a:pt x="125" y="755"/>
                      <a:pt x="123" y="750"/>
                      <a:pt x="119" y="748"/>
                    </a:cubicBezTo>
                    <a:cubicBezTo>
                      <a:pt x="114" y="746"/>
                      <a:pt x="109" y="748"/>
                      <a:pt x="107" y="752"/>
                    </a:cubicBezTo>
                    <a:cubicBezTo>
                      <a:pt x="94" y="782"/>
                      <a:pt x="94" y="782"/>
                      <a:pt x="94" y="782"/>
                    </a:cubicBezTo>
                    <a:cubicBezTo>
                      <a:pt x="92" y="786"/>
                      <a:pt x="93" y="790"/>
                      <a:pt x="97" y="792"/>
                    </a:cubicBezTo>
                    <a:close/>
                    <a:moveTo>
                      <a:pt x="136" y="715"/>
                    </a:moveTo>
                    <a:cubicBezTo>
                      <a:pt x="140" y="718"/>
                      <a:pt x="146" y="716"/>
                      <a:pt x="148" y="712"/>
                    </a:cubicBezTo>
                    <a:cubicBezTo>
                      <a:pt x="165" y="684"/>
                      <a:pt x="165" y="684"/>
                      <a:pt x="165" y="684"/>
                    </a:cubicBezTo>
                    <a:cubicBezTo>
                      <a:pt x="165" y="684"/>
                      <a:pt x="165" y="684"/>
                      <a:pt x="165" y="684"/>
                    </a:cubicBezTo>
                    <a:cubicBezTo>
                      <a:pt x="167" y="679"/>
                      <a:pt x="166" y="673"/>
                      <a:pt x="161" y="671"/>
                    </a:cubicBezTo>
                    <a:cubicBezTo>
                      <a:pt x="157" y="668"/>
                      <a:pt x="151" y="670"/>
                      <a:pt x="148" y="674"/>
                    </a:cubicBezTo>
                    <a:cubicBezTo>
                      <a:pt x="132" y="703"/>
                      <a:pt x="132" y="703"/>
                      <a:pt x="132" y="703"/>
                    </a:cubicBezTo>
                    <a:cubicBezTo>
                      <a:pt x="130" y="707"/>
                      <a:pt x="131" y="713"/>
                      <a:pt x="136" y="715"/>
                    </a:cubicBezTo>
                    <a:close/>
                    <a:moveTo>
                      <a:pt x="179" y="641"/>
                    </a:moveTo>
                    <a:cubicBezTo>
                      <a:pt x="184" y="644"/>
                      <a:pt x="190" y="643"/>
                      <a:pt x="194" y="638"/>
                    </a:cubicBezTo>
                    <a:cubicBezTo>
                      <a:pt x="212" y="611"/>
                      <a:pt x="212" y="611"/>
                      <a:pt x="212" y="611"/>
                    </a:cubicBezTo>
                    <a:cubicBezTo>
                      <a:pt x="212" y="611"/>
                      <a:pt x="212" y="611"/>
                      <a:pt x="212" y="611"/>
                    </a:cubicBezTo>
                    <a:cubicBezTo>
                      <a:pt x="215" y="606"/>
                      <a:pt x="214" y="600"/>
                      <a:pt x="209" y="596"/>
                    </a:cubicBezTo>
                    <a:cubicBezTo>
                      <a:pt x="204" y="593"/>
                      <a:pt x="197" y="595"/>
                      <a:pt x="194" y="600"/>
                    </a:cubicBezTo>
                    <a:cubicBezTo>
                      <a:pt x="176" y="627"/>
                      <a:pt x="176" y="627"/>
                      <a:pt x="176" y="627"/>
                    </a:cubicBezTo>
                    <a:cubicBezTo>
                      <a:pt x="173" y="632"/>
                      <a:pt x="175" y="638"/>
                      <a:pt x="179" y="641"/>
                    </a:cubicBezTo>
                    <a:close/>
                    <a:moveTo>
                      <a:pt x="228" y="570"/>
                    </a:moveTo>
                    <a:cubicBezTo>
                      <a:pt x="233" y="573"/>
                      <a:pt x="240" y="572"/>
                      <a:pt x="243" y="568"/>
                    </a:cubicBezTo>
                    <a:cubicBezTo>
                      <a:pt x="263" y="542"/>
                      <a:pt x="263" y="542"/>
                      <a:pt x="263" y="542"/>
                    </a:cubicBezTo>
                    <a:cubicBezTo>
                      <a:pt x="264" y="542"/>
                      <a:pt x="264" y="542"/>
                      <a:pt x="264" y="542"/>
                    </a:cubicBezTo>
                    <a:cubicBezTo>
                      <a:pt x="267" y="537"/>
                      <a:pt x="266" y="530"/>
                      <a:pt x="261" y="526"/>
                    </a:cubicBezTo>
                    <a:cubicBezTo>
                      <a:pt x="256" y="522"/>
                      <a:pt x="249" y="523"/>
                      <a:pt x="246" y="528"/>
                    </a:cubicBezTo>
                    <a:cubicBezTo>
                      <a:pt x="226" y="554"/>
                      <a:pt x="226" y="554"/>
                      <a:pt x="226" y="554"/>
                    </a:cubicBezTo>
                    <a:cubicBezTo>
                      <a:pt x="222" y="559"/>
                      <a:pt x="223" y="566"/>
                      <a:pt x="228" y="570"/>
                    </a:cubicBezTo>
                    <a:close/>
                    <a:moveTo>
                      <a:pt x="282" y="501"/>
                    </a:moveTo>
                    <a:cubicBezTo>
                      <a:pt x="286" y="506"/>
                      <a:pt x="294" y="505"/>
                      <a:pt x="298" y="501"/>
                    </a:cubicBezTo>
                    <a:cubicBezTo>
                      <a:pt x="320" y="476"/>
                      <a:pt x="320" y="476"/>
                      <a:pt x="320" y="476"/>
                    </a:cubicBezTo>
                    <a:cubicBezTo>
                      <a:pt x="320" y="476"/>
                      <a:pt x="320" y="476"/>
                      <a:pt x="320" y="476"/>
                    </a:cubicBezTo>
                    <a:cubicBezTo>
                      <a:pt x="324" y="471"/>
                      <a:pt x="324" y="464"/>
                      <a:pt x="319" y="459"/>
                    </a:cubicBezTo>
                    <a:cubicBezTo>
                      <a:pt x="314" y="455"/>
                      <a:pt x="306" y="456"/>
                      <a:pt x="302" y="461"/>
                    </a:cubicBezTo>
                    <a:cubicBezTo>
                      <a:pt x="281" y="485"/>
                      <a:pt x="281" y="485"/>
                      <a:pt x="281" y="485"/>
                    </a:cubicBezTo>
                    <a:cubicBezTo>
                      <a:pt x="276" y="490"/>
                      <a:pt x="277" y="497"/>
                      <a:pt x="282" y="501"/>
                    </a:cubicBezTo>
                    <a:close/>
                    <a:moveTo>
                      <a:pt x="340" y="437"/>
                    </a:moveTo>
                    <a:cubicBezTo>
                      <a:pt x="344" y="442"/>
                      <a:pt x="352" y="442"/>
                      <a:pt x="357" y="437"/>
                    </a:cubicBezTo>
                    <a:cubicBezTo>
                      <a:pt x="380" y="414"/>
                      <a:pt x="380" y="414"/>
                      <a:pt x="380" y="414"/>
                    </a:cubicBezTo>
                    <a:cubicBezTo>
                      <a:pt x="380" y="414"/>
                      <a:pt x="380" y="414"/>
                      <a:pt x="380" y="414"/>
                    </a:cubicBezTo>
                    <a:cubicBezTo>
                      <a:pt x="385" y="410"/>
                      <a:pt x="385" y="402"/>
                      <a:pt x="380" y="397"/>
                    </a:cubicBezTo>
                    <a:cubicBezTo>
                      <a:pt x="375" y="393"/>
                      <a:pt x="368" y="393"/>
                      <a:pt x="363" y="397"/>
                    </a:cubicBezTo>
                    <a:cubicBezTo>
                      <a:pt x="340" y="420"/>
                      <a:pt x="340" y="420"/>
                      <a:pt x="340" y="420"/>
                    </a:cubicBezTo>
                    <a:cubicBezTo>
                      <a:pt x="335" y="425"/>
                      <a:pt x="335" y="432"/>
                      <a:pt x="340" y="437"/>
                    </a:cubicBezTo>
                    <a:close/>
                    <a:moveTo>
                      <a:pt x="403" y="377"/>
                    </a:moveTo>
                    <a:cubicBezTo>
                      <a:pt x="407" y="382"/>
                      <a:pt x="415" y="382"/>
                      <a:pt x="420" y="378"/>
                    </a:cubicBezTo>
                    <a:cubicBezTo>
                      <a:pt x="444" y="357"/>
                      <a:pt x="444" y="357"/>
                      <a:pt x="444" y="357"/>
                    </a:cubicBezTo>
                    <a:cubicBezTo>
                      <a:pt x="445" y="357"/>
                      <a:pt x="445" y="357"/>
                      <a:pt x="445" y="357"/>
                    </a:cubicBezTo>
                    <a:cubicBezTo>
                      <a:pt x="450" y="352"/>
                      <a:pt x="450" y="344"/>
                      <a:pt x="446" y="339"/>
                    </a:cubicBezTo>
                    <a:cubicBezTo>
                      <a:pt x="441" y="334"/>
                      <a:pt x="434" y="334"/>
                      <a:pt x="429" y="338"/>
                    </a:cubicBezTo>
                    <a:cubicBezTo>
                      <a:pt x="404" y="360"/>
                      <a:pt x="404" y="360"/>
                      <a:pt x="404" y="360"/>
                    </a:cubicBezTo>
                    <a:cubicBezTo>
                      <a:pt x="399" y="364"/>
                      <a:pt x="398" y="372"/>
                      <a:pt x="403" y="377"/>
                    </a:cubicBezTo>
                    <a:close/>
                    <a:moveTo>
                      <a:pt x="472" y="303"/>
                    </a:moveTo>
                    <a:cubicBezTo>
                      <a:pt x="466" y="308"/>
                      <a:pt x="465" y="315"/>
                      <a:pt x="469" y="321"/>
                    </a:cubicBezTo>
                    <a:cubicBezTo>
                      <a:pt x="473" y="326"/>
                      <a:pt x="481" y="327"/>
                      <a:pt x="486" y="323"/>
                    </a:cubicBezTo>
                    <a:cubicBezTo>
                      <a:pt x="512" y="303"/>
                      <a:pt x="512" y="303"/>
                      <a:pt x="512" y="303"/>
                    </a:cubicBezTo>
                    <a:cubicBezTo>
                      <a:pt x="518" y="299"/>
                      <a:pt x="519" y="292"/>
                      <a:pt x="515" y="286"/>
                    </a:cubicBezTo>
                    <a:cubicBezTo>
                      <a:pt x="511" y="281"/>
                      <a:pt x="503" y="280"/>
                      <a:pt x="498" y="284"/>
                    </a:cubicBezTo>
                    <a:cubicBezTo>
                      <a:pt x="472" y="303"/>
                      <a:pt x="472" y="303"/>
                      <a:pt x="472" y="303"/>
                    </a:cubicBezTo>
                    <a:close/>
                    <a:moveTo>
                      <a:pt x="543" y="252"/>
                    </a:moveTo>
                    <a:cubicBezTo>
                      <a:pt x="538" y="256"/>
                      <a:pt x="536" y="263"/>
                      <a:pt x="540" y="269"/>
                    </a:cubicBezTo>
                    <a:cubicBezTo>
                      <a:pt x="543" y="274"/>
                      <a:pt x="551" y="276"/>
                      <a:pt x="556" y="272"/>
                    </a:cubicBezTo>
                    <a:cubicBezTo>
                      <a:pt x="584" y="254"/>
                      <a:pt x="584" y="254"/>
                      <a:pt x="584" y="254"/>
                    </a:cubicBezTo>
                    <a:cubicBezTo>
                      <a:pt x="589" y="251"/>
                      <a:pt x="591" y="243"/>
                      <a:pt x="587" y="238"/>
                    </a:cubicBezTo>
                    <a:cubicBezTo>
                      <a:pt x="584" y="232"/>
                      <a:pt x="576" y="231"/>
                      <a:pt x="571" y="234"/>
                    </a:cubicBezTo>
                    <a:cubicBezTo>
                      <a:pt x="543" y="252"/>
                      <a:pt x="543" y="252"/>
                      <a:pt x="543" y="252"/>
                    </a:cubicBezTo>
                    <a:close/>
                    <a:moveTo>
                      <a:pt x="618" y="206"/>
                    </a:moveTo>
                    <a:cubicBezTo>
                      <a:pt x="612" y="209"/>
                      <a:pt x="610" y="216"/>
                      <a:pt x="614" y="222"/>
                    </a:cubicBezTo>
                    <a:cubicBezTo>
                      <a:pt x="617" y="228"/>
                      <a:pt x="624" y="230"/>
                      <a:pt x="630" y="226"/>
                    </a:cubicBezTo>
                    <a:cubicBezTo>
                      <a:pt x="658" y="210"/>
                      <a:pt x="658" y="210"/>
                      <a:pt x="658" y="210"/>
                    </a:cubicBezTo>
                    <a:cubicBezTo>
                      <a:pt x="664" y="207"/>
                      <a:pt x="666" y="200"/>
                      <a:pt x="662" y="194"/>
                    </a:cubicBezTo>
                    <a:cubicBezTo>
                      <a:pt x="659" y="189"/>
                      <a:pt x="652" y="187"/>
                      <a:pt x="647" y="190"/>
                    </a:cubicBezTo>
                    <a:cubicBezTo>
                      <a:pt x="618" y="206"/>
                      <a:pt x="618" y="206"/>
                      <a:pt x="618" y="206"/>
                    </a:cubicBezTo>
                    <a:close/>
                    <a:moveTo>
                      <a:pt x="695" y="164"/>
                    </a:moveTo>
                    <a:cubicBezTo>
                      <a:pt x="690" y="167"/>
                      <a:pt x="688" y="174"/>
                      <a:pt x="690" y="180"/>
                    </a:cubicBezTo>
                    <a:cubicBezTo>
                      <a:pt x="693" y="185"/>
                      <a:pt x="700" y="187"/>
                      <a:pt x="705" y="185"/>
                    </a:cubicBezTo>
                    <a:cubicBezTo>
                      <a:pt x="735" y="170"/>
                      <a:pt x="735" y="170"/>
                      <a:pt x="735" y="170"/>
                    </a:cubicBezTo>
                    <a:cubicBezTo>
                      <a:pt x="740" y="167"/>
                      <a:pt x="742" y="161"/>
                      <a:pt x="740" y="155"/>
                    </a:cubicBezTo>
                    <a:cubicBezTo>
                      <a:pt x="737" y="150"/>
                      <a:pt x="731" y="148"/>
                      <a:pt x="725" y="150"/>
                    </a:cubicBezTo>
                    <a:cubicBezTo>
                      <a:pt x="696" y="164"/>
                      <a:pt x="696" y="164"/>
                      <a:pt x="696" y="164"/>
                    </a:cubicBezTo>
                    <a:lnTo>
                      <a:pt x="695" y="164"/>
                    </a:lnTo>
                    <a:close/>
                    <a:moveTo>
                      <a:pt x="775" y="128"/>
                    </a:moveTo>
                    <a:cubicBezTo>
                      <a:pt x="770" y="130"/>
                      <a:pt x="767" y="136"/>
                      <a:pt x="770" y="142"/>
                    </a:cubicBezTo>
                    <a:cubicBezTo>
                      <a:pt x="772" y="147"/>
                      <a:pt x="778" y="150"/>
                      <a:pt x="784" y="147"/>
                    </a:cubicBezTo>
                    <a:cubicBezTo>
                      <a:pt x="814" y="134"/>
                      <a:pt x="814" y="134"/>
                      <a:pt x="814" y="134"/>
                    </a:cubicBezTo>
                    <a:cubicBezTo>
                      <a:pt x="819" y="132"/>
                      <a:pt x="821" y="126"/>
                      <a:pt x="819" y="121"/>
                    </a:cubicBezTo>
                    <a:cubicBezTo>
                      <a:pt x="817" y="116"/>
                      <a:pt x="811" y="113"/>
                      <a:pt x="806" y="115"/>
                    </a:cubicBezTo>
                    <a:cubicBezTo>
                      <a:pt x="775" y="128"/>
                      <a:pt x="775" y="128"/>
                      <a:pt x="775" y="128"/>
                    </a:cubicBezTo>
                    <a:close/>
                    <a:moveTo>
                      <a:pt x="857" y="96"/>
                    </a:moveTo>
                    <a:cubicBezTo>
                      <a:pt x="852" y="98"/>
                      <a:pt x="849" y="103"/>
                      <a:pt x="851" y="108"/>
                    </a:cubicBezTo>
                    <a:cubicBezTo>
                      <a:pt x="853" y="114"/>
                      <a:pt x="859" y="116"/>
                      <a:pt x="864" y="114"/>
                    </a:cubicBezTo>
                    <a:cubicBezTo>
                      <a:pt x="894" y="103"/>
                      <a:pt x="894" y="103"/>
                      <a:pt x="894" y="103"/>
                    </a:cubicBezTo>
                    <a:cubicBezTo>
                      <a:pt x="899" y="101"/>
                      <a:pt x="902" y="96"/>
                      <a:pt x="900" y="91"/>
                    </a:cubicBezTo>
                    <a:cubicBezTo>
                      <a:pt x="898" y="86"/>
                      <a:pt x="893" y="84"/>
                      <a:pt x="888" y="85"/>
                    </a:cubicBezTo>
                    <a:cubicBezTo>
                      <a:pt x="857" y="96"/>
                      <a:pt x="857" y="96"/>
                      <a:pt x="857" y="96"/>
                    </a:cubicBezTo>
                    <a:close/>
                    <a:moveTo>
                      <a:pt x="940" y="69"/>
                    </a:moveTo>
                    <a:cubicBezTo>
                      <a:pt x="936" y="70"/>
                      <a:pt x="933" y="75"/>
                      <a:pt x="935" y="80"/>
                    </a:cubicBezTo>
                    <a:cubicBezTo>
                      <a:pt x="936" y="84"/>
                      <a:pt x="941" y="87"/>
                      <a:pt x="946" y="85"/>
                    </a:cubicBezTo>
                    <a:cubicBezTo>
                      <a:pt x="977" y="75"/>
                      <a:pt x="977" y="75"/>
                      <a:pt x="977" y="75"/>
                    </a:cubicBezTo>
                    <a:cubicBezTo>
                      <a:pt x="981" y="74"/>
                      <a:pt x="983" y="70"/>
                      <a:pt x="982" y="65"/>
                    </a:cubicBezTo>
                    <a:cubicBezTo>
                      <a:pt x="981" y="61"/>
                      <a:pt x="976" y="58"/>
                      <a:pt x="972" y="60"/>
                    </a:cubicBezTo>
                    <a:cubicBezTo>
                      <a:pt x="941" y="69"/>
                      <a:pt x="941" y="69"/>
                      <a:pt x="941" y="69"/>
                    </a:cubicBezTo>
                    <a:lnTo>
                      <a:pt x="940" y="69"/>
                    </a:lnTo>
                    <a:close/>
                    <a:moveTo>
                      <a:pt x="1025" y="46"/>
                    </a:moveTo>
                    <a:cubicBezTo>
                      <a:pt x="1021" y="47"/>
                      <a:pt x="1019" y="51"/>
                      <a:pt x="1020" y="55"/>
                    </a:cubicBezTo>
                    <a:cubicBezTo>
                      <a:pt x="1021" y="59"/>
                      <a:pt x="1025" y="61"/>
                      <a:pt x="1029" y="60"/>
                    </a:cubicBezTo>
                    <a:cubicBezTo>
                      <a:pt x="1060" y="52"/>
                      <a:pt x="1060" y="52"/>
                      <a:pt x="1060" y="52"/>
                    </a:cubicBezTo>
                    <a:cubicBezTo>
                      <a:pt x="1064" y="51"/>
                      <a:pt x="1066" y="47"/>
                      <a:pt x="1065" y="44"/>
                    </a:cubicBezTo>
                    <a:cubicBezTo>
                      <a:pt x="1064" y="40"/>
                      <a:pt x="1061" y="38"/>
                      <a:pt x="1057" y="39"/>
                    </a:cubicBezTo>
                    <a:cubicBezTo>
                      <a:pt x="1025" y="46"/>
                      <a:pt x="1025" y="46"/>
                      <a:pt x="1025" y="46"/>
                    </a:cubicBezTo>
                    <a:close/>
                    <a:moveTo>
                      <a:pt x="1111" y="28"/>
                    </a:moveTo>
                    <a:cubicBezTo>
                      <a:pt x="1108" y="28"/>
                      <a:pt x="1106" y="31"/>
                      <a:pt x="1106" y="34"/>
                    </a:cubicBezTo>
                    <a:cubicBezTo>
                      <a:pt x="1107" y="37"/>
                      <a:pt x="1110" y="39"/>
                      <a:pt x="1113" y="39"/>
                    </a:cubicBezTo>
                    <a:cubicBezTo>
                      <a:pt x="1145" y="31"/>
                      <a:pt x="1145" y="31"/>
                      <a:pt x="1145" y="31"/>
                    </a:cubicBezTo>
                    <a:cubicBezTo>
                      <a:pt x="1148" y="31"/>
                      <a:pt x="1149" y="28"/>
                      <a:pt x="1149" y="26"/>
                    </a:cubicBezTo>
                    <a:cubicBezTo>
                      <a:pt x="1148" y="23"/>
                      <a:pt x="1146" y="21"/>
                      <a:pt x="1143" y="22"/>
                    </a:cubicBezTo>
                    <a:cubicBezTo>
                      <a:pt x="1111" y="27"/>
                      <a:pt x="1111" y="27"/>
                      <a:pt x="1111" y="27"/>
                    </a:cubicBezTo>
                    <a:lnTo>
                      <a:pt x="1111" y="28"/>
                    </a:lnTo>
                    <a:close/>
                    <a:moveTo>
                      <a:pt x="1197" y="13"/>
                    </a:moveTo>
                    <a:cubicBezTo>
                      <a:pt x="1195" y="13"/>
                      <a:pt x="1194" y="15"/>
                      <a:pt x="1194" y="17"/>
                    </a:cubicBezTo>
                    <a:cubicBezTo>
                      <a:pt x="1194" y="19"/>
                      <a:pt x="1196" y="21"/>
                      <a:pt x="1198" y="20"/>
                    </a:cubicBezTo>
                    <a:cubicBezTo>
                      <a:pt x="1230" y="14"/>
                      <a:pt x="1230" y="14"/>
                      <a:pt x="1230" y="14"/>
                    </a:cubicBezTo>
                    <a:cubicBezTo>
                      <a:pt x="1232" y="14"/>
                      <a:pt x="1233" y="13"/>
                      <a:pt x="1233" y="11"/>
                    </a:cubicBezTo>
                    <a:cubicBezTo>
                      <a:pt x="1233" y="10"/>
                      <a:pt x="1231" y="8"/>
                      <a:pt x="1230" y="9"/>
                    </a:cubicBezTo>
                    <a:cubicBezTo>
                      <a:pt x="1197" y="13"/>
                      <a:pt x="1197" y="13"/>
                      <a:pt x="1197" y="13"/>
                    </a:cubicBezTo>
                    <a:close/>
                    <a:moveTo>
                      <a:pt x="1284" y="3"/>
                    </a:moveTo>
                    <a:cubicBezTo>
                      <a:pt x="1283" y="3"/>
                      <a:pt x="1283" y="3"/>
                      <a:pt x="1283" y="4"/>
                    </a:cubicBezTo>
                    <a:cubicBezTo>
                      <a:pt x="1283" y="5"/>
                      <a:pt x="1283" y="5"/>
                      <a:pt x="1284" y="5"/>
                    </a:cubicBezTo>
                    <a:cubicBezTo>
                      <a:pt x="1317" y="0"/>
                      <a:pt x="1317" y="0"/>
                      <a:pt x="1317" y="0"/>
                    </a:cubicBezTo>
                    <a:cubicBezTo>
                      <a:pt x="1317" y="0"/>
                      <a:pt x="1317" y="0"/>
                      <a:pt x="1317" y="0"/>
                    </a:cubicBezTo>
                    <a:cubicBezTo>
                      <a:pt x="1316" y="0"/>
                      <a:pt x="1316" y="0"/>
                      <a:pt x="1316" y="0"/>
                    </a:cubicBezTo>
                    <a:cubicBezTo>
                      <a:pt x="1284" y="3"/>
                      <a:pt x="1284" y="3"/>
                      <a:pt x="1284" y="3"/>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marL="0" marR="0" lvl="0" indent="0" algn="l" defTabSz="914348"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a:ln>
                    <a:noFill/>
                  </a:ln>
                  <a:solidFill>
                    <a:prstClr val="black"/>
                  </a:solidFill>
                  <a:effectLst/>
                  <a:uLnTx/>
                  <a:uFillTx/>
                  <a:latin typeface="Calibri" panose="020F0502020204030204"/>
                  <a:ea typeface="Heiti SC Light" charset="-122"/>
                  <a:cs typeface="+mn-cs"/>
                  <a:sym typeface="Gill Sans" charset="0"/>
                </a:endParaRPr>
              </a:p>
            </p:txBody>
          </p:sp>
          <p:sp>
            <p:nvSpPr>
              <p:cNvPr id="82" name="Freeform 623"/>
              <p:cNvSpPr>
                <a:spLocks noEditPoints="1"/>
              </p:cNvSpPr>
              <p:nvPr/>
            </p:nvSpPr>
            <p:spPr bwMode="auto">
              <a:xfrm>
                <a:off x="834288" y="5382764"/>
                <a:ext cx="3556615" cy="1027182"/>
              </a:xfrm>
              <a:custGeom>
                <a:avLst/>
                <a:gdLst>
                  <a:gd name="T0" fmla="*/ 1288 w 1289"/>
                  <a:gd name="T1" fmla="*/ 194 h 372"/>
                  <a:gd name="T2" fmla="*/ 1285 w 1289"/>
                  <a:gd name="T3" fmla="*/ 210 h 372"/>
                  <a:gd name="T4" fmla="*/ 1282 w 1289"/>
                  <a:gd name="T5" fmla="*/ 217 h 372"/>
                  <a:gd name="T6" fmla="*/ 1217 w 1289"/>
                  <a:gd name="T7" fmla="*/ 275 h 372"/>
                  <a:gd name="T8" fmla="*/ 999 w 1289"/>
                  <a:gd name="T9" fmla="*/ 323 h 372"/>
                  <a:gd name="T10" fmla="*/ 954 w 1289"/>
                  <a:gd name="T11" fmla="*/ 328 h 372"/>
                  <a:gd name="T12" fmla="*/ 918 w 1289"/>
                  <a:gd name="T13" fmla="*/ 332 h 372"/>
                  <a:gd name="T14" fmla="*/ 906 w 1289"/>
                  <a:gd name="T15" fmla="*/ 335 h 372"/>
                  <a:gd name="T16" fmla="*/ 833 w 1289"/>
                  <a:gd name="T17" fmla="*/ 357 h 372"/>
                  <a:gd name="T18" fmla="*/ 753 w 1289"/>
                  <a:gd name="T19" fmla="*/ 361 h 372"/>
                  <a:gd name="T20" fmla="*/ 739 w 1289"/>
                  <a:gd name="T21" fmla="*/ 363 h 372"/>
                  <a:gd name="T22" fmla="*/ 697 w 1289"/>
                  <a:gd name="T23" fmla="*/ 370 h 372"/>
                  <a:gd name="T24" fmla="*/ 581 w 1289"/>
                  <a:gd name="T25" fmla="*/ 371 h 372"/>
                  <a:gd name="T26" fmla="*/ 336 w 1289"/>
                  <a:gd name="T27" fmla="*/ 349 h 372"/>
                  <a:gd name="T28" fmla="*/ 87 w 1289"/>
                  <a:gd name="T29" fmla="*/ 279 h 372"/>
                  <a:gd name="T30" fmla="*/ 10 w 1289"/>
                  <a:gd name="T31" fmla="*/ 219 h 372"/>
                  <a:gd name="T32" fmla="*/ 9 w 1289"/>
                  <a:gd name="T33" fmla="*/ 155 h 372"/>
                  <a:gd name="T34" fmla="*/ 19 w 1289"/>
                  <a:gd name="T35" fmla="*/ 142 h 372"/>
                  <a:gd name="T36" fmla="*/ 85 w 1289"/>
                  <a:gd name="T37" fmla="*/ 94 h 372"/>
                  <a:gd name="T38" fmla="*/ 334 w 1289"/>
                  <a:gd name="T39" fmla="*/ 24 h 372"/>
                  <a:gd name="T40" fmla="*/ 695 w 1289"/>
                  <a:gd name="T41" fmla="*/ 2 h 372"/>
                  <a:gd name="T42" fmla="*/ 1083 w 1289"/>
                  <a:gd name="T43" fmla="*/ 51 h 372"/>
                  <a:gd name="T44" fmla="*/ 1255 w 1289"/>
                  <a:gd name="T45" fmla="*/ 128 h 372"/>
                  <a:gd name="T46" fmla="*/ 1288 w 1289"/>
                  <a:gd name="T47" fmla="*/ 178 h 372"/>
                  <a:gd name="T48" fmla="*/ 1289 w 1289"/>
                  <a:gd name="T49" fmla="*/ 184 h 372"/>
                  <a:gd name="T50" fmla="*/ 1288 w 1289"/>
                  <a:gd name="T51" fmla="*/ 186 h 372"/>
                  <a:gd name="T52" fmla="*/ 1288 w 1289"/>
                  <a:gd name="T53" fmla="*/ 182 h 372"/>
                  <a:gd name="T54" fmla="*/ 1280 w 1289"/>
                  <a:gd name="T55" fmla="*/ 156 h 372"/>
                  <a:gd name="T56" fmla="*/ 1213 w 1289"/>
                  <a:gd name="T57" fmla="*/ 100 h 372"/>
                  <a:gd name="T58" fmla="*/ 907 w 1289"/>
                  <a:gd name="T59" fmla="*/ 18 h 372"/>
                  <a:gd name="T60" fmla="*/ 458 w 1289"/>
                  <a:gd name="T61" fmla="*/ 11 h 372"/>
                  <a:gd name="T62" fmla="*/ 208 w 1289"/>
                  <a:gd name="T63" fmla="*/ 52 h 372"/>
                  <a:gd name="T64" fmla="*/ 32 w 1289"/>
                  <a:gd name="T65" fmla="*/ 132 h 372"/>
                  <a:gd name="T66" fmla="*/ 15 w 1289"/>
                  <a:gd name="T67" fmla="*/ 150 h 372"/>
                  <a:gd name="T68" fmla="*/ 3 w 1289"/>
                  <a:gd name="T69" fmla="*/ 187 h 372"/>
                  <a:gd name="T70" fmla="*/ 33 w 1289"/>
                  <a:gd name="T71" fmla="*/ 242 h 372"/>
                  <a:gd name="T72" fmla="*/ 211 w 1289"/>
                  <a:gd name="T73" fmla="*/ 321 h 372"/>
                  <a:gd name="T74" fmla="*/ 461 w 1289"/>
                  <a:gd name="T75" fmla="*/ 361 h 372"/>
                  <a:gd name="T76" fmla="*/ 640 w 1289"/>
                  <a:gd name="T77" fmla="*/ 369 h 372"/>
                  <a:gd name="T78" fmla="*/ 725 w 1289"/>
                  <a:gd name="T79" fmla="*/ 364 h 372"/>
                  <a:gd name="T80" fmla="*/ 745 w 1289"/>
                  <a:gd name="T81" fmla="*/ 360 h 372"/>
                  <a:gd name="T82" fmla="*/ 806 w 1289"/>
                  <a:gd name="T83" fmla="*/ 357 h 372"/>
                  <a:gd name="T84" fmla="*/ 857 w 1289"/>
                  <a:gd name="T85" fmla="*/ 348 h 372"/>
                  <a:gd name="T86" fmla="*/ 912 w 1289"/>
                  <a:gd name="T87" fmla="*/ 332 h 372"/>
                  <a:gd name="T88" fmla="*/ 930 w 1289"/>
                  <a:gd name="T89" fmla="*/ 329 h 372"/>
                  <a:gd name="T90" fmla="*/ 977 w 1289"/>
                  <a:gd name="T91" fmla="*/ 324 h 372"/>
                  <a:gd name="T92" fmla="*/ 1084 w 1289"/>
                  <a:gd name="T93" fmla="*/ 313 h 372"/>
                  <a:gd name="T94" fmla="*/ 1259 w 1289"/>
                  <a:gd name="T95" fmla="*/ 246 h 372"/>
                  <a:gd name="T96" fmla="*/ 1283 w 1289"/>
                  <a:gd name="T97" fmla="*/ 213 h 372"/>
                  <a:gd name="T98" fmla="*/ 1286 w 1289"/>
                  <a:gd name="T99" fmla="*/ 204 h 372"/>
                  <a:gd name="T100" fmla="*/ 1288 w 1289"/>
                  <a:gd name="T101" fmla="*/ 18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9" h="372">
                    <a:moveTo>
                      <a:pt x="1289" y="186"/>
                    </a:moveTo>
                    <a:cubicBezTo>
                      <a:pt x="1289" y="186"/>
                      <a:pt x="1288" y="189"/>
                      <a:pt x="1288" y="194"/>
                    </a:cubicBezTo>
                    <a:cubicBezTo>
                      <a:pt x="1288" y="197"/>
                      <a:pt x="1287" y="200"/>
                      <a:pt x="1286" y="204"/>
                    </a:cubicBezTo>
                    <a:cubicBezTo>
                      <a:pt x="1286" y="206"/>
                      <a:pt x="1285" y="208"/>
                      <a:pt x="1285" y="210"/>
                    </a:cubicBezTo>
                    <a:cubicBezTo>
                      <a:pt x="1284" y="211"/>
                      <a:pt x="1284" y="212"/>
                      <a:pt x="1283" y="213"/>
                    </a:cubicBezTo>
                    <a:cubicBezTo>
                      <a:pt x="1283" y="214"/>
                      <a:pt x="1282" y="216"/>
                      <a:pt x="1282" y="217"/>
                    </a:cubicBezTo>
                    <a:cubicBezTo>
                      <a:pt x="1278" y="226"/>
                      <a:pt x="1270" y="237"/>
                      <a:pt x="1259" y="247"/>
                    </a:cubicBezTo>
                    <a:cubicBezTo>
                      <a:pt x="1248" y="257"/>
                      <a:pt x="1234" y="267"/>
                      <a:pt x="1217" y="275"/>
                    </a:cubicBezTo>
                    <a:cubicBezTo>
                      <a:pt x="1182" y="292"/>
                      <a:pt x="1137" y="306"/>
                      <a:pt x="1084" y="314"/>
                    </a:cubicBezTo>
                    <a:cubicBezTo>
                      <a:pt x="1058" y="319"/>
                      <a:pt x="1029" y="320"/>
                      <a:pt x="999" y="323"/>
                    </a:cubicBezTo>
                    <a:cubicBezTo>
                      <a:pt x="992" y="324"/>
                      <a:pt x="984" y="324"/>
                      <a:pt x="977" y="325"/>
                    </a:cubicBezTo>
                    <a:cubicBezTo>
                      <a:pt x="969" y="326"/>
                      <a:pt x="961" y="327"/>
                      <a:pt x="954" y="328"/>
                    </a:cubicBezTo>
                    <a:cubicBezTo>
                      <a:pt x="946" y="329"/>
                      <a:pt x="938" y="330"/>
                      <a:pt x="930" y="331"/>
                    </a:cubicBezTo>
                    <a:cubicBezTo>
                      <a:pt x="926" y="331"/>
                      <a:pt x="922" y="332"/>
                      <a:pt x="918" y="332"/>
                    </a:cubicBezTo>
                    <a:cubicBezTo>
                      <a:pt x="916" y="333"/>
                      <a:pt x="914" y="333"/>
                      <a:pt x="912" y="334"/>
                    </a:cubicBezTo>
                    <a:cubicBezTo>
                      <a:pt x="910" y="334"/>
                      <a:pt x="908" y="335"/>
                      <a:pt x="906" y="335"/>
                    </a:cubicBezTo>
                    <a:cubicBezTo>
                      <a:pt x="890" y="339"/>
                      <a:pt x="874" y="345"/>
                      <a:pt x="858" y="350"/>
                    </a:cubicBezTo>
                    <a:cubicBezTo>
                      <a:pt x="850" y="353"/>
                      <a:pt x="841" y="355"/>
                      <a:pt x="833" y="357"/>
                    </a:cubicBezTo>
                    <a:cubicBezTo>
                      <a:pt x="824" y="358"/>
                      <a:pt x="815" y="359"/>
                      <a:pt x="806" y="359"/>
                    </a:cubicBezTo>
                    <a:cubicBezTo>
                      <a:pt x="789" y="360"/>
                      <a:pt x="771" y="359"/>
                      <a:pt x="753" y="361"/>
                    </a:cubicBezTo>
                    <a:cubicBezTo>
                      <a:pt x="750" y="361"/>
                      <a:pt x="748" y="362"/>
                      <a:pt x="746" y="362"/>
                    </a:cubicBezTo>
                    <a:cubicBezTo>
                      <a:pt x="743" y="363"/>
                      <a:pt x="741" y="363"/>
                      <a:pt x="739" y="363"/>
                    </a:cubicBezTo>
                    <a:cubicBezTo>
                      <a:pt x="734" y="364"/>
                      <a:pt x="730" y="365"/>
                      <a:pt x="725" y="366"/>
                    </a:cubicBezTo>
                    <a:cubicBezTo>
                      <a:pt x="716" y="368"/>
                      <a:pt x="707" y="369"/>
                      <a:pt x="697" y="370"/>
                    </a:cubicBezTo>
                    <a:cubicBezTo>
                      <a:pt x="679" y="372"/>
                      <a:pt x="659" y="372"/>
                      <a:pt x="640" y="372"/>
                    </a:cubicBezTo>
                    <a:cubicBezTo>
                      <a:pt x="621" y="372"/>
                      <a:pt x="601" y="371"/>
                      <a:pt x="581" y="371"/>
                    </a:cubicBezTo>
                    <a:cubicBezTo>
                      <a:pt x="542" y="370"/>
                      <a:pt x="501" y="367"/>
                      <a:pt x="460" y="364"/>
                    </a:cubicBezTo>
                    <a:cubicBezTo>
                      <a:pt x="419" y="360"/>
                      <a:pt x="378" y="355"/>
                      <a:pt x="336" y="349"/>
                    </a:cubicBezTo>
                    <a:cubicBezTo>
                      <a:pt x="294" y="342"/>
                      <a:pt x="252" y="334"/>
                      <a:pt x="210" y="323"/>
                    </a:cubicBezTo>
                    <a:cubicBezTo>
                      <a:pt x="168" y="312"/>
                      <a:pt x="127" y="299"/>
                      <a:pt x="87" y="279"/>
                    </a:cubicBezTo>
                    <a:cubicBezTo>
                      <a:pt x="68" y="270"/>
                      <a:pt x="49" y="258"/>
                      <a:pt x="32" y="244"/>
                    </a:cubicBezTo>
                    <a:cubicBezTo>
                      <a:pt x="24" y="237"/>
                      <a:pt x="16" y="228"/>
                      <a:pt x="10" y="219"/>
                    </a:cubicBezTo>
                    <a:cubicBezTo>
                      <a:pt x="5" y="209"/>
                      <a:pt x="0" y="199"/>
                      <a:pt x="0" y="187"/>
                    </a:cubicBezTo>
                    <a:cubicBezTo>
                      <a:pt x="0" y="176"/>
                      <a:pt x="3" y="165"/>
                      <a:pt x="9" y="155"/>
                    </a:cubicBezTo>
                    <a:cubicBezTo>
                      <a:pt x="10" y="153"/>
                      <a:pt x="12" y="151"/>
                      <a:pt x="14" y="148"/>
                    </a:cubicBezTo>
                    <a:cubicBezTo>
                      <a:pt x="15" y="146"/>
                      <a:pt x="17" y="144"/>
                      <a:pt x="19" y="142"/>
                    </a:cubicBezTo>
                    <a:cubicBezTo>
                      <a:pt x="22" y="138"/>
                      <a:pt x="26" y="134"/>
                      <a:pt x="30" y="130"/>
                    </a:cubicBezTo>
                    <a:cubicBezTo>
                      <a:pt x="47" y="115"/>
                      <a:pt x="66" y="104"/>
                      <a:pt x="85" y="94"/>
                    </a:cubicBezTo>
                    <a:cubicBezTo>
                      <a:pt x="125" y="75"/>
                      <a:pt x="166" y="61"/>
                      <a:pt x="208" y="50"/>
                    </a:cubicBezTo>
                    <a:cubicBezTo>
                      <a:pt x="250" y="39"/>
                      <a:pt x="292" y="31"/>
                      <a:pt x="334" y="24"/>
                    </a:cubicBezTo>
                    <a:cubicBezTo>
                      <a:pt x="376" y="18"/>
                      <a:pt x="417" y="13"/>
                      <a:pt x="458" y="9"/>
                    </a:cubicBezTo>
                    <a:cubicBezTo>
                      <a:pt x="540" y="2"/>
                      <a:pt x="620" y="0"/>
                      <a:pt x="695" y="2"/>
                    </a:cubicBezTo>
                    <a:cubicBezTo>
                      <a:pt x="770" y="4"/>
                      <a:pt x="842" y="9"/>
                      <a:pt x="907" y="18"/>
                    </a:cubicBezTo>
                    <a:cubicBezTo>
                      <a:pt x="972" y="26"/>
                      <a:pt x="1032" y="37"/>
                      <a:pt x="1083" y="51"/>
                    </a:cubicBezTo>
                    <a:cubicBezTo>
                      <a:pt x="1135" y="65"/>
                      <a:pt x="1179" y="81"/>
                      <a:pt x="1213" y="99"/>
                    </a:cubicBezTo>
                    <a:cubicBezTo>
                      <a:pt x="1230" y="108"/>
                      <a:pt x="1244" y="118"/>
                      <a:pt x="1255" y="128"/>
                    </a:cubicBezTo>
                    <a:cubicBezTo>
                      <a:pt x="1267" y="137"/>
                      <a:pt x="1275" y="147"/>
                      <a:pt x="1280" y="156"/>
                    </a:cubicBezTo>
                    <a:cubicBezTo>
                      <a:pt x="1285" y="165"/>
                      <a:pt x="1287" y="173"/>
                      <a:pt x="1288" y="178"/>
                    </a:cubicBezTo>
                    <a:cubicBezTo>
                      <a:pt x="1288" y="179"/>
                      <a:pt x="1288" y="181"/>
                      <a:pt x="1288" y="182"/>
                    </a:cubicBezTo>
                    <a:cubicBezTo>
                      <a:pt x="1288" y="183"/>
                      <a:pt x="1289" y="183"/>
                      <a:pt x="1289" y="184"/>
                    </a:cubicBezTo>
                    <a:cubicBezTo>
                      <a:pt x="1289" y="185"/>
                      <a:pt x="1289" y="186"/>
                      <a:pt x="1289" y="186"/>
                    </a:cubicBezTo>
                    <a:close/>
                    <a:moveTo>
                      <a:pt x="1288" y="186"/>
                    </a:moveTo>
                    <a:cubicBezTo>
                      <a:pt x="1288" y="186"/>
                      <a:pt x="1288" y="185"/>
                      <a:pt x="1288" y="184"/>
                    </a:cubicBezTo>
                    <a:cubicBezTo>
                      <a:pt x="1288" y="183"/>
                      <a:pt x="1288" y="183"/>
                      <a:pt x="1288" y="182"/>
                    </a:cubicBezTo>
                    <a:cubicBezTo>
                      <a:pt x="1288" y="181"/>
                      <a:pt x="1288" y="179"/>
                      <a:pt x="1288" y="178"/>
                    </a:cubicBezTo>
                    <a:cubicBezTo>
                      <a:pt x="1287" y="173"/>
                      <a:pt x="1285" y="165"/>
                      <a:pt x="1280" y="156"/>
                    </a:cubicBezTo>
                    <a:cubicBezTo>
                      <a:pt x="1275" y="147"/>
                      <a:pt x="1267" y="137"/>
                      <a:pt x="1255" y="128"/>
                    </a:cubicBezTo>
                    <a:cubicBezTo>
                      <a:pt x="1244" y="118"/>
                      <a:pt x="1230" y="109"/>
                      <a:pt x="1213" y="100"/>
                    </a:cubicBezTo>
                    <a:cubicBezTo>
                      <a:pt x="1179" y="82"/>
                      <a:pt x="1135" y="65"/>
                      <a:pt x="1083" y="52"/>
                    </a:cubicBezTo>
                    <a:cubicBezTo>
                      <a:pt x="1031" y="38"/>
                      <a:pt x="972" y="27"/>
                      <a:pt x="907" y="18"/>
                    </a:cubicBezTo>
                    <a:cubicBezTo>
                      <a:pt x="842" y="10"/>
                      <a:pt x="770" y="5"/>
                      <a:pt x="695" y="3"/>
                    </a:cubicBezTo>
                    <a:cubicBezTo>
                      <a:pt x="620" y="2"/>
                      <a:pt x="540" y="4"/>
                      <a:pt x="458" y="11"/>
                    </a:cubicBezTo>
                    <a:cubicBezTo>
                      <a:pt x="417" y="14"/>
                      <a:pt x="376" y="19"/>
                      <a:pt x="334" y="26"/>
                    </a:cubicBezTo>
                    <a:cubicBezTo>
                      <a:pt x="292" y="32"/>
                      <a:pt x="250" y="41"/>
                      <a:pt x="208" y="52"/>
                    </a:cubicBezTo>
                    <a:cubicBezTo>
                      <a:pt x="167" y="63"/>
                      <a:pt x="125" y="77"/>
                      <a:pt x="86" y="96"/>
                    </a:cubicBezTo>
                    <a:cubicBezTo>
                      <a:pt x="67" y="106"/>
                      <a:pt x="48" y="117"/>
                      <a:pt x="32" y="132"/>
                    </a:cubicBezTo>
                    <a:cubicBezTo>
                      <a:pt x="28" y="135"/>
                      <a:pt x="24" y="139"/>
                      <a:pt x="20" y="143"/>
                    </a:cubicBezTo>
                    <a:cubicBezTo>
                      <a:pt x="19" y="145"/>
                      <a:pt x="17" y="148"/>
                      <a:pt x="15" y="150"/>
                    </a:cubicBezTo>
                    <a:cubicBezTo>
                      <a:pt x="14" y="152"/>
                      <a:pt x="12" y="154"/>
                      <a:pt x="11" y="157"/>
                    </a:cubicBezTo>
                    <a:cubicBezTo>
                      <a:pt x="5" y="166"/>
                      <a:pt x="2" y="176"/>
                      <a:pt x="3" y="187"/>
                    </a:cubicBezTo>
                    <a:cubicBezTo>
                      <a:pt x="3" y="198"/>
                      <a:pt x="7" y="209"/>
                      <a:pt x="12" y="218"/>
                    </a:cubicBezTo>
                    <a:cubicBezTo>
                      <a:pt x="18" y="227"/>
                      <a:pt x="25" y="235"/>
                      <a:pt x="33" y="242"/>
                    </a:cubicBezTo>
                    <a:cubicBezTo>
                      <a:pt x="50" y="257"/>
                      <a:pt x="69" y="268"/>
                      <a:pt x="88" y="277"/>
                    </a:cubicBezTo>
                    <a:cubicBezTo>
                      <a:pt x="128" y="296"/>
                      <a:pt x="169" y="310"/>
                      <a:pt x="211" y="321"/>
                    </a:cubicBezTo>
                    <a:cubicBezTo>
                      <a:pt x="253" y="332"/>
                      <a:pt x="295" y="340"/>
                      <a:pt x="336" y="346"/>
                    </a:cubicBezTo>
                    <a:cubicBezTo>
                      <a:pt x="378" y="353"/>
                      <a:pt x="420" y="358"/>
                      <a:pt x="461" y="361"/>
                    </a:cubicBezTo>
                    <a:cubicBezTo>
                      <a:pt x="502" y="365"/>
                      <a:pt x="542" y="367"/>
                      <a:pt x="581" y="368"/>
                    </a:cubicBezTo>
                    <a:cubicBezTo>
                      <a:pt x="601" y="369"/>
                      <a:pt x="621" y="369"/>
                      <a:pt x="640" y="369"/>
                    </a:cubicBezTo>
                    <a:cubicBezTo>
                      <a:pt x="659" y="369"/>
                      <a:pt x="679" y="369"/>
                      <a:pt x="697" y="368"/>
                    </a:cubicBezTo>
                    <a:cubicBezTo>
                      <a:pt x="707" y="367"/>
                      <a:pt x="716" y="366"/>
                      <a:pt x="725" y="364"/>
                    </a:cubicBezTo>
                    <a:cubicBezTo>
                      <a:pt x="729" y="363"/>
                      <a:pt x="734" y="362"/>
                      <a:pt x="739" y="361"/>
                    </a:cubicBezTo>
                    <a:cubicBezTo>
                      <a:pt x="741" y="360"/>
                      <a:pt x="743" y="360"/>
                      <a:pt x="745" y="360"/>
                    </a:cubicBezTo>
                    <a:cubicBezTo>
                      <a:pt x="748" y="360"/>
                      <a:pt x="750" y="359"/>
                      <a:pt x="752" y="359"/>
                    </a:cubicBezTo>
                    <a:cubicBezTo>
                      <a:pt x="771" y="357"/>
                      <a:pt x="789" y="358"/>
                      <a:pt x="806" y="357"/>
                    </a:cubicBezTo>
                    <a:cubicBezTo>
                      <a:pt x="815" y="357"/>
                      <a:pt x="824" y="356"/>
                      <a:pt x="832" y="355"/>
                    </a:cubicBezTo>
                    <a:cubicBezTo>
                      <a:pt x="841" y="353"/>
                      <a:pt x="849" y="351"/>
                      <a:pt x="857" y="348"/>
                    </a:cubicBezTo>
                    <a:cubicBezTo>
                      <a:pt x="874" y="343"/>
                      <a:pt x="889" y="337"/>
                      <a:pt x="906" y="333"/>
                    </a:cubicBezTo>
                    <a:cubicBezTo>
                      <a:pt x="908" y="333"/>
                      <a:pt x="910" y="332"/>
                      <a:pt x="912" y="332"/>
                    </a:cubicBezTo>
                    <a:cubicBezTo>
                      <a:pt x="914" y="332"/>
                      <a:pt x="916" y="331"/>
                      <a:pt x="918" y="331"/>
                    </a:cubicBezTo>
                    <a:cubicBezTo>
                      <a:pt x="922" y="330"/>
                      <a:pt x="926" y="330"/>
                      <a:pt x="930" y="329"/>
                    </a:cubicBezTo>
                    <a:cubicBezTo>
                      <a:pt x="938" y="328"/>
                      <a:pt x="946" y="327"/>
                      <a:pt x="953" y="326"/>
                    </a:cubicBezTo>
                    <a:cubicBezTo>
                      <a:pt x="961" y="326"/>
                      <a:pt x="969" y="325"/>
                      <a:pt x="977" y="324"/>
                    </a:cubicBezTo>
                    <a:cubicBezTo>
                      <a:pt x="984" y="323"/>
                      <a:pt x="992" y="322"/>
                      <a:pt x="999" y="322"/>
                    </a:cubicBezTo>
                    <a:cubicBezTo>
                      <a:pt x="1029" y="319"/>
                      <a:pt x="1058" y="317"/>
                      <a:pt x="1084" y="313"/>
                    </a:cubicBezTo>
                    <a:cubicBezTo>
                      <a:pt x="1137" y="305"/>
                      <a:pt x="1182" y="292"/>
                      <a:pt x="1216" y="275"/>
                    </a:cubicBezTo>
                    <a:cubicBezTo>
                      <a:pt x="1233" y="266"/>
                      <a:pt x="1248" y="256"/>
                      <a:pt x="1259" y="246"/>
                    </a:cubicBezTo>
                    <a:cubicBezTo>
                      <a:pt x="1270" y="236"/>
                      <a:pt x="1277" y="226"/>
                      <a:pt x="1281" y="217"/>
                    </a:cubicBezTo>
                    <a:cubicBezTo>
                      <a:pt x="1282" y="215"/>
                      <a:pt x="1283" y="214"/>
                      <a:pt x="1283" y="213"/>
                    </a:cubicBezTo>
                    <a:cubicBezTo>
                      <a:pt x="1284" y="212"/>
                      <a:pt x="1284" y="211"/>
                      <a:pt x="1284" y="210"/>
                    </a:cubicBezTo>
                    <a:cubicBezTo>
                      <a:pt x="1285" y="208"/>
                      <a:pt x="1286" y="206"/>
                      <a:pt x="1286" y="204"/>
                    </a:cubicBezTo>
                    <a:cubicBezTo>
                      <a:pt x="1287" y="200"/>
                      <a:pt x="1288" y="197"/>
                      <a:pt x="1288" y="194"/>
                    </a:cubicBezTo>
                    <a:cubicBezTo>
                      <a:pt x="1288" y="189"/>
                      <a:pt x="1288" y="186"/>
                      <a:pt x="1288" y="186"/>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marL="0" marR="0" lvl="0" indent="0" algn="l" defTabSz="914348"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a:ln>
                    <a:noFill/>
                  </a:ln>
                  <a:solidFill>
                    <a:prstClr val="black"/>
                  </a:solidFill>
                  <a:effectLst/>
                  <a:uLnTx/>
                  <a:uFillTx/>
                  <a:latin typeface="Calibri" panose="020F0502020204030204"/>
                  <a:ea typeface="Heiti SC Light" charset="-122"/>
                  <a:cs typeface="+mn-cs"/>
                  <a:sym typeface="Gill Sans" charset="0"/>
                </a:endParaRPr>
              </a:p>
            </p:txBody>
          </p:sp>
          <p:sp>
            <p:nvSpPr>
              <p:cNvPr id="83" name="Freeform 691"/>
              <p:cNvSpPr>
                <a:spLocks noEditPoints="1"/>
              </p:cNvSpPr>
              <p:nvPr/>
            </p:nvSpPr>
            <p:spPr bwMode="auto">
              <a:xfrm>
                <a:off x="-608435" y="6786968"/>
                <a:ext cx="1313158" cy="151742"/>
              </a:xfrm>
              <a:custGeom>
                <a:avLst/>
                <a:gdLst>
                  <a:gd name="T0" fmla="*/ 239 w 476"/>
                  <a:gd name="T1" fmla="*/ 22 h 55"/>
                  <a:gd name="T2" fmla="*/ 206 w 476"/>
                  <a:gd name="T3" fmla="*/ 27 h 55"/>
                  <a:gd name="T4" fmla="*/ 183 w 476"/>
                  <a:gd name="T5" fmla="*/ 9 h 55"/>
                  <a:gd name="T6" fmla="*/ 216 w 476"/>
                  <a:gd name="T7" fmla="*/ 4 h 55"/>
                  <a:gd name="T8" fmla="*/ 239 w 476"/>
                  <a:gd name="T9" fmla="*/ 22 h 55"/>
                  <a:gd name="T10" fmla="*/ 284 w 476"/>
                  <a:gd name="T11" fmla="*/ 9 h 55"/>
                  <a:gd name="T12" fmla="*/ 255 w 476"/>
                  <a:gd name="T13" fmla="*/ 14 h 55"/>
                  <a:gd name="T14" fmla="*/ 275 w 476"/>
                  <a:gd name="T15" fmla="*/ 30 h 55"/>
                  <a:gd name="T16" fmla="*/ 305 w 476"/>
                  <a:gd name="T17" fmla="*/ 25 h 55"/>
                  <a:gd name="T18" fmla="*/ 284 w 476"/>
                  <a:gd name="T19" fmla="*/ 9 h 55"/>
                  <a:gd name="T20" fmla="*/ 144 w 476"/>
                  <a:gd name="T21" fmla="*/ 3 h 55"/>
                  <a:gd name="T22" fmla="*/ 115 w 476"/>
                  <a:gd name="T23" fmla="*/ 10 h 55"/>
                  <a:gd name="T24" fmla="*/ 137 w 476"/>
                  <a:gd name="T25" fmla="*/ 24 h 55"/>
                  <a:gd name="T26" fmla="*/ 166 w 476"/>
                  <a:gd name="T27" fmla="*/ 18 h 55"/>
                  <a:gd name="T28" fmla="*/ 144 w 476"/>
                  <a:gd name="T29" fmla="*/ 3 h 55"/>
                  <a:gd name="T30" fmla="*/ 348 w 476"/>
                  <a:gd name="T31" fmla="*/ 17 h 55"/>
                  <a:gd name="T32" fmla="*/ 321 w 476"/>
                  <a:gd name="T33" fmla="*/ 22 h 55"/>
                  <a:gd name="T34" fmla="*/ 340 w 476"/>
                  <a:gd name="T35" fmla="*/ 37 h 55"/>
                  <a:gd name="T36" fmla="*/ 367 w 476"/>
                  <a:gd name="T37" fmla="*/ 32 h 55"/>
                  <a:gd name="T38" fmla="*/ 348 w 476"/>
                  <a:gd name="T39" fmla="*/ 17 h 55"/>
                  <a:gd name="T40" fmla="*/ 84 w 476"/>
                  <a:gd name="T41" fmla="*/ 9 h 55"/>
                  <a:gd name="T42" fmla="*/ 57 w 476"/>
                  <a:gd name="T43" fmla="*/ 14 h 55"/>
                  <a:gd name="T44" fmla="*/ 76 w 476"/>
                  <a:gd name="T45" fmla="*/ 29 h 55"/>
                  <a:gd name="T46" fmla="*/ 103 w 476"/>
                  <a:gd name="T47" fmla="*/ 24 h 55"/>
                  <a:gd name="T48" fmla="*/ 84 w 476"/>
                  <a:gd name="T49" fmla="*/ 9 h 55"/>
                  <a:gd name="T50" fmla="*/ 407 w 476"/>
                  <a:gd name="T51" fmla="*/ 28 h 55"/>
                  <a:gd name="T52" fmla="*/ 383 w 476"/>
                  <a:gd name="T53" fmla="*/ 32 h 55"/>
                  <a:gd name="T54" fmla="*/ 400 w 476"/>
                  <a:gd name="T55" fmla="*/ 45 h 55"/>
                  <a:gd name="T56" fmla="*/ 423 w 476"/>
                  <a:gd name="T57" fmla="*/ 40 h 55"/>
                  <a:gd name="T58" fmla="*/ 407 w 476"/>
                  <a:gd name="T59" fmla="*/ 28 h 55"/>
                  <a:gd name="T60" fmla="*/ 461 w 476"/>
                  <a:gd name="T61" fmla="*/ 40 h 55"/>
                  <a:gd name="T62" fmla="*/ 442 w 476"/>
                  <a:gd name="T63" fmla="*/ 43 h 55"/>
                  <a:gd name="T64" fmla="*/ 455 w 476"/>
                  <a:gd name="T65" fmla="*/ 53 h 55"/>
                  <a:gd name="T66" fmla="*/ 474 w 476"/>
                  <a:gd name="T67" fmla="*/ 50 h 55"/>
                  <a:gd name="T68" fmla="*/ 461 w 476"/>
                  <a:gd name="T69" fmla="*/ 40 h 55"/>
                  <a:gd name="T70" fmla="*/ 26 w 476"/>
                  <a:gd name="T71" fmla="*/ 20 h 55"/>
                  <a:gd name="T72" fmla="*/ 2 w 476"/>
                  <a:gd name="T73" fmla="*/ 24 h 55"/>
                  <a:gd name="T74" fmla="*/ 19 w 476"/>
                  <a:gd name="T75" fmla="*/ 37 h 55"/>
                  <a:gd name="T76" fmla="*/ 43 w 476"/>
                  <a:gd name="T77" fmla="*/ 33 h 55"/>
                  <a:gd name="T78" fmla="*/ 26 w 476"/>
                  <a:gd name="T79" fmla="*/ 2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6" h="55">
                    <a:moveTo>
                      <a:pt x="239" y="22"/>
                    </a:moveTo>
                    <a:cubicBezTo>
                      <a:pt x="236" y="28"/>
                      <a:pt x="221" y="31"/>
                      <a:pt x="206" y="27"/>
                    </a:cubicBezTo>
                    <a:cubicBezTo>
                      <a:pt x="191" y="24"/>
                      <a:pt x="180" y="16"/>
                      <a:pt x="183" y="9"/>
                    </a:cubicBezTo>
                    <a:cubicBezTo>
                      <a:pt x="186" y="3"/>
                      <a:pt x="201" y="0"/>
                      <a:pt x="216" y="4"/>
                    </a:cubicBezTo>
                    <a:cubicBezTo>
                      <a:pt x="231" y="7"/>
                      <a:pt x="242" y="15"/>
                      <a:pt x="239" y="22"/>
                    </a:cubicBezTo>
                    <a:close/>
                    <a:moveTo>
                      <a:pt x="284" y="9"/>
                    </a:moveTo>
                    <a:cubicBezTo>
                      <a:pt x="270" y="6"/>
                      <a:pt x="257" y="8"/>
                      <a:pt x="255" y="14"/>
                    </a:cubicBezTo>
                    <a:cubicBezTo>
                      <a:pt x="252" y="20"/>
                      <a:pt x="261" y="27"/>
                      <a:pt x="275" y="30"/>
                    </a:cubicBezTo>
                    <a:cubicBezTo>
                      <a:pt x="289" y="33"/>
                      <a:pt x="302" y="31"/>
                      <a:pt x="305" y="25"/>
                    </a:cubicBezTo>
                    <a:cubicBezTo>
                      <a:pt x="307" y="19"/>
                      <a:pt x="298" y="12"/>
                      <a:pt x="284" y="9"/>
                    </a:cubicBezTo>
                    <a:close/>
                    <a:moveTo>
                      <a:pt x="144" y="3"/>
                    </a:moveTo>
                    <a:cubicBezTo>
                      <a:pt x="130" y="1"/>
                      <a:pt x="117" y="4"/>
                      <a:pt x="115" y="10"/>
                    </a:cubicBezTo>
                    <a:cubicBezTo>
                      <a:pt x="113" y="15"/>
                      <a:pt x="123" y="22"/>
                      <a:pt x="137" y="24"/>
                    </a:cubicBezTo>
                    <a:cubicBezTo>
                      <a:pt x="151" y="27"/>
                      <a:pt x="164" y="24"/>
                      <a:pt x="166" y="18"/>
                    </a:cubicBezTo>
                    <a:cubicBezTo>
                      <a:pt x="168" y="12"/>
                      <a:pt x="158" y="6"/>
                      <a:pt x="144" y="3"/>
                    </a:cubicBezTo>
                    <a:close/>
                    <a:moveTo>
                      <a:pt x="348" y="17"/>
                    </a:moveTo>
                    <a:cubicBezTo>
                      <a:pt x="336" y="15"/>
                      <a:pt x="323" y="17"/>
                      <a:pt x="321" y="22"/>
                    </a:cubicBezTo>
                    <a:cubicBezTo>
                      <a:pt x="319" y="27"/>
                      <a:pt x="327" y="34"/>
                      <a:pt x="340" y="37"/>
                    </a:cubicBezTo>
                    <a:cubicBezTo>
                      <a:pt x="353" y="40"/>
                      <a:pt x="365" y="38"/>
                      <a:pt x="367" y="32"/>
                    </a:cubicBezTo>
                    <a:cubicBezTo>
                      <a:pt x="370" y="27"/>
                      <a:pt x="361" y="20"/>
                      <a:pt x="348" y="17"/>
                    </a:cubicBezTo>
                    <a:close/>
                    <a:moveTo>
                      <a:pt x="84" y="9"/>
                    </a:moveTo>
                    <a:cubicBezTo>
                      <a:pt x="71" y="7"/>
                      <a:pt x="59" y="9"/>
                      <a:pt x="57" y="14"/>
                    </a:cubicBezTo>
                    <a:cubicBezTo>
                      <a:pt x="55" y="19"/>
                      <a:pt x="63" y="26"/>
                      <a:pt x="76" y="29"/>
                    </a:cubicBezTo>
                    <a:cubicBezTo>
                      <a:pt x="89" y="32"/>
                      <a:pt x="101" y="30"/>
                      <a:pt x="103" y="24"/>
                    </a:cubicBezTo>
                    <a:cubicBezTo>
                      <a:pt x="105" y="19"/>
                      <a:pt x="97" y="12"/>
                      <a:pt x="84" y="9"/>
                    </a:cubicBezTo>
                    <a:close/>
                    <a:moveTo>
                      <a:pt x="407" y="28"/>
                    </a:moveTo>
                    <a:cubicBezTo>
                      <a:pt x="396" y="25"/>
                      <a:pt x="385" y="27"/>
                      <a:pt x="383" y="32"/>
                    </a:cubicBezTo>
                    <a:cubicBezTo>
                      <a:pt x="381" y="36"/>
                      <a:pt x="388" y="42"/>
                      <a:pt x="400" y="45"/>
                    </a:cubicBezTo>
                    <a:cubicBezTo>
                      <a:pt x="411" y="47"/>
                      <a:pt x="421" y="45"/>
                      <a:pt x="423" y="40"/>
                    </a:cubicBezTo>
                    <a:cubicBezTo>
                      <a:pt x="425" y="36"/>
                      <a:pt x="418" y="30"/>
                      <a:pt x="407" y="28"/>
                    </a:cubicBezTo>
                    <a:close/>
                    <a:moveTo>
                      <a:pt x="461" y="40"/>
                    </a:moveTo>
                    <a:cubicBezTo>
                      <a:pt x="452" y="38"/>
                      <a:pt x="444" y="39"/>
                      <a:pt x="442" y="43"/>
                    </a:cubicBezTo>
                    <a:cubicBezTo>
                      <a:pt x="440" y="47"/>
                      <a:pt x="446" y="51"/>
                      <a:pt x="455" y="53"/>
                    </a:cubicBezTo>
                    <a:cubicBezTo>
                      <a:pt x="464" y="55"/>
                      <a:pt x="473" y="54"/>
                      <a:pt x="474" y="50"/>
                    </a:cubicBezTo>
                    <a:cubicBezTo>
                      <a:pt x="476" y="46"/>
                      <a:pt x="470" y="42"/>
                      <a:pt x="461" y="40"/>
                    </a:cubicBezTo>
                    <a:close/>
                    <a:moveTo>
                      <a:pt x="26" y="20"/>
                    </a:moveTo>
                    <a:cubicBezTo>
                      <a:pt x="15" y="18"/>
                      <a:pt x="4" y="20"/>
                      <a:pt x="2" y="24"/>
                    </a:cubicBezTo>
                    <a:cubicBezTo>
                      <a:pt x="0" y="29"/>
                      <a:pt x="8" y="35"/>
                      <a:pt x="19" y="37"/>
                    </a:cubicBezTo>
                    <a:cubicBezTo>
                      <a:pt x="30" y="40"/>
                      <a:pt x="41" y="38"/>
                      <a:pt x="43" y="33"/>
                    </a:cubicBezTo>
                    <a:cubicBezTo>
                      <a:pt x="45" y="29"/>
                      <a:pt x="37" y="23"/>
                      <a:pt x="26" y="20"/>
                    </a:cubicBezTo>
                    <a:close/>
                  </a:path>
                </a:pathLst>
              </a:custGeom>
              <a:solidFill>
                <a:srgbClr val="FFFFFF">
                  <a:alpha val="84000"/>
                </a:srgbClr>
              </a:solidFill>
              <a:ln>
                <a:noFill/>
              </a:ln>
            </p:spPr>
            <p:txBody>
              <a:bodyPr vert="horz" wrap="square" lIns="89643" tIns="44822" rIns="89643" bIns="44822" numCol="1" anchor="t" anchorCtr="0" compatLnSpc="1">
                <a:prstTxWarp prst="textNoShape">
                  <a:avLst/>
                </a:prstTxWarp>
              </a:bodyPr>
              <a:lstStyle/>
              <a:p>
                <a:pPr marL="0" marR="0" lvl="0" indent="0" algn="l" defTabSz="914348"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a:ln>
                    <a:noFill/>
                  </a:ln>
                  <a:solidFill>
                    <a:prstClr val="black"/>
                  </a:solidFill>
                  <a:effectLst/>
                  <a:uLnTx/>
                  <a:uFillTx/>
                  <a:latin typeface="Calibri" panose="020F0502020204030204"/>
                  <a:ea typeface="Heiti SC Light" charset="-122"/>
                  <a:cs typeface="+mn-cs"/>
                  <a:sym typeface="Gill Sans" charset="0"/>
                </a:endParaRPr>
              </a:p>
            </p:txBody>
          </p:sp>
          <p:sp>
            <p:nvSpPr>
              <p:cNvPr id="84" name="Freeform 695"/>
              <p:cNvSpPr>
                <a:spLocks noEditPoints="1"/>
              </p:cNvSpPr>
              <p:nvPr/>
            </p:nvSpPr>
            <p:spPr bwMode="auto">
              <a:xfrm>
                <a:off x="4747061" y="5846230"/>
                <a:ext cx="520594" cy="190262"/>
              </a:xfrm>
              <a:custGeom>
                <a:avLst/>
                <a:gdLst>
                  <a:gd name="T0" fmla="*/ 55 w 189"/>
                  <a:gd name="T1" fmla="*/ 45 h 69"/>
                  <a:gd name="T2" fmla="*/ 108 w 189"/>
                  <a:gd name="T3" fmla="*/ 46 h 69"/>
                  <a:gd name="T4" fmla="*/ 60 w 189"/>
                  <a:gd name="T5" fmla="*/ 43 h 69"/>
                  <a:gd name="T6" fmla="*/ 120 w 189"/>
                  <a:gd name="T7" fmla="*/ 31 h 69"/>
                  <a:gd name="T8" fmla="*/ 153 w 189"/>
                  <a:gd name="T9" fmla="*/ 31 h 69"/>
                  <a:gd name="T10" fmla="*/ 118 w 189"/>
                  <a:gd name="T11" fmla="*/ 35 h 69"/>
                  <a:gd name="T12" fmla="*/ 119 w 189"/>
                  <a:gd name="T13" fmla="*/ 61 h 69"/>
                  <a:gd name="T14" fmla="*/ 149 w 189"/>
                  <a:gd name="T15" fmla="*/ 62 h 69"/>
                  <a:gd name="T16" fmla="*/ 122 w 189"/>
                  <a:gd name="T17" fmla="*/ 61 h 69"/>
                  <a:gd name="T18" fmla="*/ 33 w 189"/>
                  <a:gd name="T19" fmla="*/ 17 h 69"/>
                  <a:gd name="T20" fmla="*/ 49 w 189"/>
                  <a:gd name="T21" fmla="*/ 19 h 69"/>
                  <a:gd name="T22" fmla="*/ 66 w 189"/>
                  <a:gd name="T23" fmla="*/ 13 h 69"/>
                  <a:gd name="T24" fmla="*/ 28 w 189"/>
                  <a:gd name="T25" fmla="*/ 15 h 69"/>
                  <a:gd name="T26" fmla="*/ 155 w 189"/>
                  <a:gd name="T27" fmla="*/ 47 h 69"/>
                  <a:gd name="T28" fmla="*/ 170 w 189"/>
                  <a:gd name="T29" fmla="*/ 51 h 69"/>
                  <a:gd name="T30" fmla="*/ 189 w 189"/>
                  <a:gd name="T31" fmla="*/ 49 h 69"/>
                  <a:gd name="T32" fmla="*/ 157 w 189"/>
                  <a:gd name="T33" fmla="*/ 46 h 69"/>
                  <a:gd name="T34" fmla="*/ 0 w 189"/>
                  <a:gd name="T35" fmla="*/ 37 h 69"/>
                  <a:gd name="T36" fmla="*/ 13 w 189"/>
                  <a:gd name="T37" fmla="*/ 40 h 69"/>
                  <a:gd name="T38" fmla="*/ 26 w 189"/>
                  <a:gd name="T39" fmla="*/ 36 h 69"/>
                  <a:gd name="T40" fmla="*/ 2 w 189"/>
                  <a:gd name="T41" fmla="*/ 36 h 69"/>
                  <a:gd name="T42" fmla="*/ 79 w 189"/>
                  <a:gd name="T43" fmla="*/ 66 h 69"/>
                  <a:gd name="T44" fmla="*/ 91 w 189"/>
                  <a:gd name="T45" fmla="*/ 68 h 69"/>
                  <a:gd name="T46" fmla="*/ 103 w 189"/>
                  <a:gd name="T47" fmla="*/ 67 h 69"/>
                  <a:gd name="T48" fmla="*/ 81 w 189"/>
                  <a:gd name="T49"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9" h="69">
                    <a:moveTo>
                      <a:pt x="55" y="45"/>
                    </a:moveTo>
                    <a:cubicBezTo>
                      <a:pt x="70" y="32"/>
                      <a:pt x="94" y="21"/>
                      <a:pt x="108" y="46"/>
                    </a:cubicBezTo>
                    <a:cubicBezTo>
                      <a:pt x="92" y="48"/>
                      <a:pt x="75" y="51"/>
                      <a:pt x="60" y="43"/>
                    </a:cubicBezTo>
                    <a:moveTo>
                      <a:pt x="120" y="31"/>
                    </a:moveTo>
                    <a:cubicBezTo>
                      <a:pt x="126" y="38"/>
                      <a:pt x="143" y="35"/>
                      <a:pt x="153" y="31"/>
                    </a:cubicBezTo>
                    <a:cubicBezTo>
                      <a:pt x="147" y="15"/>
                      <a:pt x="122" y="22"/>
                      <a:pt x="118" y="35"/>
                    </a:cubicBezTo>
                    <a:moveTo>
                      <a:pt x="119" y="61"/>
                    </a:moveTo>
                    <a:cubicBezTo>
                      <a:pt x="130" y="64"/>
                      <a:pt x="137" y="66"/>
                      <a:pt x="149" y="62"/>
                    </a:cubicBezTo>
                    <a:cubicBezTo>
                      <a:pt x="145" y="51"/>
                      <a:pt x="127" y="52"/>
                      <a:pt x="122" y="61"/>
                    </a:cubicBezTo>
                    <a:moveTo>
                      <a:pt x="33" y="17"/>
                    </a:moveTo>
                    <a:cubicBezTo>
                      <a:pt x="40" y="14"/>
                      <a:pt x="43" y="19"/>
                      <a:pt x="49" y="19"/>
                    </a:cubicBezTo>
                    <a:cubicBezTo>
                      <a:pt x="56" y="19"/>
                      <a:pt x="60" y="16"/>
                      <a:pt x="66" y="13"/>
                    </a:cubicBezTo>
                    <a:cubicBezTo>
                      <a:pt x="53" y="0"/>
                      <a:pt x="40" y="20"/>
                      <a:pt x="28" y="15"/>
                    </a:cubicBezTo>
                    <a:moveTo>
                      <a:pt x="155" y="47"/>
                    </a:moveTo>
                    <a:cubicBezTo>
                      <a:pt x="159" y="46"/>
                      <a:pt x="165" y="51"/>
                      <a:pt x="170" y="51"/>
                    </a:cubicBezTo>
                    <a:cubicBezTo>
                      <a:pt x="177" y="52"/>
                      <a:pt x="183" y="50"/>
                      <a:pt x="189" y="49"/>
                    </a:cubicBezTo>
                    <a:cubicBezTo>
                      <a:pt x="181" y="37"/>
                      <a:pt x="167" y="46"/>
                      <a:pt x="157" y="46"/>
                    </a:cubicBezTo>
                    <a:moveTo>
                      <a:pt x="0" y="37"/>
                    </a:moveTo>
                    <a:cubicBezTo>
                      <a:pt x="4" y="36"/>
                      <a:pt x="9" y="40"/>
                      <a:pt x="13" y="40"/>
                    </a:cubicBezTo>
                    <a:cubicBezTo>
                      <a:pt x="18" y="40"/>
                      <a:pt x="23" y="38"/>
                      <a:pt x="26" y="36"/>
                    </a:cubicBezTo>
                    <a:cubicBezTo>
                      <a:pt x="18" y="30"/>
                      <a:pt x="11" y="30"/>
                      <a:pt x="2" y="36"/>
                    </a:cubicBezTo>
                    <a:moveTo>
                      <a:pt x="79" y="66"/>
                    </a:moveTo>
                    <a:cubicBezTo>
                      <a:pt x="83" y="63"/>
                      <a:pt x="87" y="68"/>
                      <a:pt x="91" y="68"/>
                    </a:cubicBezTo>
                    <a:cubicBezTo>
                      <a:pt x="95" y="69"/>
                      <a:pt x="99" y="69"/>
                      <a:pt x="103" y="67"/>
                    </a:cubicBezTo>
                    <a:cubicBezTo>
                      <a:pt x="95" y="56"/>
                      <a:pt x="92" y="64"/>
                      <a:pt x="81" y="65"/>
                    </a:cubicBezTo>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marL="0" marR="0" lvl="0" indent="0" algn="l" defTabSz="914348"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a:ln>
                    <a:noFill/>
                  </a:ln>
                  <a:solidFill>
                    <a:prstClr val="black"/>
                  </a:solidFill>
                  <a:effectLst/>
                  <a:uLnTx/>
                  <a:uFillTx/>
                  <a:latin typeface="Calibri" panose="020F0502020204030204"/>
                  <a:ea typeface="Heiti SC Light" charset="-122"/>
                  <a:cs typeface="+mn-cs"/>
                  <a:sym typeface="Gill Sans" charset="0"/>
                </a:endParaRPr>
              </a:p>
            </p:txBody>
          </p:sp>
        </p:grpSp>
        <p:grpSp>
          <p:nvGrpSpPr>
            <p:cNvPr id="17" name="Group 16"/>
            <p:cNvGrpSpPr/>
            <p:nvPr/>
          </p:nvGrpSpPr>
          <p:grpSpPr>
            <a:xfrm>
              <a:off x="377882" y="9620823"/>
              <a:ext cx="6667219" cy="1194872"/>
              <a:chOff x="377882" y="9620823"/>
              <a:chExt cx="6667219" cy="1194872"/>
            </a:xfrm>
          </p:grpSpPr>
          <p:sp>
            <p:nvSpPr>
              <p:cNvPr id="85" name="Title 1"/>
              <p:cNvSpPr txBox="1">
                <a:spLocks/>
              </p:cNvSpPr>
              <p:nvPr/>
            </p:nvSpPr>
            <p:spPr>
              <a:xfrm>
                <a:off x="1205289" y="9620823"/>
                <a:ext cx="5839812" cy="1194872"/>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marL="0" marR="0" lvl="0" indent="0" algn="l" defTabSz="1243478" rtl="0" eaLnBrk="1" fontAlgn="auto" latinLnBrk="0" hangingPunct="1">
                  <a:lnSpc>
                    <a:spcPct val="90000"/>
                  </a:lnSpc>
                  <a:spcBef>
                    <a:spcPct val="0"/>
                  </a:spcBef>
                  <a:spcAft>
                    <a:spcPts val="0"/>
                  </a:spcAft>
                  <a:buClrTx/>
                  <a:buSzTx/>
                  <a:buFontTx/>
                  <a:buNone/>
                  <a:tabLst/>
                  <a:defRPr/>
                </a:pPr>
                <a:r>
                  <a:rPr kumimoji="0" lang="en-US" sz="2667"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sym typeface="Gill Sans" charset="0"/>
                  </a:rPr>
                  <a:t>Global Distribution</a:t>
                </a:r>
              </a:p>
            </p:txBody>
          </p:sp>
          <p:sp>
            <p:nvSpPr>
              <p:cNvPr id="73" name="Oval 72"/>
              <p:cNvSpPr/>
              <p:nvPr/>
            </p:nvSpPr>
            <p:spPr bwMode="auto">
              <a:xfrm>
                <a:off x="377882" y="9651160"/>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Light" panose="020F0302020204030204"/>
                    <a:ea typeface="Segoe UI" pitchFamily="34" charset="0"/>
                    <a:cs typeface="Segoe UI" pitchFamily="34" charset="0"/>
                    <a:sym typeface="Gill Sans" charset="0"/>
                  </a:rPr>
                  <a:t>1</a:t>
                </a:r>
              </a:p>
            </p:txBody>
          </p:sp>
        </p:grpSp>
      </p:grpSp>
      <p:grpSp>
        <p:nvGrpSpPr>
          <p:cNvPr id="3" name="Group 2"/>
          <p:cNvGrpSpPr/>
          <p:nvPr/>
        </p:nvGrpSpPr>
        <p:grpSpPr>
          <a:xfrm>
            <a:off x="-381000" y="1240912"/>
            <a:ext cx="6493876" cy="1486246"/>
            <a:chOff x="12320054" y="2892014"/>
            <a:chExt cx="12987751" cy="2972491"/>
          </a:xfrm>
        </p:grpSpPr>
        <p:sp>
          <p:nvSpPr>
            <p:cNvPr id="74" name="Title 1"/>
            <p:cNvSpPr txBox="1">
              <a:spLocks/>
            </p:cNvSpPr>
            <p:nvPr/>
          </p:nvSpPr>
          <p:spPr>
            <a:xfrm>
              <a:off x="12320054" y="4669633"/>
              <a:ext cx="12987751" cy="1194872"/>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marL="0" marR="0" lvl="0" indent="0" algn="ctr" defTabSz="1243478" rtl="0" eaLnBrk="1" fontAlgn="auto" latinLnBrk="0" hangingPunct="1">
                <a:lnSpc>
                  <a:spcPct val="90000"/>
                </a:lnSpc>
                <a:spcBef>
                  <a:spcPct val="0"/>
                </a:spcBef>
                <a:spcAft>
                  <a:spcPts val="0"/>
                </a:spcAft>
                <a:buClrTx/>
                <a:buSzTx/>
                <a:buFontTx/>
                <a:buNone/>
                <a:tabLst/>
                <a:defRPr/>
              </a:pPr>
              <a:r>
                <a:rPr kumimoji="0" lang="en-US" sz="2667"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sym typeface="Gill Sans" charset="0"/>
                </a:rPr>
                <a:t>Elastic and unlimited scalability</a:t>
              </a:r>
            </a:p>
          </p:txBody>
        </p:sp>
        <p:grpSp>
          <p:nvGrpSpPr>
            <p:cNvPr id="20" name="Group 19"/>
            <p:cNvGrpSpPr/>
            <p:nvPr/>
          </p:nvGrpSpPr>
          <p:grpSpPr>
            <a:xfrm>
              <a:off x="13173114" y="2892014"/>
              <a:ext cx="11689958" cy="2577266"/>
              <a:chOff x="13173114" y="2892014"/>
              <a:chExt cx="11689958" cy="2577266"/>
            </a:xfrm>
          </p:grpSpPr>
          <p:grpSp>
            <p:nvGrpSpPr>
              <p:cNvPr id="2" name="Group 1"/>
              <p:cNvGrpSpPr/>
              <p:nvPr/>
            </p:nvGrpSpPr>
            <p:grpSpPr>
              <a:xfrm>
                <a:off x="13173114" y="2892014"/>
                <a:ext cx="11689958" cy="2319989"/>
                <a:chOff x="905445" y="3562144"/>
                <a:chExt cx="9903824" cy="2368037"/>
              </a:xfrm>
            </p:grpSpPr>
            <p:grpSp>
              <p:nvGrpSpPr>
                <p:cNvPr id="48" name="Group 47"/>
                <p:cNvGrpSpPr/>
                <p:nvPr/>
              </p:nvGrpSpPr>
              <p:grpSpPr>
                <a:xfrm>
                  <a:off x="1189037" y="4389205"/>
                  <a:ext cx="9620232" cy="1540976"/>
                  <a:chOff x="2652196" y="4246496"/>
                  <a:chExt cx="10263036" cy="1643939"/>
                </a:xfrm>
              </p:grpSpPr>
              <p:sp>
                <p:nvSpPr>
                  <p:cNvPr id="50" name="Rectangle 49"/>
                  <p:cNvSpPr/>
                  <p:nvPr/>
                </p:nvSpPr>
                <p:spPr bwMode="auto">
                  <a:xfrm>
                    <a:off x="2652196" y="4280080"/>
                    <a:ext cx="9265683" cy="84056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marL="0" marR="0" lvl="0" indent="0" algn="ctr" defTabSz="856943" rtl="0" eaLnBrk="1" fontAlgn="base" latinLnBrk="0" hangingPunct="1">
                      <a:lnSpc>
                        <a:spcPct val="90000"/>
                      </a:lnSpc>
                      <a:spcBef>
                        <a:spcPct val="0"/>
                      </a:spcBef>
                      <a:spcAft>
                        <a:spcPct val="0"/>
                      </a:spcAft>
                      <a:buClrTx/>
                      <a:buSzTx/>
                      <a:buFontTx/>
                      <a:buNone/>
                      <a:tabLst/>
                      <a:defRPr/>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52" name="TextBox 51"/>
                  <p:cNvSpPr txBox="1"/>
                  <p:nvPr/>
                </p:nvSpPr>
                <p:spPr>
                  <a:xfrm>
                    <a:off x="7617771" y="4246496"/>
                    <a:ext cx="5297461" cy="1643939"/>
                  </a:xfrm>
                  <a:prstGeom prst="rect">
                    <a:avLst/>
                  </a:prstGeom>
                  <a:noFill/>
                </p:spPr>
                <p:txBody>
                  <a:bodyPr wrap="square" lIns="168056" tIns="134446" rIns="168056" bIns="134446" rtlCol="0">
                    <a:spAutoFit/>
                  </a:bodyPr>
                  <a:lstStyle/>
                  <a:p>
                    <a:pPr marL="0" marR="0" lvl="0" indent="0" algn="l" defTabSz="857223" rtl="0" eaLnBrk="1" fontAlgn="auto" latinLnBrk="0" hangingPunct="1">
                      <a:lnSpc>
                        <a:spcPct val="90000"/>
                      </a:lnSpc>
                      <a:spcBef>
                        <a:spcPts val="0"/>
                      </a:spcBef>
                      <a:spcAft>
                        <a:spcPts val="551"/>
                      </a:spcAft>
                      <a:buClrTx/>
                      <a:buSzTx/>
                      <a:buFontTx/>
                      <a:buNone/>
                      <a:tabLst/>
                      <a:defRPr/>
                    </a:pPr>
                    <a:r>
                      <a:rPr kumimoji="0" lang="en-US" sz="1467" b="0" i="0" u="none" strike="noStrike" kern="0" cap="none" spc="0" normalizeH="0" baseline="0" noProof="0">
                        <a:ln>
                          <a:noFill/>
                        </a:ln>
                        <a:solidFill>
                          <a:prstClr val="black"/>
                        </a:solidFill>
                        <a:effectLst/>
                        <a:uLnTx/>
                        <a:uFillTx/>
                        <a:latin typeface="Segoe UI Light" panose="020B0502040204020203" pitchFamily="34" charset="0"/>
                        <a:ea typeface="Heiti SC Light" charset="-122"/>
                        <a:cs typeface="Segoe UI Light" panose="020B0502040204020203" pitchFamily="34" charset="0"/>
                        <a:sym typeface="Gill Sans" charset="0"/>
                      </a:rPr>
                      <a:t>Millions of transactions/sec</a:t>
                    </a:r>
                  </a:p>
                  <a:p>
                    <a:pPr marL="0" marR="0" lvl="0" indent="0" algn="l" defTabSz="857223" rtl="0" eaLnBrk="1" fontAlgn="auto" latinLnBrk="0" hangingPunct="1">
                      <a:lnSpc>
                        <a:spcPct val="90000"/>
                      </a:lnSpc>
                      <a:spcBef>
                        <a:spcPts val="0"/>
                      </a:spcBef>
                      <a:spcAft>
                        <a:spcPts val="551"/>
                      </a:spcAft>
                      <a:buClrTx/>
                      <a:buSzTx/>
                      <a:buFontTx/>
                      <a:buNone/>
                      <a:tabLst/>
                      <a:defRPr/>
                    </a:pPr>
                    <a:endParaRPr kumimoji="0" lang="en-US" sz="1467" b="0" i="0" u="none" strike="noStrike" kern="0" cap="none" spc="0" normalizeH="0" baseline="0" noProof="0">
                      <a:ln>
                        <a:noFill/>
                      </a:ln>
                      <a:solidFill>
                        <a:prstClr val="black"/>
                      </a:solidFill>
                      <a:effectLst/>
                      <a:uLnTx/>
                      <a:uFillTx/>
                      <a:latin typeface="Segoe UI Light" panose="020B0502040204020203" pitchFamily="34" charset="0"/>
                      <a:ea typeface="Heiti SC Light" charset="-122"/>
                      <a:cs typeface="Segoe UI Light" panose="020B0502040204020203" pitchFamily="34" charset="0"/>
                      <a:sym typeface="Gill Sans" charset="0"/>
                    </a:endParaRPr>
                  </a:p>
                </p:txBody>
              </p:sp>
            </p:grpSp>
            <p:grpSp>
              <p:nvGrpSpPr>
                <p:cNvPr id="60" name="Group 59"/>
                <p:cNvGrpSpPr/>
                <p:nvPr/>
              </p:nvGrpSpPr>
              <p:grpSpPr>
                <a:xfrm>
                  <a:off x="1189037" y="3562531"/>
                  <a:ext cx="9116362" cy="969094"/>
                  <a:chOff x="2652196" y="3364589"/>
                  <a:chExt cx="9725499" cy="1033848"/>
                </a:xfrm>
              </p:grpSpPr>
              <p:sp>
                <p:nvSpPr>
                  <p:cNvPr id="61" name="Rectangle 60"/>
                  <p:cNvSpPr/>
                  <p:nvPr/>
                </p:nvSpPr>
                <p:spPr bwMode="auto">
                  <a:xfrm>
                    <a:off x="2652196" y="3407883"/>
                    <a:ext cx="9265683" cy="84056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marL="0" marR="0" lvl="0" indent="0" algn="ctr" defTabSz="856943" rtl="0" eaLnBrk="1" fontAlgn="base" latinLnBrk="0" hangingPunct="1">
                      <a:lnSpc>
                        <a:spcPct val="90000"/>
                      </a:lnSpc>
                      <a:spcBef>
                        <a:spcPct val="0"/>
                      </a:spcBef>
                      <a:spcAft>
                        <a:spcPct val="0"/>
                      </a:spcAft>
                      <a:buClrTx/>
                      <a:buSzTx/>
                      <a:buFontTx/>
                      <a:buNone/>
                      <a:tabLst/>
                      <a:defRPr/>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2" name="TextBox 61"/>
                  <p:cNvSpPr txBox="1"/>
                  <p:nvPr/>
                </p:nvSpPr>
                <p:spPr>
                  <a:xfrm>
                    <a:off x="7670547" y="3364589"/>
                    <a:ext cx="4707148" cy="1033848"/>
                  </a:xfrm>
                  <a:prstGeom prst="rect">
                    <a:avLst/>
                  </a:prstGeom>
                  <a:noFill/>
                </p:spPr>
                <p:txBody>
                  <a:bodyPr wrap="square" lIns="168056" tIns="134446" rIns="168056" bIns="134446" rtlCol="0">
                    <a:spAutoFit/>
                  </a:bodyPr>
                  <a:lstStyle/>
                  <a:p>
                    <a:pPr marL="0" marR="0" lvl="0" indent="0" algn="l" defTabSz="857223" rtl="0" eaLnBrk="1" fontAlgn="auto" latinLnBrk="0" hangingPunct="1">
                      <a:lnSpc>
                        <a:spcPct val="90000"/>
                      </a:lnSpc>
                      <a:spcBef>
                        <a:spcPts val="0"/>
                      </a:spcBef>
                      <a:spcAft>
                        <a:spcPts val="551"/>
                      </a:spcAft>
                      <a:buClrTx/>
                      <a:buSzTx/>
                      <a:buFontTx/>
                      <a:buNone/>
                      <a:tabLst/>
                      <a:defRPr/>
                    </a:pPr>
                    <a:r>
                      <a:rPr kumimoji="0" lang="en-US" sz="1467" b="0" i="0" u="none" strike="noStrike" kern="0" cap="none" spc="0" normalizeH="0" baseline="0" noProof="0">
                        <a:ln>
                          <a:noFill/>
                        </a:ln>
                        <a:solidFill>
                          <a:prstClr val="black"/>
                        </a:solidFill>
                        <a:effectLst/>
                        <a:uLnTx/>
                        <a:uFillTx/>
                        <a:latin typeface="Segoe UI Light" panose="020B0502040204020203" pitchFamily="34" charset="0"/>
                        <a:ea typeface="Heiti SC Light" charset="-122"/>
                        <a:cs typeface="Segoe UI Light" panose="020B0502040204020203" pitchFamily="34" charset="0"/>
                        <a:sym typeface="Gill Sans" charset="0"/>
                      </a:rPr>
                      <a:t>Petabytes of data</a:t>
                    </a:r>
                  </a:p>
                </p:txBody>
              </p:sp>
            </p:grpSp>
            <p:grpSp>
              <p:nvGrpSpPr>
                <p:cNvPr id="64" name="Group 63"/>
                <p:cNvGrpSpPr/>
                <p:nvPr/>
              </p:nvGrpSpPr>
              <p:grpSpPr>
                <a:xfrm>
                  <a:off x="905445" y="4343477"/>
                  <a:ext cx="5550267" cy="969092"/>
                  <a:chOff x="2520755" y="4197707"/>
                  <a:chExt cx="5560826" cy="1033844"/>
                </a:xfrm>
              </p:grpSpPr>
              <p:sp>
                <p:nvSpPr>
                  <p:cNvPr id="65" name="Arrow: Pentagon 64"/>
                  <p:cNvSpPr/>
                  <p:nvPr/>
                </p:nvSpPr>
                <p:spPr bwMode="auto">
                  <a:xfrm>
                    <a:off x="2652196" y="4280078"/>
                    <a:ext cx="4861441" cy="840561"/>
                  </a:xfrm>
                  <a:prstGeom prst="homePlat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marL="0" marR="0" lvl="0" indent="0" algn="ctr" defTabSz="856943" rtl="0" eaLnBrk="1" fontAlgn="base" latinLnBrk="0" hangingPunct="1">
                      <a:lnSpc>
                        <a:spcPct val="90000"/>
                      </a:lnSpc>
                      <a:spcBef>
                        <a:spcPct val="0"/>
                      </a:spcBef>
                      <a:spcAft>
                        <a:spcPct val="0"/>
                      </a:spcAft>
                      <a:buClrTx/>
                      <a:buSzTx/>
                      <a:buFontTx/>
                      <a:buNone/>
                      <a:tabLst/>
                      <a:defRPr/>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6" name="TextBox 65"/>
                  <p:cNvSpPr txBox="1"/>
                  <p:nvPr/>
                </p:nvSpPr>
                <p:spPr>
                  <a:xfrm>
                    <a:off x="2520755" y="4197707"/>
                    <a:ext cx="5560826" cy="1033844"/>
                  </a:xfrm>
                  <a:prstGeom prst="rect">
                    <a:avLst/>
                  </a:prstGeom>
                  <a:noFill/>
                </p:spPr>
                <p:txBody>
                  <a:bodyPr wrap="square" lIns="168056" tIns="134446" rIns="168056" bIns="134446" rtlCol="0">
                    <a:spAutoFit/>
                  </a:bodyPr>
                  <a:lstStyle/>
                  <a:p>
                    <a:pPr marL="0" marR="0" lvl="0" indent="0" algn="l" defTabSz="857223" rtl="0" eaLnBrk="1" fontAlgn="auto" latinLnBrk="0" hangingPunct="1">
                      <a:lnSpc>
                        <a:spcPct val="90000"/>
                      </a:lnSpc>
                      <a:spcBef>
                        <a:spcPts val="0"/>
                      </a:spcBef>
                      <a:spcAft>
                        <a:spcPts val="551"/>
                      </a:spcAft>
                      <a:buClrTx/>
                      <a:buSzTx/>
                      <a:buFontTx/>
                      <a:buNone/>
                      <a:tabLst/>
                      <a:defRPr/>
                    </a:pPr>
                    <a:r>
                      <a:rPr kumimoji="0" lang="en-US" sz="1467" b="0" i="0" u="none" strike="noStrike" kern="0" cap="none" spc="0" normalizeH="0" baseline="0" noProof="0">
                        <a:ln>
                          <a:noFill/>
                        </a:ln>
                        <a:gradFill>
                          <a:gsLst>
                            <a:gs pos="2917">
                              <a:prstClr val="black"/>
                            </a:gs>
                            <a:gs pos="30000">
                              <a:prstClr val="black"/>
                            </a:gs>
                          </a:gsLst>
                          <a:lin ang="5400000" scaled="0"/>
                        </a:gradFill>
                        <a:effectLst/>
                        <a:uLnTx/>
                        <a:uFillTx/>
                        <a:latin typeface="Segoe UI Light" panose="020B0502040204020203" pitchFamily="34" charset="0"/>
                        <a:ea typeface="Heiti SC Light" charset="-122"/>
                        <a:cs typeface="Segoe UI Light" panose="020B0502040204020203" pitchFamily="34" charset="0"/>
                        <a:sym typeface="Gill Sans" charset="0"/>
                      </a:rPr>
                      <a:t>Hundreds transactions/sec</a:t>
                    </a:r>
                  </a:p>
                </p:txBody>
              </p:sp>
            </p:grpSp>
            <p:grpSp>
              <p:nvGrpSpPr>
                <p:cNvPr id="67" name="Group 66"/>
                <p:cNvGrpSpPr/>
                <p:nvPr/>
              </p:nvGrpSpPr>
              <p:grpSpPr>
                <a:xfrm>
                  <a:off x="1036637" y="3562144"/>
                  <a:ext cx="4852210" cy="969093"/>
                  <a:chOff x="2652196" y="3364175"/>
                  <a:chExt cx="4861441" cy="1033847"/>
                </a:xfrm>
              </p:grpSpPr>
              <p:sp>
                <p:nvSpPr>
                  <p:cNvPr id="68" name="Arrow: Pentagon 67"/>
                  <p:cNvSpPr/>
                  <p:nvPr/>
                </p:nvSpPr>
                <p:spPr bwMode="auto">
                  <a:xfrm>
                    <a:off x="2652196" y="3407881"/>
                    <a:ext cx="4861441" cy="840561"/>
                  </a:xfrm>
                  <a:prstGeom prst="homePlat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marL="0" marR="0" lvl="0" indent="0" algn="ctr" defTabSz="856943" rtl="0" eaLnBrk="1" fontAlgn="base" latinLnBrk="0" hangingPunct="1">
                      <a:lnSpc>
                        <a:spcPct val="90000"/>
                      </a:lnSpc>
                      <a:spcBef>
                        <a:spcPct val="0"/>
                      </a:spcBef>
                      <a:spcAft>
                        <a:spcPct val="0"/>
                      </a:spcAft>
                      <a:buClrTx/>
                      <a:buSzTx/>
                      <a:buFontTx/>
                      <a:buNone/>
                      <a:tabLst/>
                      <a:defRPr/>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9" name="TextBox 68"/>
                  <p:cNvSpPr txBox="1"/>
                  <p:nvPr/>
                </p:nvSpPr>
                <p:spPr>
                  <a:xfrm>
                    <a:off x="2869248" y="3364175"/>
                    <a:ext cx="4026914" cy="1033847"/>
                  </a:xfrm>
                  <a:prstGeom prst="rect">
                    <a:avLst/>
                  </a:prstGeom>
                  <a:noFill/>
                </p:spPr>
                <p:txBody>
                  <a:bodyPr wrap="square" lIns="168056" tIns="134446" rIns="168056" bIns="134446" rtlCol="0">
                    <a:spAutoFit/>
                  </a:bodyPr>
                  <a:lstStyle/>
                  <a:p>
                    <a:pPr marL="0" marR="0" lvl="0" indent="0" algn="l" defTabSz="857223" rtl="0" eaLnBrk="1" fontAlgn="auto" latinLnBrk="0" hangingPunct="1">
                      <a:lnSpc>
                        <a:spcPct val="90000"/>
                      </a:lnSpc>
                      <a:spcBef>
                        <a:spcPts val="0"/>
                      </a:spcBef>
                      <a:spcAft>
                        <a:spcPts val="551"/>
                      </a:spcAft>
                      <a:buClrTx/>
                      <a:buSzTx/>
                      <a:buFontTx/>
                      <a:buNone/>
                      <a:tabLst/>
                      <a:defRPr/>
                    </a:pPr>
                    <a:r>
                      <a:rPr kumimoji="0" lang="en-US" sz="1467" b="0" i="0" u="none" strike="noStrike" kern="0" cap="none" spc="0" normalizeH="0" baseline="0" noProof="0">
                        <a:ln>
                          <a:noFill/>
                        </a:ln>
                        <a:gradFill>
                          <a:gsLst>
                            <a:gs pos="2917">
                              <a:prstClr val="black"/>
                            </a:gs>
                            <a:gs pos="30000">
                              <a:prstClr val="black"/>
                            </a:gs>
                          </a:gsLst>
                          <a:lin ang="5400000" scaled="0"/>
                        </a:gradFill>
                        <a:effectLst/>
                        <a:uLnTx/>
                        <a:uFillTx/>
                        <a:latin typeface="Segoe UI Light" panose="020B0502040204020203" pitchFamily="34" charset="0"/>
                        <a:ea typeface="Heiti SC Light" charset="-122"/>
                        <a:cs typeface="Segoe UI Light" panose="020B0502040204020203" pitchFamily="34" charset="0"/>
                        <a:sym typeface="Gill Sans" charset="0"/>
                      </a:rPr>
                      <a:t>Gigabytes of data</a:t>
                    </a:r>
                  </a:p>
                </p:txBody>
              </p:sp>
            </p:grpSp>
            <p:sp>
              <p:nvSpPr>
                <p:cNvPr id="70" name="Rectangle 69"/>
                <p:cNvSpPr/>
                <p:nvPr/>
              </p:nvSpPr>
              <p:spPr bwMode="auto">
                <a:xfrm>
                  <a:off x="1189037" y="3603115"/>
                  <a:ext cx="557019" cy="787914"/>
                </a:xfrm>
                <a:prstGeom prst="rect">
                  <a:avLst/>
                </a:prstGeom>
                <a:gradFill>
                  <a:gsLst>
                    <a:gs pos="0">
                      <a:schemeClr val="bg1">
                        <a:lumMod val="50000"/>
                        <a:alpha val="0"/>
                      </a:schemeClr>
                    </a:gs>
                    <a:gs pos="100000">
                      <a:schemeClr val="bg1">
                        <a:lumMod val="50000"/>
                        <a:alpha val="33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marL="0" marR="0" lvl="0" indent="0" algn="ctr" defTabSz="856943" rtl="0" eaLnBrk="1" fontAlgn="base" latinLnBrk="0" hangingPunct="1">
                    <a:lnSpc>
                      <a:spcPct val="90000"/>
                    </a:lnSpc>
                    <a:spcBef>
                      <a:spcPct val="0"/>
                    </a:spcBef>
                    <a:spcAft>
                      <a:spcPct val="0"/>
                    </a:spcAft>
                    <a:buClrTx/>
                    <a:buSzTx/>
                    <a:buFontTx/>
                    <a:buNone/>
                    <a:tabLst/>
                    <a:defRPr/>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71" name="Rectangle 70"/>
                <p:cNvSpPr/>
                <p:nvPr/>
              </p:nvSpPr>
              <p:spPr bwMode="auto">
                <a:xfrm>
                  <a:off x="1189037" y="4426296"/>
                  <a:ext cx="557020" cy="787914"/>
                </a:xfrm>
                <a:prstGeom prst="rect">
                  <a:avLst/>
                </a:prstGeom>
                <a:gradFill>
                  <a:gsLst>
                    <a:gs pos="0">
                      <a:schemeClr val="bg1">
                        <a:lumMod val="50000"/>
                        <a:alpha val="0"/>
                      </a:schemeClr>
                    </a:gs>
                    <a:gs pos="100000">
                      <a:schemeClr val="bg1">
                        <a:lumMod val="50000"/>
                        <a:alpha val="33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marL="0" marR="0" lvl="0" indent="0" algn="ctr" defTabSz="856943" rtl="0" eaLnBrk="1" fontAlgn="base" latinLnBrk="0" hangingPunct="1">
                    <a:lnSpc>
                      <a:spcPct val="90000"/>
                    </a:lnSpc>
                    <a:spcBef>
                      <a:spcPct val="0"/>
                    </a:spcBef>
                    <a:spcAft>
                      <a:spcPct val="0"/>
                    </a:spcAft>
                    <a:buClrTx/>
                    <a:buSzTx/>
                    <a:buFontTx/>
                    <a:buNone/>
                    <a:tabLst/>
                    <a:defRPr/>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sym typeface="Gill Sans" charset="0"/>
                  </a:endParaRPr>
                </a:p>
              </p:txBody>
            </p:sp>
          </p:grpSp>
          <p:sp>
            <p:nvSpPr>
              <p:cNvPr id="86" name="Oval 85"/>
              <p:cNvSpPr/>
              <p:nvPr/>
            </p:nvSpPr>
            <p:spPr bwMode="auto">
              <a:xfrm>
                <a:off x="13570694" y="4666246"/>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Light" panose="020F0302020204030204"/>
                    <a:ea typeface="Segoe UI" pitchFamily="34" charset="0"/>
                    <a:cs typeface="Segoe UI" pitchFamily="34" charset="0"/>
                    <a:sym typeface="Gill Sans" charset="0"/>
                  </a:rPr>
                  <a:t>2</a:t>
                </a:r>
              </a:p>
            </p:txBody>
          </p:sp>
        </p:grpSp>
      </p:grpSp>
      <p:grpSp>
        <p:nvGrpSpPr>
          <p:cNvPr id="115" name="Group 114"/>
          <p:cNvGrpSpPr/>
          <p:nvPr/>
        </p:nvGrpSpPr>
        <p:grpSpPr>
          <a:xfrm>
            <a:off x="6239175" y="1377436"/>
            <a:ext cx="5931877" cy="5078235"/>
            <a:chOff x="456300" y="2503634"/>
            <a:chExt cx="11863754" cy="10156469"/>
          </a:xfrm>
        </p:grpSpPr>
        <p:sp>
          <p:nvSpPr>
            <p:cNvPr id="116" name="Title 1"/>
            <p:cNvSpPr txBox="1">
              <a:spLocks/>
            </p:cNvSpPr>
            <p:nvPr/>
          </p:nvSpPr>
          <p:spPr>
            <a:xfrm>
              <a:off x="1406089" y="2503634"/>
              <a:ext cx="10913965" cy="1650055"/>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marL="0" marR="0" lvl="0" indent="0" algn="l" defTabSz="1243478" rtl="0" eaLnBrk="1" fontAlgn="auto" latinLnBrk="0" hangingPunct="1">
                <a:lnSpc>
                  <a:spcPct val="90000"/>
                </a:lnSpc>
                <a:spcBef>
                  <a:spcPct val="0"/>
                </a:spcBef>
                <a:spcAft>
                  <a:spcPts val="0"/>
                </a:spcAft>
                <a:buClrTx/>
                <a:buSzTx/>
                <a:buFontTx/>
                <a:buNone/>
                <a:tabLst/>
                <a:defRPr/>
              </a:pPr>
              <a:r>
                <a:rPr kumimoji="0" lang="en-US" sz="2667"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sym typeface="Gill Sans" charset="0"/>
                </a:rPr>
                <a:t>Cost efficiencies with fine-grained multi-tenancy</a:t>
              </a:r>
            </a:p>
          </p:txBody>
        </p:sp>
        <p:sp>
          <p:nvSpPr>
            <p:cNvPr id="117" name="Oval 116"/>
            <p:cNvSpPr/>
            <p:nvPr/>
          </p:nvSpPr>
          <p:spPr bwMode="auto">
            <a:xfrm>
              <a:off x="456300" y="2591674"/>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marL="0" marR="0" lvl="0" indent="0" algn="ctr" defTabSz="466236"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Light" panose="020F0302020204030204"/>
                  <a:ea typeface="Segoe UI" pitchFamily="34" charset="0"/>
                  <a:cs typeface="Segoe UI" pitchFamily="34" charset="0"/>
                  <a:sym typeface="Gill Sans" charset="0"/>
                </a:rPr>
                <a:t>3</a:t>
              </a:r>
            </a:p>
          </p:txBody>
        </p:sp>
        <p:grpSp>
          <p:nvGrpSpPr>
            <p:cNvPr id="118" name="Group 117"/>
            <p:cNvGrpSpPr/>
            <p:nvPr/>
          </p:nvGrpSpPr>
          <p:grpSpPr>
            <a:xfrm>
              <a:off x="1481235" y="6358948"/>
              <a:ext cx="10411957" cy="6301155"/>
              <a:chOff x="246786" y="3179437"/>
              <a:chExt cx="5206718" cy="3151024"/>
            </a:xfrm>
          </p:grpSpPr>
          <p:sp>
            <p:nvSpPr>
              <p:cNvPr id="142" name="Freeform 5"/>
              <p:cNvSpPr>
                <a:spLocks/>
              </p:cNvSpPr>
              <p:nvPr/>
            </p:nvSpPr>
            <p:spPr bwMode="auto">
              <a:xfrm>
                <a:off x="246786" y="3179437"/>
                <a:ext cx="5206718" cy="2488288"/>
              </a:xfrm>
              <a:custGeom>
                <a:avLst/>
                <a:gdLst>
                  <a:gd name="T0" fmla="*/ 1504 w 3009"/>
                  <a:gd name="T1" fmla="*/ 0 h 1438"/>
                  <a:gd name="T2" fmla="*/ 3009 w 3009"/>
                  <a:gd name="T3" fmla="*/ 717 h 1438"/>
                  <a:gd name="T4" fmla="*/ 1504 w 3009"/>
                  <a:gd name="T5" fmla="*/ 1438 h 1438"/>
                  <a:gd name="T6" fmla="*/ 0 w 3009"/>
                  <a:gd name="T7" fmla="*/ 717 h 1438"/>
                  <a:gd name="T8" fmla="*/ 1504 w 3009"/>
                  <a:gd name="T9" fmla="*/ 0 h 1438"/>
                </a:gdLst>
                <a:ahLst/>
                <a:cxnLst>
                  <a:cxn ang="0">
                    <a:pos x="T0" y="T1"/>
                  </a:cxn>
                  <a:cxn ang="0">
                    <a:pos x="T2" y="T3"/>
                  </a:cxn>
                  <a:cxn ang="0">
                    <a:pos x="T4" y="T5"/>
                  </a:cxn>
                  <a:cxn ang="0">
                    <a:pos x="T6" y="T7"/>
                  </a:cxn>
                  <a:cxn ang="0">
                    <a:pos x="T8" y="T9"/>
                  </a:cxn>
                </a:cxnLst>
                <a:rect l="0" t="0" r="r" b="b"/>
                <a:pathLst>
                  <a:path w="3009" h="1438">
                    <a:moveTo>
                      <a:pt x="1504" y="0"/>
                    </a:moveTo>
                    <a:lnTo>
                      <a:pt x="3009" y="717"/>
                    </a:lnTo>
                    <a:lnTo>
                      <a:pt x="1504" y="1438"/>
                    </a:lnTo>
                    <a:lnTo>
                      <a:pt x="0" y="717"/>
                    </a:lnTo>
                    <a:lnTo>
                      <a:pt x="1504"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sp>
            <p:nvSpPr>
              <p:cNvPr id="143" name="Freeform 6"/>
              <p:cNvSpPr>
                <a:spLocks/>
              </p:cNvSpPr>
              <p:nvPr/>
            </p:nvSpPr>
            <p:spPr bwMode="auto">
              <a:xfrm>
                <a:off x="2849280" y="4420120"/>
                <a:ext cx="2604224" cy="1910341"/>
              </a:xfrm>
              <a:custGeom>
                <a:avLst/>
                <a:gdLst>
                  <a:gd name="T0" fmla="*/ 0 w 1505"/>
                  <a:gd name="T1" fmla="*/ 1104 h 1104"/>
                  <a:gd name="T2" fmla="*/ 1505 w 1505"/>
                  <a:gd name="T3" fmla="*/ 387 h 1104"/>
                  <a:gd name="T4" fmla="*/ 1505 w 1505"/>
                  <a:gd name="T5" fmla="*/ 0 h 1104"/>
                  <a:gd name="T6" fmla="*/ 0 w 1505"/>
                  <a:gd name="T7" fmla="*/ 721 h 1104"/>
                  <a:gd name="T8" fmla="*/ 0 w 1505"/>
                  <a:gd name="T9" fmla="*/ 1104 h 1104"/>
                </a:gdLst>
                <a:ahLst/>
                <a:cxnLst>
                  <a:cxn ang="0">
                    <a:pos x="T0" y="T1"/>
                  </a:cxn>
                  <a:cxn ang="0">
                    <a:pos x="T2" y="T3"/>
                  </a:cxn>
                  <a:cxn ang="0">
                    <a:pos x="T4" y="T5"/>
                  </a:cxn>
                  <a:cxn ang="0">
                    <a:pos x="T6" y="T7"/>
                  </a:cxn>
                  <a:cxn ang="0">
                    <a:pos x="T8" y="T9"/>
                  </a:cxn>
                </a:cxnLst>
                <a:rect l="0" t="0" r="r" b="b"/>
                <a:pathLst>
                  <a:path w="1505" h="1104">
                    <a:moveTo>
                      <a:pt x="0" y="1104"/>
                    </a:moveTo>
                    <a:lnTo>
                      <a:pt x="1505" y="387"/>
                    </a:lnTo>
                    <a:lnTo>
                      <a:pt x="1505" y="0"/>
                    </a:lnTo>
                    <a:lnTo>
                      <a:pt x="0" y="721"/>
                    </a:lnTo>
                    <a:lnTo>
                      <a:pt x="0" y="110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sp>
            <p:nvSpPr>
              <p:cNvPr id="144" name="Freeform 7"/>
              <p:cNvSpPr>
                <a:spLocks/>
              </p:cNvSpPr>
              <p:nvPr/>
            </p:nvSpPr>
            <p:spPr bwMode="auto">
              <a:xfrm>
                <a:off x="246786" y="4420120"/>
                <a:ext cx="2602494" cy="1910341"/>
              </a:xfrm>
              <a:custGeom>
                <a:avLst/>
                <a:gdLst>
                  <a:gd name="T0" fmla="*/ 1504 w 1504"/>
                  <a:gd name="T1" fmla="*/ 1104 h 1104"/>
                  <a:gd name="T2" fmla="*/ 0 w 1504"/>
                  <a:gd name="T3" fmla="*/ 387 h 1104"/>
                  <a:gd name="T4" fmla="*/ 0 w 1504"/>
                  <a:gd name="T5" fmla="*/ 0 h 1104"/>
                  <a:gd name="T6" fmla="*/ 1504 w 1504"/>
                  <a:gd name="T7" fmla="*/ 721 h 1104"/>
                  <a:gd name="T8" fmla="*/ 1504 w 1504"/>
                  <a:gd name="T9" fmla="*/ 1104 h 1104"/>
                </a:gdLst>
                <a:ahLst/>
                <a:cxnLst>
                  <a:cxn ang="0">
                    <a:pos x="T0" y="T1"/>
                  </a:cxn>
                  <a:cxn ang="0">
                    <a:pos x="T2" y="T3"/>
                  </a:cxn>
                  <a:cxn ang="0">
                    <a:pos x="T4" y="T5"/>
                  </a:cxn>
                  <a:cxn ang="0">
                    <a:pos x="T6" y="T7"/>
                  </a:cxn>
                  <a:cxn ang="0">
                    <a:pos x="T8" y="T9"/>
                  </a:cxn>
                </a:cxnLst>
                <a:rect l="0" t="0" r="r" b="b"/>
                <a:pathLst>
                  <a:path w="1504" h="1104">
                    <a:moveTo>
                      <a:pt x="1504" y="1104"/>
                    </a:moveTo>
                    <a:lnTo>
                      <a:pt x="0" y="387"/>
                    </a:lnTo>
                    <a:lnTo>
                      <a:pt x="0" y="0"/>
                    </a:lnTo>
                    <a:lnTo>
                      <a:pt x="1504" y="721"/>
                    </a:lnTo>
                    <a:lnTo>
                      <a:pt x="1504" y="110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grpSp>
        <p:grpSp>
          <p:nvGrpSpPr>
            <p:cNvPr id="119" name="Group 118"/>
            <p:cNvGrpSpPr/>
            <p:nvPr/>
          </p:nvGrpSpPr>
          <p:grpSpPr>
            <a:xfrm>
              <a:off x="2468795" y="5746559"/>
              <a:ext cx="8418843" cy="5346120"/>
              <a:chOff x="748597" y="2819517"/>
              <a:chExt cx="4210018" cy="2673440"/>
            </a:xfrm>
          </p:grpSpPr>
          <p:sp>
            <p:nvSpPr>
              <p:cNvPr id="139" name="Freeform 8"/>
              <p:cNvSpPr>
                <a:spLocks/>
              </p:cNvSpPr>
              <p:nvPr/>
            </p:nvSpPr>
            <p:spPr bwMode="auto">
              <a:xfrm>
                <a:off x="748597" y="2819517"/>
                <a:ext cx="4210018" cy="2010703"/>
              </a:xfrm>
              <a:custGeom>
                <a:avLst/>
                <a:gdLst>
                  <a:gd name="T0" fmla="*/ 1214 w 2433"/>
                  <a:gd name="T1" fmla="*/ 0 h 1162"/>
                  <a:gd name="T2" fmla="*/ 2433 w 2433"/>
                  <a:gd name="T3" fmla="*/ 581 h 1162"/>
                  <a:gd name="T4" fmla="*/ 1214 w 2433"/>
                  <a:gd name="T5" fmla="*/ 1162 h 1162"/>
                  <a:gd name="T6" fmla="*/ 0 w 2433"/>
                  <a:gd name="T7" fmla="*/ 581 h 1162"/>
                  <a:gd name="T8" fmla="*/ 1214 w 2433"/>
                  <a:gd name="T9" fmla="*/ 0 h 1162"/>
                </a:gdLst>
                <a:ahLst/>
                <a:cxnLst>
                  <a:cxn ang="0">
                    <a:pos x="T0" y="T1"/>
                  </a:cxn>
                  <a:cxn ang="0">
                    <a:pos x="T2" y="T3"/>
                  </a:cxn>
                  <a:cxn ang="0">
                    <a:pos x="T4" y="T5"/>
                  </a:cxn>
                  <a:cxn ang="0">
                    <a:pos x="T6" y="T7"/>
                  </a:cxn>
                  <a:cxn ang="0">
                    <a:pos x="T8" y="T9"/>
                  </a:cxn>
                </a:cxnLst>
                <a:rect l="0" t="0" r="r" b="b"/>
                <a:pathLst>
                  <a:path w="2433" h="1162">
                    <a:moveTo>
                      <a:pt x="1214" y="0"/>
                    </a:moveTo>
                    <a:lnTo>
                      <a:pt x="2433" y="581"/>
                    </a:lnTo>
                    <a:lnTo>
                      <a:pt x="1214" y="1162"/>
                    </a:lnTo>
                    <a:lnTo>
                      <a:pt x="0" y="581"/>
                    </a:lnTo>
                    <a:lnTo>
                      <a:pt x="1214"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sp>
            <p:nvSpPr>
              <p:cNvPr id="140" name="Freeform 9"/>
              <p:cNvSpPr>
                <a:spLocks/>
              </p:cNvSpPr>
              <p:nvPr/>
            </p:nvSpPr>
            <p:spPr bwMode="auto">
              <a:xfrm>
                <a:off x="2849280" y="3824869"/>
                <a:ext cx="2109335" cy="1668088"/>
              </a:xfrm>
              <a:custGeom>
                <a:avLst/>
                <a:gdLst>
                  <a:gd name="T0" fmla="*/ 0 w 1219"/>
                  <a:gd name="T1" fmla="*/ 964 h 964"/>
                  <a:gd name="T2" fmla="*/ 1219 w 1219"/>
                  <a:gd name="T3" fmla="*/ 382 h 964"/>
                  <a:gd name="T4" fmla="*/ 1219 w 1219"/>
                  <a:gd name="T5" fmla="*/ 0 h 964"/>
                  <a:gd name="T6" fmla="*/ 0 w 1219"/>
                  <a:gd name="T7" fmla="*/ 581 h 964"/>
                  <a:gd name="T8" fmla="*/ 0 w 1219"/>
                  <a:gd name="T9" fmla="*/ 964 h 964"/>
                </a:gdLst>
                <a:ahLst/>
                <a:cxnLst>
                  <a:cxn ang="0">
                    <a:pos x="T0" y="T1"/>
                  </a:cxn>
                  <a:cxn ang="0">
                    <a:pos x="T2" y="T3"/>
                  </a:cxn>
                  <a:cxn ang="0">
                    <a:pos x="T4" y="T5"/>
                  </a:cxn>
                  <a:cxn ang="0">
                    <a:pos x="T6" y="T7"/>
                  </a:cxn>
                  <a:cxn ang="0">
                    <a:pos x="T8" y="T9"/>
                  </a:cxn>
                </a:cxnLst>
                <a:rect l="0" t="0" r="r" b="b"/>
                <a:pathLst>
                  <a:path w="1219" h="964">
                    <a:moveTo>
                      <a:pt x="0" y="964"/>
                    </a:moveTo>
                    <a:lnTo>
                      <a:pt x="1219" y="382"/>
                    </a:lnTo>
                    <a:lnTo>
                      <a:pt x="1219" y="0"/>
                    </a:lnTo>
                    <a:lnTo>
                      <a:pt x="0" y="581"/>
                    </a:lnTo>
                    <a:lnTo>
                      <a:pt x="0" y="96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sp>
            <p:nvSpPr>
              <p:cNvPr id="141" name="Freeform 10"/>
              <p:cNvSpPr>
                <a:spLocks/>
              </p:cNvSpPr>
              <p:nvPr/>
            </p:nvSpPr>
            <p:spPr bwMode="auto">
              <a:xfrm>
                <a:off x="748597" y="3824869"/>
                <a:ext cx="2100683" cy="1668088"/>
              </a:xfrm>
              <a:custGeom>
                <a:avLst/>
                <a:gdLst>
                  <a:gd name="T0" fmla="*/ 1214 w 1214"/>
                  <a:gd name="T1" fmla="*/ 964 h 964"/>
                  <a:gd name="T2" fmla="*/ 0 w 1214"/>
                  <a:gd name="T3" fmla="*/ 382 h 964"/>
                  <a:gd name="T4" fmla="*/ 0 w 1214"/>
                  <a:gd name="T5" fmla="*/ 0 h 964"/>
                  <a:gd name="T6" fmla="*/ 1214 w 1214"/>
                  <a:gd name="T7" fmla="*/ 581 h 964"/>
                  <a:gd name="T8" fmla="*/ 1214 w 1214"/>
                  <a:gd name="T9" fmla="*/ 964 h 964"/>
                </a:gdLst>
                <a:ahLst/>
                <a:cxnLst>
                  <a:cxn ang="0">
                    <a:pos x="T0" y="T1"/>
                  </a:cxn>
                  <a:cxn ang="0">
                    <a:pos x="T2" y="T3"/>
                  </a:cxn>
                  <a:cxn ang="0">
                    <a:pos x="T4" y="T5"/>
                  </a:cxn>
                  <a:cxn ang="0">
                    <a:pos x="T6" y="T7"/>
                  </a:cxn>
                  <a:cxn ang="0">
                    <a:pos x="T8" y="T9"/>
                  </a:cxn>
                </a:cxnLst>
                <a:rect l="0" t="0" r="r" b="b"/>
                <a:pathLst>
                  <a:path w="1214" h="964">
                    <a:moveTo>
                      <a:pt x="1214" y="964"/>
                    </a:moveTo>
                    <a:lnTo>
                      <a:pt x="0" y="382"/>
                    </a:lnTo>
                    <a:lnTo>
                      <a:pt x="0" y="0"/>
                    </a:lnTo>
                    <a:lnTo>
                      <a:pt x="1214" y="581"/>
                    </a:lnTo>
                    <a:lnTo>
                      <a:pt x="1214" y="96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grpSp>
        <p:grpSp>
          <p:nvGrpSpPr>
            <p:cNvPr id="120" name="Group 119"/>
            <p:cNvGrpSpPr/>
            <p:nvPr/>
          </p:nvGrpSpPr>
          <p:grpSpPr>
            <a:xfrm>
              <a:off x="3706192" y="5320864"/>
              <a:ext cx="5958587" cy="3986235"/>
              <a:chOff x="1359421" y="2660322"/>
              <a:chExt cx="2979717" cy="1993400"/>
            </a:xfrm>
          </p:grpSpPr>
          <p:sp>
            <p:nvSpPr>
              <p:cNvPr id="136" name="Freeform 11"/>
              <p:cNvSpPr>
                <a:spLocks/>
              </p:cNvSpPr>
              <p:nvPr/>
            </p:nvSpPr>
            <p:spPr bwMode="auto">
              <a:xfrm>
                <a:off x="1359421" y="2660322"/>
                <a:ext cx="2979717" cy="1424104"/>
              </a:xfrm>
              <a:custGeom>
                <a:avLst/>
                <a:gdLst>
                  <a:gd name="T0" fmla="*/ 861 w 1722"/>
                  <a:gd name="T1" fmla="*/ 0 h 823"/>
                  <a:gd name="T2" fmla="*/ 1722 w 1722"/>
                  <a:gd name="T3" fmla="*/ 411 h 823"/>
                  <a:gd name="T4" fmla="*/ 861 w 1722"/>
                  <a:gd name="T5" fmla="*/ 823 h 823"/>
                  <a:gd name="T6" fmla="*/ 0 w 1722"/>
                  <a:gd name="T7" fmla="*/ 411 h 823"/>
                  <a:gd name="T8" fmla="*/ 861 w 1722"/>
                  <a:gd name="T9" fmla="*/ 0 h 823"/>
                </a:gdLst>
                <a:ahLst/>
                <a:cxnLst>
                  <a:cxn ang="0">
                    <a:pos x="T0" y="T1"/>
                  </a:cxn>
                  <a:cxn ang="0">
                    <a:pos x="T2" y="T3"/>
                  </a:cxn>
                  <a:cxn ang="0">
                    <a:pos x="T4" y="T5"/>
                  </a:cxn>
                  <a:cxn ang="0">
                    <a:pos x="T6" y="T7"/>
                  </a:cxn>
                  <a:cxn ang="0">
                    <a:pos x="T8" y="T9"/>
                  </a:cxn>
                </a:cxnLst>
                <a:rect l="0" t="0" r="r" b="b"/>
                <a:pathLst>
                  <a:path w="1722" h="823">
                    <a:moveTo>
                      <a:pt x="861" y="0"/>
                    </a:moveTo>
                    <a:lnTo>
                      <a:pt x="1722" y="411"/>
                    </a:lnTo>
                    <a:lnTo>
                      <a:pt x="861" y="823"/>
                    </a:lnTo>
                    <a:lnTo>
                      <a:pt x="0" y="411"/>
                    </a:lnTo>
                    <a:lnTo>
                      <a:pt x="861" y="0"/>
                    </a:ln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sp>
            <p:nvSpPr>
              <p:cNvPr id="137" name="Freeform 12"/>
              <p:cNvSpPr>
                <a:spLocks/>
              </p:cNvSpPr>
              <p:nvPr/>
            </p:nvSpPr>
            <p:spPr bwMode="auto">
              <a:xfrm>
                <a:off x="2849280" y="3371509"/>
                <a:ext cx="1489858" cy="1282213"/>
              </a:xfrm>
              <a:custGeom>
                <a:avLst/>
                <a:gdLst>
                  <a:gd name="T0" fmla="*/ 0 w 861"/>
                  <a:gd name="T1" fmla="*/ 741 h 741"/>
                  <a:gd name="T2" fmla="*/ 861 w 861"/>
                  <a:gd name="T3" fmla="*/ 330 h 741"/>
                  <a:gd name="T4" fmla="*/ 861 w 861"/>
                  <a:gd name="T5" fmla="*/ 0 h 741"/>
                  <a:gd name="T6" fmla="*/ 0 w 861"/>
                  <a:gd name="T7" fmla="*/ 412 h 741"/>
                  <a:gd name="T8" fmla="*/ 0 w 861"/>
                  <a:gd name="T9" fmla="*/ 741 h 741"/>
                </a:gdLst>
                <a:ahLst/>
                <a:cxnLst>
                  <a:cxn ang="0">
                    <a:pos x="T0" y="T1"/>
                  </a:cxn>
                  <a:cxn ang="0">
                    <a:pos x="T2" y="T3"/>
                  </a:cxn>
                  <a:cxn ang="0">
                    <a:pos x="T4" y="T5"/>
                  </a:cxn>
                  <a:cxn ang="0">
                    <a:pos x="T6" y="T7"/>
                  </a:cxn>
                  <a:cxn ang="0">
                    <a:pos x="T8" y="T9"/>
                  </a:cxn>
                </a:cxnLst>
                <a:rect l="0" t="0" r="r" b="b"/>
                <a:pathLst>
                  <a:path w="861" h="741">
                    <a:moveTo>
                      <a:pt x="0" y="741"/>
                    </a:moveTo>
                    <a:lnTo>
                      <a:pt x="861" y="330"/>
                    </a:lnTo>
                    <a:lnTo>
                      <a:pt x="861" y="0"/>
                    </a:lnTo>
                    <a:lnTo>
                      <a:pt x="0" y="412"/>
                    </a:lnTo>
                    <a:lnTo>
                      <a:pt x="0" y="74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sp>
            <p:nvSpPr>
              <p:cNvPr id="138" name="Freeform 13"/>
              <p:cNvSpPr>
                <a:spLocks/>
              </p:cNvSpPr>
              <p:nvPr/>
            </p:nvSpPr>
            <p:spPr bwMode="auto">
              <a:xfrm>
                <a:off x="1359421" y="3371509"/>
                <a:ext cx="1489858" cy="1282213"/>
              </a:xfrm>
              <a:custGeom>
                <a:avLst/>
                <a:gdLst>
                  <a:gd name="T0" fmla="*/ 861 w 861"/>
                  <a:gd name="T1" fmla="*/ 741 h 741"/>
                  <a:gd name="T2" fmla="*/ 0 w 861"/>
                  <a:gd name="T3" fmla="*/ 330 h 741"/>
                  <a:gd name="T4" fmla="*/ 0 w 861"/>
                  <a:gd name="T5" fmla="*/ 0 h 741"/>
                  <a:gd name="T6" fmla="*/ 861 w 861"/>
                  <a:gd name="T7" fmla="*/ 412 h 741"/>
                  <a:gd name="T8" fmla="*/ 861 w 861"/>
                  <a:gd name="T9" fmla="*/ 741 h 741"/>
                </a:gdLst>
                <a:ahLst/>
                <a:cxnLst>
                  <a:cxn ang="0">
                    <a:pos x="T0" y="T1"/>
                  </a:cxn>
                  <a:cxn ang="0">
                    <a:pos x="T2" y="T3"/>
                  </a:cxn>
                  <a:cxn ang="0">
                    <a:pos x="T4" y="T5"/>
                  </a:cxn>
                  <a:cxn ang="0">
                    <a:pos x="T6" y="T7"/>
                  </a:cxn>
                  <a:cxn ang="0">
                    <a:pos x="T8" y="T9"/>
                  </a:cxn>
                </a:cxnLst>
                <a:rect l="0" t="0" r="r" b="b"/>
                <a:pathLst>
                  <a:path w="861" h="741">
                    <a:moveTo>
                      <a:pt x="861" y="741"/>
                    </a:moveTo>
                    <a:lnTo>
                      <a:pt x="0" y="330"/>
                    </a:lnTo>
                    <a:lnTo>
                      <a:pt x="0" y="0"/>
                    </a:lnTo>
                    <a:lnTo>
                      <a:pt x="861" y="412"/>
                    </a:lnTo>
                    <a:lnTo>
                      <a:pt x="861" y="741"/>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grpSp>
        <p:grpSp>
          <p:nvGrpSpPr>
            <p:cNvPr id="121" name="Group 120"/>
            <p:cNvGrpSpPr/>
            <p:nvPr/>
          </p:nvGrpSpPr>
          <p:grpSpPr>
            <a:xfrm>
              <a:off x="4593751" y="4590198"/>
              <a:ext cx="4200771" cy="3100405"/>
              <a:chOff x="1804129" y="2333280"/>
              <a:chExt cx="2100684" cy="1550422"/>
            </a:xfrm>
          </p:grpSpPr>
          <p:sp>
            <p:nvSpPr>
              <p:cNvPr id="133" name="Freeform 14"/>
              <p:cNvSpPr>
                <a:spLocks/>
              </p:cNvSpPr>
              <p:nvPr/>
            </p:nvSpPr>
            <p:spPr bwMode="auto">
              <a:xfrm>
                <a:off x="1804129" y="2333280"/>
                <a:ext cx="2100683" cy="1005352"/>
              </a:xfrm>
              <a:custGeom>
                <a:avLst/>
                <a:gdLst>
                  <a:gd name="T0" fmla="*/ 604 w 1214"/>
                  <a:gd name="T1" fmla="*/ 0 h 581"/>
                  <a:gd name="T2" fmla="*/ 1214 w 1214"/>
                  <a:gd name="T3" fmla="*/ 290 h 581"/>
                  <a:gd name="T4" fmla="*/ 604 w 1214"/>
                  <a:gd name="T5" fmla="*/ 581 h 581"/>
                  <a:gd name="T6" fmla="*/ 0 w 1214"/>
                  <a:gd name="T7" fmla="*/ 290 h 581"/>
                  <a:gd name="T8" fmla="*/ 604 w 1214"/>
                  <a:gd name="T9" fmla="*/ 0 h 581"/>
                </a:gdLst>
                <a:ahLst/>
                <a:cxnLst>
                  <a:cxn ang="0">
                    <a:pos x="T0" y="T1"/>
                  </a:cxn>
                  <a:cxn ang="0">
                    <a:pos x="T2" y="T3"/>
                  </a:cxn>
                  <a:cxn ang="0">
                    <a:pos x="T4" y="T5"/>
                  </a:cxn>
                  <a:cxn ang="0">
                    <a:pos x="T6" y="T7"/>
                  </a:cxn>
                  <a:cxn ang="0">
                    <a:pos x="T8" y="T9"/>
                  </a:cxn>
                </a:cxnLst>
                <a:rect l="0" t="0" r="r" b="b"/>
                <a:pathLst>
                  <a:path w="1214" h="581">
                    <a:moveTo>
                      <a:pt x="604" y="0"/>
                    </a:moveTo>
                    <a:lnTo>
                      <a:pt x="1214" y="290"/>
                    </a:lnTo>
                    <a:lnTo>
                      <a:pt x="604" y="581"/>
                    </a:lnTo>
                    <a:lnTo>
                      <a:pt x="0" y="290"/>
                    </a:lnTo>
                    <a:lnTo>
                      <a:pt x="604"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sp>
            <p:nvSpPr>
              <p:cNvPr id="134" name="Freeform 15"/>
              <p:cNvSpPr>
                <a:spLocks/>
              </p:cNvSpPr>
              <p:nvPr/>
            </p:nvSpPr>
            <p:spPr bwMode="auto">
              <a:xfrm>
                <a:off x="2849280" y="2835091"/>
                <a:ext cx="1055533" cy="1048611"/>
              </a:xfrm>
              <a:custGeom>
                <a:avLst/>
                <a:gdLst>
                  <a:gd name="T0" fmla="*/ 0 w 610"/>
                  <a:gd name="T1" fmla="*/ 606 h 606"/>
                  <a:gd name="T2" fmla="*/ 610 w 610"/>
                  <a:gd name="T3" fmla="*/ 315 h 606"/>
                  <a:gd name="T4" fmla="*/ 610 w 610"/>
                  <a:gd name="T5" fmla="*/ 0 h 606"/>
                  <a:gd name="T6" fmla="*/ 0 w 610"/>
                  <a:gd name="T7" fmla="*/ 291 h 606"/>
                  <a:gd name="T8" fmla="*/ 0 w 610"/>
                  <a:gd name="T9" fmla="*/ 606 h 606"/>
                </a:gdLst>
                <a:ahLst/>
                <a:cxnLst>
                  <a:cxn ang="0">
                    <a:pos x="T0" y="T1"/>
                  </a:cxn>
                  <a:cxn ang="0">
                    <a:pos x="T2" y="T3"/>
                  </a:cxn>
                  <a:cxn ang="0">
                    <a:pos x="T4" y="T5"/>
                  </a:cxn>
                  <a:cxn ang="0">
                    <a:pos x="T6" y="T7"/>
                  </a:cxn>
                  <a:cxn ang="0">
                    <a:pos x="T8" y="T9"/>
                  </a:cxn>
                </a:cxnLst>
                <a:rect l="0" t="0" r="r" b="b"/>
                <a:pathLst>
                  <a:path w="610" h="606">
                    <a:moveTo>
                      <a:pt x="0" y="606"/>
                    </a:moveTo>
                    <a:lnTo>
                      <a:pt x="610" y="315"/>
                    </a:lnTo>
                    <a:lnTo>
                      <a:pt x="610" y="0"/>
                    </a:lnTo>
                    <a:lnTo>
                      <a:pt x="0" y="291"/>
                    </a:lnTo>
                    <a:lnTo>
                      <a:pt x="0" y="60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sp>
            <p:nvSpPr>
              <p:cNvPr id="135" name="Freeform 16"/>
              <p:cNvSpPr>
                <a:spLocks/>
              </p:cNvSpPr>
              <p:nvPr/>
            </p:nvSpPr>
            <p:spPr bwMode="auto">
              <a:xfrm>
                <a:off x="1804129" y="2835091"/>
                <a:ext cx="1045150" cy="1048611"/>
              </a:xfrm>
              <a:custGeom>
                <a:avLst/>
                <a:gdLst>
                  <a:gd name="T0" fmla="*/ 604 w 604"/>
                  <a:gd name="T1" fmla="*/ 606 h 606"/>
                  <a:gd name="T2" fmla="*/ 0 w 604"/>
                  <a:gd name="T3" fmla="*/ 315 h 606"/>
                  <a:gd name="T4" fmla="*/ 0 w 604"/>
                  <a:gd name="T5" fmla="*/ 0 h 606"/>
                  <a:gd name="T6" fmla="*/ 604 w 604"/>
                  <a:gd name="T7" fmla="*/ 291 h 606"/>
                  <a:gd name="T8" fmla="*/ 604 w 604"/>
                  <a:gd name="T9" fmla="*/ 606 h 606"/>
                </a:gdLst>
                <a:ahLst/>
                <a:cxnLst>
                  <a:cxn ang="0">
                    <a:pos x="T0" y="T1"/>
                  </a:cxn>
                  <a:cxn ang="0">
                    <a:pos x="T2" y="T3"/>
                  </a:cxn>
                  <a:cxn ang="0">
                    <a:pos x="T4" y="T5"/>
                  </a:cxn>
                  <a:cxn ang="0">
                    <a:pos x="T6" y="T7"/>
                  </a:cxn>
                  <a:cxn ang="0">
                    <a:pos x="T8" y="T9"/>
                  </a:cxn>
                </a:cxnLst>
                <a:rect l="0" t="0" r="r" b="b"/>
                <a:pathLst>
                  <a:path w="604" h="606">
                    <a:moveTo>
                      <a:pt x="604" y="606"/>
                    </a:moveTo>
                    <a:lnTo>
                      <a:pt x="0" y="315"/>
                    </a:lnTo>
                    <a:lnTo>
                      <a:pt x="0" y="0"/>
                    </a:lnTo>
                    <a:lnTo>
                      <a:pt x="604" y="291"/>
                    </a:lnTo>
                    <a:lnTo>
                      <a:pt x="604" y="606"/>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grpSp>
        <p:grpSp>
          <p:nvGrpSpPr>
            <p:cNvPr id="122" name="Group 121"/>
            <p:cNvGrpSpPr/>
            <p:nvPr/>
          </p:nvGrpSpPr>
          <p:grpSpPr>
            <a:xfrm>
              <a:off x="4996874" y="4030181"/>
              <a:ext cx="3380685" cy="2346064"/>
              <a:chOff x="2004854" y="2014890"/>
              <a:chExt cx="1690583" cy="1173199"/>
            </a:xfrm>
          </p:grpSpPr>
          <p:sp>
            <p:nvSpPr>
              <p:cNvPr id="131" name="Freeform 17"/>
              <p:cNvSpPr>
                <a:spLocks/>
              </p:cNvSpPr>
              <p:nvPr/>
            </p:nvSpPr>
            <p:spPr bwMode="auto">
              <a:xfrm>
                <a:off x="2004854" y="2014890"/>
                <a:ext cx="1690583" cy="1173199"/>
              </a:xfrm>
              <a:custGeom>
                <a:avLst/>
                <a:gdLst>
                  <a:gd name="T0" fmla="*/ 488 w 977"/>
                  <a:gd name="T1" fmla="*/ 0 h 678"/>
                  <a:gd name="T2" fmla="*/ 977 w 977"/>
                  <a:gd name="T3" fmla="*/ 445 h 678"/>
                  <a:gd name="T4" fmla="*/ 488 w 977"/>
                  <a:gd name="T5" fmla="*/ 678 h 678"/>
                  <a:gd name="T6" fmla="*/ 0 w 977"/>
                  <a:gd name="T7" fmla="*/ 445 h 678"/>
                  <a:gd name="T8" fmla="*/ 488 w 977"/>
                  <a:gd name="T9" fmla="*/ 0 h 678"/>
                </a:gdLst>
                <a:ahLst/>
                <a:cxnLst>
                  <a:cxn ang="0">
                    <a:pos x="T0" y="T1"/>
                  </a:cxn>
                  <a:cxn ang="0">
                    <a:pos x="T2" y="T3"/>
                  </a:cxn>
                  <a:cxn ang="0">
                    <a:pos x="T4" y="T5"/>
                  </a:cxn>
                  <a:cxn ang="0">
                    <a:pos x="T6" y="T7"/>
                  </a:cxn>
                  <a:cxn ang="0">
                    <a:pos x="T8" y="T9"/>
                  </a:cxn>
                </a:cxnLst>
                <a:rect l="0" t="0" r="r" b="b"/>
                <a:pathLst>
                  <a:path w="977" h="678">
                    <a:moveTo>
                      <a:pt x="488" y="0"/>
                    </a:moveTo>
                    <a:lnTo>
                      <a:pt x="977" y="445"/>
                    </a:lnTo>
                    <a:lnTo>
                      <a:pt x="488" y="678"/>
                    </a:lnTo>
                    <a:lnTo>
                      <a:pt x="0" y="445"/>
                    </a:lnTo>
                    <a:lnTo>
                      <a:pt x="488"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sp>
            <p:nvSpPr>
              <p:cNvPr id="132" name="Freeform 18"/>
              <p:cNvSpPr>
                <a:spLocks/>
              </p:cNvSpPr>
              <p:nvPr/>
            </p:nvSpPr>
            <p:spPr bwMode="auto">
              <a:xfrm>
                <a:off x="2004854" y="2014890"/>
                <a:ext cx="844426" cy="1173199"/>
              </a:xfrm>
              <a:custGeom>
                <a:avLst/>
                <a:gdLst>
                  <a:gd name="T0" fmla="*/ 488 w 488"/>
                  <a:gd name="T1" fmla="*/ 0 h 678"/>
                  <a:gd name="T2" fmla="*/ 488 w 488"/>
                  <a:gd name="T3" fmla="*/ 678 h 678"/>
                  <a:gd name="T4" fmla="*/ 0 w 488"/>
                  <a:gd name="T5" fmla="*/ 445 h 678"/>
                  <a:gd name="T6" fmla="*/ 488 w 488"/>
                  <a:gd name="T7" fmla="*/ 0 h 678"/>
                </a:gdLst>
                <a:ahLst/>
                <a:cxnLst>
                  <a:cxn ang="0">
                    <a:pos x="T0" y="T1"/>
                  </a:cxn>
                  <a:cxn ang="0">
                    <a:pos x="T2" y="T3"/>
                  </a:cxn>
                  <a:cxn ang="0">
                    <a:pos x="T4" y="T5"/>
                  </a:cxn>
                  <a:cxn ang="0">
                    <a:pos x="T6" y="T7"/>
                  </a:cxn>
                </a:cxnLst>
                <a:rect l="0" t="0" r="r" b="b"/>
                <a:pathLst>
                  <a:path w="488" h="678">
                    <a:moveTo>
                      <a:pt x="488" y="0"/>
                    </a:moveTo>
                    <a:lnTo>
                      <a:pt x="488" y="678"/>
                    </a:lnTo>
                    <a:lnTo>
                      <a:pt x="0" y="445"/>
                    </a:lnTo>
                    <a:lnTo>
                      <a:pt x="488" y="0"/>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1433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Heiti SC Light" charset="-122"/>
                  <a:cs typeface="+mn-cs"/>
                  <a:sym typeface="Gill Sans" charset="0"/>
                </a:endParaRPr>
              </a:p>
            </p:txBody>
          </p:sp>
        </p:grpSp>
        <p:sp>
          <p:nvSpPr>
            <p:cNvPr id="123" name="TextBox 122"/>
            <p:cNvSpPr txBox="1"/>
            <p:nvPr/>
          </p:nvSpPr>
          <p:spPr>
            <a:xfrm rot="20077867">
              <a:off x="7399446" y="10430611"/>
              <a:ext cx="3931206" cy="677108"/>
            </a:xfrm>
            <a:prstGeom prst="rect">
              <a:avLst/>
            </a:prstGeom>
            <a:noFill/>
          </p:spPr>
          <p:txBody>
            <a:bodyPr wrap="none" rtlCol="0">
              <a:spAutoFit/>
            </a:bodyPr>
            <a:lstStyle/>
            <a:p>
              <a:pPr marL="0" marR="0" lvl="0" indent="0" algn="l" defTabSz="91433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Calibri Light" panose="020F0302020204030204"/>
                  <a:ea typeface="Heiti SC Light" charset="-122"/>
                  <a:cs typeface="+mn-cs"/>
                  <a:sym typeface="Gill Sans" charset="0"/>
                </a:rPr>
                <a:t>Commodity Hardware</a:t>
              </a:r>
            </a:p>
          </p:txBody>
        </p:sp>
        <p:sp>
          <p:nvSpPr>
            <p:cNvPr id="124" name="TextBox 123"/>
            <p:cNvSpPr txBox="1"/>
            <p:nvPr/>
          </p:nvSpPr>
          <p:spPr>
            <a:xfrm rot="20077867">
              <a:off x="6631032" y="9109523"/>
              <a:ext cx="4431342" cy="646330"/>
            </a:xfrm>
            <a:prstGeom prst="rect">
              <a:avLst/>
            </a:prstGeom>
            <a:noFill/>
          </p:spPr>
          <p:txBody>
            <a:bodyPr wrap="none" rtlCol="0">
              <a:spAutoFit/>
            </a:bodyPr>
            <a:lstStyle/>
            <a:p>
              <a:pPr marL="0" marR="0" lvl="0" indent="0" algn="l" defTabSz="91433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black"/>
                  </a:solidFill>
                  <a:effectLst/>
                  <a:uLnTx/>
                  <a:uFillTx/>
                  <a:latin typeface="Calibri Light" panose="020F0302020204030204"/>
                  <a:ea typeface="Heiti SC Light" charset="-122"/>
                  <a:cs typeface="+mn-cs"/>
                  <a:sym typeface="Gill Sans" charset="0"/>
                </a:rPr>
                <a:t>Fine grained multi-tenancy</a:t>
              </a:r>
            </a:p>
          </p:txBody>
        </p:sp>
        <p:sp>
          <p:nvSpPr>
            <p:cNvPr id="125" name="TextBox 124"/>
            <p:cNvSpPr txBox="1"/>
            <p:nvPr/>
          </p:nvSpPr>
          <p:spPr>
            <a:xfrm rot="20077867">
              <a:off x="6703258" y="7501846"/>
              <a:ext cx="2943756" cy="1046440"/>
            </a:xfrm>
            <a:prstGeom prst="rect">
              <a:avLst/>
            </a:prstGeom>
            <a:noFill/>
          </p:spPr>
          <p:txBody>
            <a:bodyPr wrap="none" rtlCol="0">
              <a:spAutoFit/>
            </a:bodyPr>
            <a:lstStyle/>
            <a:p>
              <a:pPr marL="0" marR="0" lvl="0" indent="0" algn="ctr" defTabSz="91433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Calibri Light" panose="020F0302020204030204"/>
                  <a:ea typeface="Heiti SC Light" charset="-122"/>
                  <a:cs typeface="+mn-cs"/>
                  <a:sym typeface="Gill Sans" charset="0"/>
                </a:rPr>
                <a:t>Adaptive resource</a:t>
              </a:r>
            </a:p>
            <a:p>
              <a:pPr marL="0" marR="0" lvl="0" indent="0" algn="ctr" defTabSz="91433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Calibri Light" panose="020F0302020204030204"/>
                  <a:ea typeface="Heiti SC Light" charset="-122"/>
                  <a:cs typeface="+mn-cs"/>
                  <a:sym typeface="Gill Sans" charset="0"/>
                </a:rPr>
                <a:t>governance</a:t>
              </a:r>
            </a:p>
          </p:txBody>
        </p:sp>
        <p:sp>
          <p:nvSpPr>
            <p:cNvPr id="126" name="TextBox 125"/>
            <p:cNvSpPr txBox="1"/>
            <p:nvPr/>
          </p:nvSpPr>
          <p:spPr>
            <a:xfrm rot="20077867">
              <a:off x="6211376" y="6063012"/>
              <a:ext cx="3347030" cy="984886"/>
            </a:xfrm>
            <a:prstGeom prst="rect">
              <a:avLst/>
            </a:prstGeom>
            <a:noFill/>
          </p:spPr>
          <p:txBody>
            <a:bodyPr wrap="square" rtlCol="0">
              <a:spAutoFit/>
            </a:bodyPr>
            <a:lstStyle/>
            <a:p>
              <a:pPr marL="0" marR="0" lvl="0" indent="0" algn="ctr" defTabSz="91433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black"/>
                  </a:solidFill>
                  <a:effectLst/>
                  <a:uLnTx/>
                  <a:uFillTx/>
                  <a:latin typeface="Calibri Light" panose="020F0302020204030204"/>
                  <a:ea typeface="Heiti SC Light" charset="-122"/>
                  <a:cs typeface="+mn-cs"/>
                  <a:sym typeface="Gill Sans" charset="0"/>
                </a:rPr>
                <a:t>Performance </a:t>
              </a:r>
            </a:p>
            <a:p>
              <a:pPr marL="0" marR="0" lvl="0" indent="0" algn="ctr" defTabSz="91433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black"/>
                  </a:solidFill>
                  <a:effectLst/>
                  <a:uLnTx/>
                  <a:uFillTx/>
                  <a:latin typeface="Calibri Light" panose="020F0302020204030204"/>
                  <a:ea typeface="Heiti SC Light" charset="-122"/>
                  <a:cs typeface="+mn-cs"/>
                  <a:sym typeface="Gill Sans" charset="0"/>
                </a:rPr>
                <a:t>isolation</a:t>
              </a:r>
            </a:p>
          </p:txBody>
        </p:sp>
        <p:sp>
          <p:nvSpPr>
            <p:cNvPr id="128" name="Left Brace 127"/>
            <p:cNvSpPr/>
            <p:nvPr/>
          </p:nvSpPr>
          <p:spPr>
            <a:xfrm>
              <a:off x="659196" y="4666874"/>
              <a:ext cx="882464" cy="6078085"/>
            </a:xfrm>
            <a:prstGeom prst="leftBrace">
              <a:avLst>
                <a:gd name="adj1" fmla="val 39060"/>
                <a:gd name="adj2"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48" rtl="0" eaLnBrk="1" fontAlgn="auto" latinLnBrk="0" hangingPunct="1">
                <a:lnSpc>
                  <a:spcPct val="100000"/>
                </a:lnSpc>
                <a:spcBef>
                  <a:spcPts val="0"/>
                </a:spcBef>
                <a:spcAft>
                  <a:spcPts val="0"/>
                </a:spcAft>
                <a:buClrTx/>
                <a:buSzTx/>
                <a:buFontTx/>
                <a:buNone/>
                <a:tabLst/>
                <a:defRPr/>
              </a:pPr>
              <a:endParaRPr kumimoji="0" lang="en-US" sz="1298" b="0" i="0" u="none" strike="noStrike" kern="1200" cap="none" spc="0" normalizeH="0" baseline="0" noProof="0">
                <a:ln>
                  <a:noFill/>
                </a:ln>
                <a:solidFill>
                  <a:prstClr val="black"/>
                </a:solidFill>
                <a:effectLst/>
                <a:uLnTx/>
                <a:uFillTx/>
                <a:latin typeface="Calibri" panose="020F0502020204030204"/>
                <a:ea typeface="+mn-ea"/>
                <a:cs typeface="+mn-cs"/>
                <a:sym typeface="Gill Sans" charset="0"/>
              </a:endParaRPr>
            </a:p>
          </p:txBody>
        </p:sp>
      </p:grpSp>
    </p:spTree>
    <p:custDataLst>
      <p:tags r:id="rId1"/>
    </p:custDataLst>
    <p:extLst>
      <p:ext uri="{BB962C8B-B14F-4D97-AF65-F5344CB8AC3E}">
        <p14:creationId xmlns:p14="http://schemas.microsoft.com/office/powerpoint/2010/main" val="1988134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extBox 101">
            <a:extLst>
              <a:ext uri="{FF2B5EF4-FFF2-40B4-BE49-F238E27FC236}">
                <a16:creationId xmlns:a16="http://schemas.microsoft.com/office/drawing/2014/main" id="{AD9C9A99-5A34-48F0-8113-90B132EF6B58}"/>
              </a:ext>
            </a:extLst>
          </p:cNvPr>
          <p:cNvSpPr txBox="1"/>
          <p:nvPr/>
        </p:nvSpPr>
        <p:spPr>
          <a:xfrm>
            <a:off x="7190120" y="1974277"/>
            <a:ext cx="1141366"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a:ea typeface="+mn-ea"/>
                <a:cs typeface="+mn-cs"/>
              </a:rPr>
              <a:t>MongoDB</a:t>
            </a:r>
          </a:p>
        </p:txBody>
      </p:sp>
      <p:grpSp>
        <p:nvGrpSpPr>
          <p:cNvPr id="14" name="Group 13">
            <a:extLst>
              <a:ext uri="{FF2B5EF4-FFF2-40B4-BE49-F238E27FC236}">
                <a16:creationId xmlns:a16="http://schemas.microsoft.com/office/drawing/2014/main" id="{3E4BEB5F-9BD8-4935-BB62-0304D488C247}"/>
              </a:ext>
            </a:extLst>
          </p:cNvPr>
          <p:cNvGrpSpPr/>
          <p:nvPr/>
        </p:nvGrpSpPr>
        <p:grpSpPr>
          <a:xfrm>
            <a:off x="2033879" y="2236638"/>
            <a:ext cx="1294027" cy="440630"/>
            <a:chOff x="1880903" y="2175418"/>
            <a:chExt cx="1294027" cy="440630"/>
          </a:xfrm>
        </p:grpSpPr>
        <p:sp>
          <p:nvSpPr>
            <p:cNvPr id="97" name="TextBox 96">
              <a:extLst>
                <a:ext uri="{FF2B5EF4-FFF2-40B4-BE49-F238E27FC236}">
                  <a16:creationId xmlns:a16="http://schemas.microsoft.com/office/drawing/2014/main" id="{35A063E9-CB90-4236-B361-2F2CD4DC928E}"/>
                </a:ext>
              </a:extLst>
            </p:cNvPr>
            <p:cNvSpPr txBox="1"/>
            <p:nvPr/>
          </p:nvSpPr>
          <p:spPr>
            <a:xfrm>
              <a:off x="2371761" y="2257234"/>
              <a:ext cx="803169"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light"/>
                  <a:ea typeface="+mn-ea"/>
                  <a:cs typeface="+mn-cs"/>
                </a:rPr>
                <a:t>Table API</a:t>
              </a:r>
            </a:p>
          </p:txBody>
        </p:sp>
        <p:grpSp>
          <p:nvGrpSpPr>
            <p:cNvPr id="98" name="Group 97">
              <a:extLst>
                <a:ext uri="{FF2B5EF4-FFF2-40B4-BE49-F238E27FC236}">
                  <a16:creationId xmlns:a16="http://schemas.microsoft.com/office/drawing/2014/main" id="{8DF0A600-1E3D-45BA-AB34-E214FCAD0B42}"/>
                </a:ext>
              </a:extLst>
            </p:cNvPr>
            <p:cNvGrpSpPr/>
            <p:nvPr/>
          </p:nvGrpSpPr>
          <p:grpSpPr>
            <a:xfrm>
              <a:off x="1880903" y="2175418"/>
              <a:ext cx="494130" cy="440630"/>
              <a:chOff x="8276702" y="3303923"/>
              <a:chExt cx="657427" cy="586247"/>
            </a:xfrm>
          </p:grpSpPr>
          <p:sp>
            <p:nvSpPr>
              <p:cNvPr id="110" name="Hexagon 109">
                <a:extLst>
                  <a:ext uri="{FF2B5EF4-FFF2-40B4-BE49-F238E27FC236}">
                    <a16:creationId xmlns:a16="http://schemas.microsoft.com/office/drawing/2014/main" id="{893C08C3-7368-49EF-9C5B-BD3107C05B57}"/>
                  </a:ext>
                </a:extLst>
              </p:cNvPr>
              <p:cNvSpPr/>
              <p:nvPr/>
            </p:nvSpPr>
            <p:spPr bwMode="auto">
              <a:xfrm>
                <a:off x="8276702" y="3303923"/>
                <a:ext cx="657427" cy="586247"/>
              </a:xfrm>
              <a:prstGeom prst="hexagon">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B75321ED-7A48-4CB8-907A-E111F192E680}"/>
                  </a:ext>
                </a:extLst>
              </p:cNvPr>
              <p:cNvGrpSpPr/>
              <p:nvPr/>
            </p:nvGrpSpPr>
            <p:grpSpPr>
              <a:xfrm>
                <a:off x="8435042" y="3437010"/>
                <a:ext cx="340743" cy="339628"/>
                <a:chOff x="9378226" y="3437014"/>
                <a:chExt cx="340743" cy="339628"/>
              </a:xfrm>
            </p:grpSpPr>
            <p:sp>
              <p:nvSpPr>
                <p:cNvPr id="112" name="Freeform: Shape 111">
                  <a:extLst>
                    <a:ext uri="{FF2B5EF4-FFF2-40B4-BE49-F238E27FC236}">
                      <a16:creationId xmlns:a16="http://schemas.microsoft.com/office/drawing/2014/main" id="{1B07B418-F5C7-4605-8FC5-F3EA20F39B4F}"/>
                    </a:ext>
                  </a:extLst>
                </p:cNvPr>
                <p:cNvSpPr/>
                <p:nvPr/>
              </p:nvSpPr>
              <p:spPr bwMode="auto">
                <a:xfrm>
                  <a:off x="9378226" y="3437014"/>
                  <a:ext cx="340743" cy="339628"/>
                </a:xfrm>
                <a:custGeom>
                  <a:avLst/>
                  <a:gdLst>
                    <a:gd name="connsiteX0" fmla="*/ 0 w 340743"/>
                    <a:gd name="connsiteY0" fmla="*/ 0 h 339628"/>
                    <a:gd name="connsiteX1" fmla="*/ 22958 w 340743"/>
                    <a:gd name="connsiteY1" fmla="*/ 0 h 339628"/>
                    <a:gd name="connsiteX2" fmla="*/ 22958 w 340743"/>
                    <a:gd name="connsiteY2" fmla="*/ 316670 h 339628"/>
                    <a:gd name="connsiteX3" fmla="*/ 340743 w 340743"/>
                    <a:gd name="connsiteY3" fmla="*/ 316670 h 339628"/>
                    <a:gd name="connsiteX4" fmla="*/ 340743 w 340743"/>
                    <a:gd name="connsiteY4" fmla="*/ 339628 h 339628"/>
                    <a:gd name="connsiteX5" fmla="*/ 0 w 340743"/>
                    <a:gd name="connsiteY5" fmla="*/ 339628 h 339628"/>
                    <a:gd name="connsiteX6" fmla="*/ 0 w 340743"/>
                    <a:gd name="connsiteY6" fmla="*/ 0 h 339628"/>
                    <a:gd name="connsiteX0" fmla="*/ 0 w 340743"/>
                    <a:gd name="connsiteY0" fmla="*/ 0 h 339628"/>
                    <a:gd name="connsiteX1" fmla="*/ 22958 w 340743"/>
                    <a:gd name="connsiteY1" fmla="*/ 0 h 339628"/>
                    <a:gd name="connsiteX2" fmla="*/ 340743 w 340743"/>
                    <a:gd name="connsiteY2" fmla="*/ 316670 h 339628"/>
                    <a:gd name="connsiteX3" fmla="*/ 340743 w 340743"/>
                    <a:gd name="connsiteY3" fmla="*/ 339628 h 339628"/>
                    <a:gd name="connsiteX4" fmla="*/ 0 w 340743"/>
                    <a:gd name="connsiteY4" fmla="*/ 339628 h 339628"/>
                    <a:gd name="connsiteX5" fmla="*/ 0 w 340743"/>
                    <a:gd name="connsiteY5" fmla="*/ 0 h 339628"/>
                    <a:gd name="connsiteX0" fmla="*/ 22958 w 340743"/>
                    <a:gd name="connsiteY0" fmla="*/ 0 h 339628"/>
                    <a:gd name="connsiteX1" fmla="*/ 340743 w 340743"/>
                    <a:gd name="connsiteY1" fmla="*/ 316670 h 339628"/>
                    <a:gd name="connsiteX2" fmla="*/ 340743 w 340743"/>
                    <a:gd name="connsiteY2" fmla="*/ 339628 h 339628"/>
                    <a:gd name="connsiteX3" fmla="*/ 0 w 340743"/>
                    <a:gd name="connsiteY3" fmla="*/ 339628 h 339628"/>
                    <a:gd name="connsiteX4" fmla="*/ 0 w 340743"/>
                    <a:gd name="connsiteY4" fmla="*/ 0 h 339628"/>
                    <a:gd name="connsiteX5" fmla="*/ 114398 w 340743"/>
                    <a:gd name="connsiteY5"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4" fmla="*/ 114398 w 340743"/>
                    <a:gd name="connsiteY4" fmla="*/ 91440 h 339628"/>
                    <a:gd name="connsiteX0" fmla="*/ 340743 w 340743"/>
                    <a:gd name="connsiteY0" fmla="*/ 316670 h 339628"/>
                    <a:gd name="connsiteX1" fmla="*/ 340743 w 340743"/>
                    <a:gd name="connsiteY1" fmla="*/ 339628 h 339628"/>
                    <a:gd name="connsiteX2" fmla="*/ 0 w 340743"/>
                    <a:gd name="connsiteY2" fmla="*/ 339628 h 339628"/>
                    <a:gd name="connsiteX3" fmla="*/ 0 w 340743"/>
                    <a:gd name="connsiteY3" fmla="*/ 0 h 339628"/>
                    <a:gd name="connsiteX0" fmla="*/ 340743 w 340743"/>
                    <a:gd name="connsiteY0" fmla="*/ 339628 h 339628"/>
                    <a:gd name="connsiteX1" fmla="*/ 0 w 340743"/>
                    <a:gd name="connsiteY1" fmla="*/ 339628 h 339628"/>
                    <a:gd name="connsiteX2" fmla="*/ 0 w 340743"/>
                    <a:gd name="connsiteY2" fmla="*/ 0 h 339628"/>
                  </a:gdLst>
                  <a:ahLst/>
                  <a:cxnLst>
                    <a:cxn ang="0">
                      <a:pos x="connsiteX0" y="connsiteY0"/>
                    </a:cxn>
                    <a:cxn ang="0">
                      <a:pos x="connsiteX1" y="connsiteY1"/>
                    </a:cxn>
                    <a:cxn ang="0">
                      <a:pos x="connsiteX2" y="connsiteY2"/>
                    </a:cxn>
                  </a:cxnLst>
                  <a:rect l="l" t="t" r="r" b="b"/>
                  <a:pathLst>
                    <a:path w="340743" h="339628">
                      <a:moveTo>
                        <a:pt x="340743" y="339628"/>
                      </a:moveTo>
                      <a:lnTo>
                        <a:pt x="0" y="339628"/>
                      </a:lnTo>
                      <a:lnTo>
                        <a:pt x="0" y="0"/>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3" name="Freeform: Shape 112">
                  <a:extLst>
                    <a:ext uri="{FF2B5EF4-FFF2-40B4-BE49-F238E27FC236}">
                      <a16:creationId xmlns:a16="http://schemas.microsoft.com/office/drawing/2014/main" id="{EB7D221E-192B-4F8E-9759-1AFBC03445DC}"/>
                    </a:ext>
                  </a:extLst>
                </p:cNvPr>
                <p:cNvSpPr/>
                <p:nvPr/>
              </p:nvSpPr>
              <p:spPr bwMode="auto">
                <a:xfrm>
                  <a:off x="9426825"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4" name="Freeform: Shape 113">
                  <a:extLst>
                    <a:ext uri="{FF2B5EF4-FFF2-40B4-BE49-F238E27FC236}">
                      <a16:creationId xmlns:a16="http://schemas.microsoft.com/office/drawing/2014/main" id="{F54A1402-E5E4-4B69-8FC4-75C572454368}"/>
                    </a:ext>
                  </a:extLst>
                </p:cNvPr>
                <p:cNvSpPr/>
                <p:nvPr/>
              </p:nvSpPr>
              <p:spPr bwMode="auto">
                <a:xfrm>
                  <a:off x="9531227"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0" name="Freeform: Shape 119">
                  <a:extLst>
                    <a:ext uri="{FF2B5EF4-FFF2-40B4-BE49-F238E27FC236}">
                      <a16:creationId xmlns:a16="http://schemas.microsoft.com/office/drawing/2014/main" id="{5F803BA7-9545-46A5-ACBF-9B2F683CB371}"/>
                    </a:ext>
                  </a:extLst>
                </p:cNvPr>
                <p:cNvSpPr/>
                <p:nvPr/>
              </p:nvSpPr>
              <p:spPr bwMode="auto">
                <a:xfrm>
                  <a:off x="9635629" y="3453755"/>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Freeform: Shape 120">
                  <a:extLst>
                    <a:ext uri="{FF2B5EF4-FFF2-40B4-BE49-F238E27FC236}">
                      <a16:creationId xmlns:a16="http://schemas.microsoft.com/office/drawing/2014/main" id="{A0047B6C-78AF-4D71-97FD-B943AD196E6C}"/>
                    </a:ext>
                  </a:extLst>
                </p:cNvPr>
                <p:cNvSpPr/>
                <p:nvPr/>
              </p:nvSpPr>
              <p:spPr bwMode="auto">
                <a:xfrm>
                  <a:off x="9426825"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2" name="Freeform: Shape 121">
                  <a:extLst>
                    <a:ext uri="{FF2B5EF4-FFF2-40B4-BE49-F238E27FC236}">
                      <a16:creationId xmlns:a16="http://schemas.microsoft.com/office/drawing/2014/main" id="{46EB0FF6-ADAE-4DC5-854E-F2A388689ADC}"/>
                    </a:ext>
                  </a:extLst>
                </p:cNvPr>
                <p:cNvSpPr/>
                <p:nvPr/>
              </p:nvSpPr>
              <p:spPr bwMode="auto">
                <a:xfrm>
                  <a:off x="9531227"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3" name="Freeform: Shape 122">
                  <a:extLst>
                    <a:ext uri="{FF2B5EF4-FFF2-40B4-BE49-F238E27FC236}">
                      <a16:creationId xmlns:a16="http://schemas.microsoft.com/office/drawing/2014/main" id="{EEAAFFFE-7D34-4A7C-9998-6CD6355D29A9}"/>
                    </a:ext>
                  </a:extLst>
                </p:cNvPr>
                <p:cNvSpPr/>
                <p:nvPr/>
              </p:nvSpPr>
              <p:spPr bwMode="auto">
                <a:xfrm>
                  <a:off x="9635629" y="3557977"/>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4" name="Freeform: Shape 123">
                  <a:extLst>
                    <a:ext uri="{FF2B5EF4-FFF2-40B4-BE49-F238E27FC236}">
                      <a16:creationId xmlns:a16="http://schemas.microsoft.com/office/drawing/2014/main" id="{FE206180-0025-485B-BD55-C48E5554A010}"/>
                    </a:ext>
                  </a:extLst>
                </p:cNvPr>
                <p:cNvSpPr/>
                <p:nvPr/>
              </p:nvSpPr>
              <p:spPr bwMode="auto">
                <a:xfrm>
                  <a:off x="9426825"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 name="Freeform: Shape 124">
                  <a:extLst>
                    <a:ext uri="{FF2B5EF4-FFF2-40B4-BE49-F238E27FC236}">
                      <a16:creationId xmlns:a16="http://schemas.microsoft.com/office/drawing/2014/main" id="{8A0B64E8-521F-4F06-B5A5-4318A58FC204}"/>
                    </a:ext>
                  </a:extLst>
                </p:cNvPr>
                <p:cNvSpPr/>
                <p:nvPr/>
              </p:nvSpPr>
              <p:spPr bwMode="auto">
                <a:xfrm>
                  <a:off x="9531227"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6" name="Freeform: Shape 125">
                  <a:extLst>
                    <a:ext uri="{FF2B5EF4-FFF2-40B4-BE49-F238E27FC236}">
                      <a16:creationId xmlns:a16="http://schemas.microsoft.com/office/drawing/2014/main" id="{67C32281-2BC6-4D60-9EBD-569D4BE289E4}"/>
                    </a:ext>
                  </a:extLst>
                </p:cNvPr>
                <p:cNvSpPr/>
                <p:nvPr/>
              </p:nvSpPr>
              <p:spPr bwMode="auto">
                <a:xfrm>
                  <a:off x="9635629" y="3662200"/>
                  <a:ext cx="69263" cy="69263"/>
                </a:xfrm>
                <a:custGeom>
                  <a:avLst/>
                  <a:gdLst>
                    <a:gd name="connsiteX0" fmla="*/ 0 w 83808"/>
                    <a:gd name="connsiteY0" fmla="*/ 0 h 83808"/>
                    <a:gd name="connsiteX1" fmla="*/ 83808 w 83808"/>
                    <a:gd name="connsiteY1" fmla="*/ 0 h 83808"/>
                    <a:gd name="connsiteX2" fmla="*/ 83808 w 83808"/>
                    <a:gd name="connsiteY2" fmla="*/ 83808 h 83808"/>
                    <a:gd name="connsiteX3" fmla="*/ 0 w 83808"/>
                    <a:gd name="connsiteY3" fmla="*/ 83808 h 83808"/>
                    <a:gd name="connsiteX4" fmla="*/ 0 w 83808"/>
                    <a:gd name="connsiteY4" fmla="*/ 0 h 83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8" h="83808">
                      <a:moveTo>
                        <a:pt x="0" y="0"/>
                      </a:moveTo>
                      <a:lnTo>
                        <a:pt x="83808" y="0"/>
                      </a:lnTo>
                      <a:lnTo>
                        <a:pt x="83808" y="83808"/>
                      </a:lnTo>
                      <a:lnTo>
                        <a:pt x="0" y="83808"/>
                      </a:lnTo>
                      <a:lnTo>
                        <a:pt x="0"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pic>
        <p:nvPicPr>
          <p:cNvPr id="15" name="Picture 14">
            <a:extLst>
              <a:ext uri="{FF2B5EF4-FFF2-40B4-BE49-F238E27FC236}">
                <a16:creationId xmlns:a16="http://schemas.microsoft.com/office/drawing/2014/main" id="{73154DFE-BA73-41E3-900B-523E95F2638C}"/>
              </a:ext>
            </a:extLst>
          </p:cNvPr>
          <p:cNvPicPr>
            <a:picLocks noChangeAspect="1"/>
          </p:cNvPicPr>
          <p:nvPr/>
        </p:nvPicPr>
        <p:blipFill rotWithShape="1">
          <a:blip r:embed="rId3"/>
          <a:srcRect b="68768"/>
          <a:stretch/>
        </p:blipFill>
        <p:spPr>
          <a:xfrm>
            <a:off x="1133426" y="5547982"/>
            <a:ext cx="9925148" cy="1310018"/>
          </a:xfrm>
          <a:prstGeom prst="rect">
            <a:avLst/>
          </a:prstGeom>
        </p:spPr>
      </p:pic>
      <p:sp>
        <p:nvSpPr>
          <p:cNvPr id="100" name="Freeform: Shape 99"/>
          <p:cNvSpPr/>
          <p:nvPr/>
        </p:nvSpPr>
        <p:spPr>
          <a:xfrm>
            <a:off x="1349" y="51124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99"/>
          <p:cNvSpPr/>
          <p:nvPr/>
        </p:nvSpPr>
        <p:spPr>
          <a:xfrm>
            <a:off x="0" y="2593251"/>
            <a:ext cx="12189302"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solidFill>
            <a:schemeClr val="bg1">
              <a:alpha val="15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99"/>
          <p:cNvSpPr/>
          <p:nvPr/>
        </p:nvSpPr>
        <p:spPr>
          <a:xfrm>
            <a:off x="0" y="3990142"/>
            <a:ext cx="12192000" cy="186973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5907680 w 11815361"/>
              <a:gd name="connsiteY0" fmla="*/ 0 h 2198420"/>
              <a:gd name="connsiteX1" fmla="*/ 11747164 w 11815361"/>
              <a:gd name="connsiteY1" fmla="*/ 1675322 h 2198420"/>
              <a:gd name="connsiteX2" fmla="*/ 11815361 w 11815361"/>
              <a:gd name="connsiteY2" fmla="*/ 1745574 h 2198420"/>
              <a:gd name="connsiteX3" fmla="*/ 5076737 w 11815361"/>
              <a:gd name="connsiteY3" fmla="*/ 2198420 h 2198420"/>
              <a:gd name="connsiteX4" fmla="*/ 0 w 11815361"/>
              <a:gd name="connsiteY4" fmla="*/ 1745574 h 2198420"/>
              <a:gd name="connsiteX5" fmla="*/ 68197 w 11815361"/>
              <a:gd name="connsiteY5" fmla="*/ 1675322 h 2198420"/>
              <a:gd name="connsiteX6" fmla="*/ 5907680 w 11815361"/>
              <a:gd name="connsiteY6" fmla="*/ 0 h 2198420"/>
              <a:gd name="connsiteX0" fmla="*/ 5076737 w 11815361"/>
              <a:gd name="connsiteY0" fmla="*/ 2198420 h 2289860"/>
              <a:gd name="connsiteX1" fmla="*/ 0 w 11815361"/>
              <a:gd name="connsiteY1" fmla="*/ 1745574 h 2289860"/>
              <a:gd name="connsiteX2" fmla="*/ 68197 w 11815361"/>
              <a:gd name="connsiteY2" fmla="*/ 1675322 h 2289860"/>
              <a:gd name="connsiteX3" fmla="*/ 5907680 w 11815361"/>
              <a:gd name="connsiteY3" fmla="*/ 0 h 2289860"/>
              <a:gd name="connsiteX4" fmla="*/ 11747164 w 11815361"/>
              <a:gd name="connsiteY4" fmla="*/ 1675322 h 2289860"/>
              <a:gd name="connsiteX5" fmla="*/ 11815361 w 11815361"/>
              <a:gd name="connsiteY5" fmla="*/ 1745574 h 2289860"/>
              <a:gd name="connsiteX6" fmla="*/ 5165372 w 11815361"/>
              <a:gd name="connsiteY6" fmla="*/ 2289860 h 2289860"/>
              <a:gd name="connsiteX0" fmla="*/ 5076737 w 11815361"/>
              <a:gd name="connsiteY0" fmla="*/ 2198420 h 2198420"/>
              <a:gd name="connsiteX1" fmla="*/ 0 w 11815361"/>
              <a:gd name="connsiteY1" fmla="*/ 1745574 h 2198420"/>
              <a:gd name="connsiteX2" fmla="*/ 68197 w 11815361"/>
              <a:gd name="connsiteY2" fmla="*/ 1675322 h 2198420"/>
              <a:gd name="connsiteX3" fmla="*/ 5907680 w 11815361"/>
              <a:gd name="connsiteY3" fmla="*/ 0 h 2198420"/>
              <a:gd name="connsiteX4" fmla="*/ 11747164 w 11815361"/>
              <a:gd name="connsiteY4" fmla="*/ 1675322 h 2198420"/>
              <a:gd name="connsiteX5" fmla="*/ 11815361 w 11815361"/>
              <a:gd name="connsiteY5" fmla="*/ 1745574 h 219842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p:cNvGrpSpPr/>
          <p:nvPr/>
        </p:nvGrpSpPr>
        <p:grpSpPr>
          <a:xfrm>
            <a:off x="530669" y="4315190"/>
            <a:ext cx="11082665" cy="1524582"/>
            <a:chOff x="712834" y="4237919"/>
            <a:chExt cx="11082665" cy="1524582"/>
          </a:xfrm>
        </p:grpSpPr>
        <p:sp>
          <p:nvSpPr>
            <p:cNvPr id="893" name="TextBox 892"/>
            <p:cNvSpPr txBox="1"/>
            <p:nvPr/>
          </p:nvSpPr>
          <p:spPr>
            <a:xfrm>
              <a:off x="712834" y="5255413"/>
              <a:ext cx="111761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urnkey global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istribution</a:t>
              </a:r>
            </a:p>
          </p:txBody>
        </p:sp>
        <p:sp>
          <p:nvSpPr>
            <p:cNvPr id="894" name="TextBox 893"/>
            <p:cNvSpPr txBox="1"/>
            <p:nvPr/>
          </p:nvSpPr>
          <p:spPr>
            <a:xfrm>
              <a:off x="2863058" y="4596855"/>
              <a:ext cx="166423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Elastic scale out </a:t>
              </a:r>
            </a:p>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of storage &amp; throughput</a:t>
              </a:r>
            </a:p>
          </p:txBody>
        </p:sp>
        <p:sp>
          <p:nvSpPr>
            <p:cNvPr id="895" name="TextBox 894"/>
            <p:cNvSpPr txBox="1"/>
            <p:nvPr/>
          </p:nvSpPr>
          <p:spPr>
            <a:xfrm>
              <a:off x="5559906" y="4237919"/>
              <a:ext cx="1648208"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Guaranteed low latency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at the 99</a:t>
              </a:r>
              <a:r>
                <a:rPr kumimoji="0" lang="en-US" sz="1100" b="0" i="0" u="none" strike="noStrike" kern="0" cap="none" spc="0" normalizeH="0" baseline="3000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th</a:t>
              </a: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 percentile</a:t>
              </a:r>
            </a:p>
          </p:txBody>
        </p:sp>
        <p:sp>
          <p:nvSpPr>
            <p:cNvPr id="896" name="TextBox 895"/>
            <p:cNvSpPr txBox="1"/>
            <p:nvPr/>
          </p:nvSpPr>
          <p:spPr>
            <a:xfrm>
              <a:off x="10631399" y="5331614"/>
              <a:ext cx="1164100"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mprehensive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SLAs</a:t>
              </a:r>
            </a:p>
          </p:txBody>
        </p:sp>
        <p:sp>
          <p:nvSpPr>
            <p:cNvPr id="897" name="TextBox 896"/>
            <p:cNvSpPr txBox="1"/>
            <p:nvPr/>
          </p:nvSpPr>
          <p:spPr>
            <a:xfrm>
              <a:off x="8240724" y="4596855"/>
              <a:ext cx="1358064" cy="430887"/>
            </a:xfrm>
            <a:prstGeom prst="rect">
              <a:avLst/>
            </a:prstGeom>
            <a:noFill/>
          </p:spPr>
          <p:txBody>
            <a:bodyPr wrap="none" rtlCol="0">
              <a:spAutoFit/>
            </a:bodyPr>
            <a:lstStyle/>
            <a:p>
              <a:pPr marL="0" marR="0" lvl="0" indent="0" algn="ctr" defTabSz="8571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Five well-defined </a:t>
              </a:r>
              <a:b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br>
              <a:r>
                <a:rPr kumimoji="0" lang="en-US" sz="1100" b="0"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consistency models</a:t>
              </a:r>
            </a:p>
          </p:txBody>
        </p:sp>
      </p:grpSp>
      <p:sp>
        <p:nvSpPr>
          <p:cNvPr id="84" name="Title 10"/>
          <p:cNvSpPr>
            <a:spLocks noGrp="1"/>
          </p:cNvSpPr>
          <p:nvPr>
            <p:ph type="title"/>
          </p:nvPr>
        </p:nvSpPr>
        <p:spPr>
          <a:xfrm>
            <a:off x="426424" y="451997"/>
            <a:ext cx="11336039" cy="758022"/>
          </a:xfrm>
        </p:spPr>
        <p:txBody>
          <a:bodyPr/>
          <a:lstStyle/>
          <a:p>
            <a:pPr algn="l">
              <a:spcBef>
                <a:spcPts val="600"/>
              </a:spcBef>
            </a:pPr>
            <a:r>
              <a:rPr lang="en-US">
                <a:solidFill>
                  <a:schemeClr val="tx2"/>
                </a:solidFill>
              </a:rPr>
              <a:t>Azure Cosmos DB</a:t>
            </a:r>
            <a:br>
              <a:rPr lang="en-US">
                <a:solidFill>
                  <a:schemeClr val="tx2"/>
                </a:solidFill>
              </a:rPr>
            </a:br>
            <a:endParaRPr lang="en-US" cap="none">
              <a:solidFill>
                <a:schemeClr val="tx2"/>
              </a:solidFill>
            </a:endParaRPr>
          </a:p>
        </p:txBody>
      </p:sp>
      <p:grpSp>
        <p:nvGrpSpPr>
          <p:cNvPr id="11" name="Group 10">
            <a:extLst>
              <a:ext uri="{FF2B5EF4-FFF2-40B4-BE49-F238E27FC236}">
                <a16:creationId xmlns:a16="http://schemas.microsoft.com/office/drawing/2014/main" id="{077A2346-E711-49EA-BD8F-F81EC99B99BD}"/>
              </a:ext>
            </a:extLst>
          </p:cNvPr>
          <p:cNvGrpSpPr/>
          <p:nvPr/>
        </p:nvGrpSpPr>
        <p:grpSpPr>
          <a:xfrm>
            <a:off x="9278176" y="6154848"/>
            <a:ext cx="223240" cy="433634"/>
            <a:chOff x="9576336" y="6019901"/>
            <a:chExt cx="223240" cy="433634"/>
          </a:xfrm>
        </p:grpSpPr>
        <p:sp>
          <p:nvSpPr>
            <p:cNvPr id="106" name="Freeform: Shape 411"/>
            <p:cNvSpPr/>
            <p:nvPr/>
          </p:nvSpPr>
          <p:spPr>
            <a:xfrm>
              <a:off x="9620313"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ADB8B183-CB92-45C8-8AA4-0C6911395AEB}"/>
                </a:ext>
              </a:extLst>
            </p:cNvPr>
            <p:cNvGrpSpPr/>
            <p:nvPr/>
          </p:nvGrpSpPr>
          <p:grpSpPr>
            <a:xfrm>
              <a:off x="9576336" y="6019901"/>
              <a:ext cx="223240" cy="357070"/>
              <a:chOff x="9523117" y="5842588"/>
              <a:chExt cx="329677" cy="527319"/>
            </a:xfrm>
          </p:grpSpPr>
          <p:sp>
            <p:nvSpPr>
              <p:cNvPr id="108" name="Oval 903"/>
              <p:cNvSpPr/>
              <p:nvPr/>
            </p:nvSpPr>
            <p:spPr>
              <a:xfrm>
                <a:off x="9591504"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5" name="Freeform 5">
                <a:extLst>
                  <a:ext uri="{FF2B5EF4-FFF2-40B4-BE49-F238E27FC236}">
                    <a16:creationId xmlns:a16="http://schemas.microsoft.com/office/drawing/2014/main" id="{F804D774-20F1-42F0-A01E-2FA593BF563D}"/>
                  </a:ext>
                </a:extLst>
              </p:cNvPr>
              <p:cNvSpPr>
                <a:spLocks noEditPoints="1"/>
              </p:cNvSpPr>
              <p:nvPr/>
            </p:nvSpPr>
            <p:spPr bwMode="auto">
              <a:xfrm>
                <a:off x="9523117"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0" name="Group 9">
            <a:extLst>
              <a:ext uri="{FF2B5EF4-FFF2-40B4-BE49-F238E27FC236}">
                <a16:creationId xmlns:a16="http://schemas.microsoft.com/office/drawing/2014/main" id="{E5A7D07E-75FB-4559-875F-262AB2467085}"/>
              </a:ext>
            </a:extLst>
          </p:cNvPr>
          <p:cNvGrpSpPr/>
          <p:nvPr/>
        </p:nvGrpSpPr>
        <p:grpSpPr>
          <a:xfrm>
            <a:off x="7468054" y="6382515"/>
            <a:ext cx="223240" cy="431604"/>
            <a:chOff x="7468054" y="6382515"/>
            <a:chExt cx="223240" cy="431604"/>
          </a:xfrm>
        </p:grpSpPr>
        <p:sp>
          <p:nvSpPr>
            <p:cNvPr id="89" name="Freeform: Shape 411"/>
            <p:cNvSpPr/>
            <p:nvPr/>
          </p:nvSpPr>
          <p:spPr>
            <a:xfrm>
              <a:off x="7512031" y="6678832"/>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BEDAB537-5CA0-4293-B11E-515BEC693AD6}"/>
                </a:ext>
              </a:extLst>
            </p:cNvPr>
            <p:cNvGrpSpPr/>
            <p:nvPr/>
          </p:nvGrpSpPr>
          <p:grpSpPr>
            <a:xfrm>
              <a:off x="7468054" y="6382515"/>
              <a:ext cx="223240" cy="357070"/>
              <a:chOff x="7414835" y="6205202"/>
              <a:chExt cx="329677" cy="527319"/>
            </a:xfrm>
          </p:grpSpPr>
          <p:sp>
            <p:nvSpPr>
              <p:cNvPr id="91" name="Oval 17"/>
              <p:cNvSpPr/>
              <p:nvPr/>
            </p:nvSpPr>
            <p:spPr>
              <a:xfrm>
                <a:off x="7483222" y="6265690"/>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6" name="Freeform 5">
                <a:extLst>
                  <a:ext uri="{FF2B5EF4-FFF2-40B4-BE49-F238E27FC236}">
                    <a16:creationId xmlns:a16="http://schemas.microsoft.com/office/drawing/2014/main" id="{086FE07A-63F7-4835-A848-587ABFEEF617}"/>
                  </a:ext>
                </a:extLst>
              </p:cNvPr>
              <p:cNvSpPr>
                <a:spLocks noEditPoints="1"/>
              </p:cNvSpPr>
              <p:nvPr/>
            </p:nvSpPr>
            <p:spPr bwMode="auto">
              <a:xfrm>
                <a:off x="7414835" y="6205202"/>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182DA2D-3B7F-4476-B9EE-CEE70342A7F7}"/>
              </a:ext>
            </a:extLst>
          </p:cNvPr>
          <p:cNvGrpSpPr/>
          <p:nvPr/>
        </p:nvGrpSpPr>
        <p:grpSpPr>
          <a:xfrm>
            <a:off x="6207483" y="5803084"/>
            <a:ext cx="223240" cy="433634"/>
            <a:chOff x="6393022" y="6019901"/>
            <a:chExt cx="223240" cy="433634"/>
          </a:xfrm>
        </p:grpSpPr>
        <p:sp>
          <p:nvSpPr>
            <p:cNvPr id="101" name="Freeform: Shape 411"/>
            <p:cNvSpPr/>
            <p:nvPr/>
          </p:nvSpPr>
          <p:spPr>
            <a:xfrm>
              <a:off x="6436999" y="6318248"/>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0DFD2A5-02C2-49DA-A254-731165E3974B}"/>
                </a:ext>
              </a:extLst>
            </p:cNvPr>
            <p:cNvGrpSpPr/>
            <p:nvPr/>
          </p:nvGrpSpPr>
          <p:grpSpPr>
            <a:xfrm>
              <a:off x="6393022" y="6019901"/>
              <a:ext cx="223240" cy="357070"/>
              <a:chOff x="6339803" y="5842588"/>
              <a:chExt cx="329677" cy="527319"/>
            </a:xfrm>
          </p:grpSpPr>
          <p:sp>
            <p:nvSpPr>
              <p:cNvPr id="103" name="Oval 27"/>
              <p:cNvSpPr/>
              <p:nvPr/>
            </p:nvSpPr>
            <p:spPr>
              <a:xfrm>
                <a:off x="6408190" y="5905106"/>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7" name="Freeform 5">
                <a:extLst>
                  <a:ext uri="{FF2B5EF4-FFF2-40B4-BE49-F238E27FC236}">
                    <a16:creationId xmlns:a16="http://schemas.microsoft.com/office/drawing/2014/main" id="{9043C574-91E2-427D-99B1-FBE3A22DA0D2}"/>
                  </a:ext>
                </a:extLst>
              </p:cNvPr>
              <p:cNvSpPr>
                <a:spLocks noEditPoints="1"/>
              </p:cNvSpPr>
              <p:nvPr/>
            </p:nvSpPr>
            <p:spPr bwMode="auto">
              <a:xfrm>
                <a:off x="6339803" y="5842588"/>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12" name="Group 11">
            <a:extLst>
              <a:ext uri="{FF2B5EF4-FFF2-40B4-BE49-F238E27FC236}">
                <a16:creationId xmlns:a16="http://schemas.microsoft.com/office/drawing/2014/main" id="{81905357-76B3-46A9-A2AA-C02068C8EEDB}"/>
              </a:ext>
            </a:extLst>
          </p:cNvPr>
          <p:cNvGrpSpPr/>
          <p:nvPr/>
        </p:nvGrpSpPr>
        <p:grpSpPr>
          <a:xfrm>
            <a:off x="2183561" y="6187406"/>
            <a:ext cx="223240" cy="450322"/>
            <a:chOff x="2418475" y="6242316"/>
            <a:chExt cx="223240" cy="450322"/>
          </a:xfrm>
        </p:grpSpPr>
        <p:sp>
          <p:nvSpPr>
            <p:cNvPr id="83" name="Freeform: Shape 411"/>
            <p:cNvSpPr/>
            <p:nvPr/>
          </p:nvSpPr>
          <p:spPr>
            <a:xfrm>
              <a:off x="2462452" y="6557351"/>
              <a:ext cx="135287" cy="135287"/>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54BA13A7-CAA3-4B66-82A0-72CCA35E705A}"/>
                </a:ext>
              </a:extLst>
            </p:cNvPr>
            <p:cNvGrpSpPr/>
            <p:nvPr/>
          </p:nvGrpSpPr>
          <p:grpSpPr>
            <a:xfrm>
              <a:off x="2418475" y="6242316"/>
              <a:ext cx="223240" cy="357070"/>
              <a:chOff x="2365256" y="6065003"/>
              <a:chExt cx="329677" cy="527319"/>
            </a:xfrm>
          </p:grpSpPr>
          <p:sp>
            <p:nvSpPr>
              <p:cNvPr id="86" name="Oval 6"/>
              <p:cNvSpPr/>
              <p:nvPr/>
            </p:nvSpPr>
            <p:spPr>
              <a:xfrm>
                <a:off x="2433643" y="6144209"/>
                <a:ext cx="192907" cy="192907"/>
              </a:xfrm>
              <a:prstGeom prst="ellipse">
                <a:avLst/>
              </a:prstGeom>
              <a:solidFill>
                <a:srgbClr val="E1E1E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5">
                <a:extLst>
                  <a:ext uri="{FF2B5EF4-FFF2-40B4-BE49-F238E27FC236}">
                    <a16:creationId xmlns:a16="http://schemas.microsoft.com/office/drawing/2014/main" id="{7D527200-0FD3-4A64-9A97-DAA493271096}"/>
                  </a:ext>
                </a:extLst>
              </p:cNvPr>
              <p:cNvSpPr>
                <a:spLocks noEditPoints="1"/>
              </p:cNvSpPr>
              <p:nvPr/>
            </p:nvSpPr>
            <p:spPr bwMode="auto">
              <a:xfrm>
                <a:off x="2365256" y="6065003"/>
                <a:ext cx="329677" cy="52731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E1E1E1"/>
              </a:solid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pic>
        <p:nvPicPr>
          <p:cNvPr id="99" name="Picture 98"/>
          <p:cNvPicPr>
            <a:picLocks noChangeAspect="1"/>
          </p:cNvPicPr>
          <p:nvPr/>
        </p:nvPicPr>
        <p:blipFill>
          <a:blip r:embed="rId4"/>
          <a:stretch>
            <a:fillRect/>
          </a:stretch>
        </p:blipFill>
        <p:spPr>
          <a:xfrm>
            <a:off x="3903149" y="1941201"/>
            <a:ext cx="631133" cy="418575"/>
          </a:xfrm>
          <a:prstGeom prst="rect">
            <a:avLst/>
          </a:prstGeom>
        </p:spPr>
      </p:pic>
      <p:grpSp>
        <p:nvGrpSpPr>
          <p:cNvPr id="20" name="Group 19">
            <a:extLst>
              <a:ext uri="{FF2B5EF4-FFF2-40B4-BE49-F238E27FC236}">
                <a16:creationId xmlns:a16="http://schemas.microsoft.com/office/drawing/2014/main" id="{12DB49D7-5838-404C-B16E-F21A9F61F6A4}"/>
              </a:ext>
            </a:extLst>
          </p:cNvPr>
          <p:cNvGrpSpPr/>
          <p:nvPr/>
        </p:nvGrpSpPr>
        <p:grpSpPr>
          <a:xfrm>
            <a:off x="2847286" y="3015182"/>
            <a:ext cx="6914490" cy="974208"/>
            <a:chOff x="2847286" y="3085807"/>
            <a:chExt cx="6914490" cy="974208"/>
          </a:xfrm>
        </p:grpSpPr>
        <p:grpSp>
          <p:nvGrpSpPr>
            <p:cNvPr id="17" name="Group 16">
              <a:extLst>
                <a:ext uri="{FF2B5EF4-FFF2-40B4-BE49-F238E27FC236}">
                  <a16:creationId xmlns:a16="http://schemas.microsoft.com/office/drawing/2014/main" id="{E5DA855E-3024-42F2-BA8F-EAD67D95D47A}"/>
                </a:ext>
              </a:extLst>
            </p:cNvPr>
            <p:cNvGrpSpPr/>
            <p:nvPr/>
          </p:nvGrpSpPr>
          <p:grpSpPr>
            <a:xfrm>
              <a:off x="7100228" y="3085807"/>
              <a:ext cx="819456" cy="736037"/>
              <a:chOff x="7002857" y="3085807"/>
              <a:chExt cx="819456" cy="736037"/>
            </a:xfrm>
          </p:grpSpPr>
          <p:grpSp>
            <p:nvGrpSpPr>
              <p:cNvPr id="148" name="Group 147"/>
              <p:cNvGrpSpPr/>
              <p:nvPr/>
            </p:nvGrpSpPr>
            <p:grpSpPr>
              <a:xfrm>
                <a:off x="7092749" y="3085807"/>
                <a:ext cx="499208" cy="473323"/>
                <a:chOff x="7128988" y="4166153"/>
                <a:chExt cx="604908" cy="573541"/>
              </a:xfrm>
              <a:solidFill>
                <a:schemeClr val="tx2"/>
              </a:solidFill>
            </p:grpSpPr>
            <p:cxnSp>
              <p:nvCxnSpPr>
                <p:cNvPr id="149" name="Straight Connector 148"/>
                <p:cNvCxnSpPr>
                  <a:cxnSpLocks/>
                </p:cNvCxnSpPr>
                <p:nvPr/>
              </p:nvCxnSpPr>
              <p:spPr>
                <a:xfrm>
                  <a:off x="7128988" y="4451736"/>
                  <a:ext cx="238107" cy="72556"/>
                </a:xfrm>
                <a:prstGeom prst="line">
                  <a:avLst/>
                </a:prstGeom>
                <a:grpFill/>
                <a:ln w="12700" cap="flat" cmpd="sng" algn="ctr">
                  <a:solidFill>
                    <a:schemeClr val="tx2"/>
                  </a:solidFill>
                  <a:prstDash val="sysDot"/>
                  <a:miter lim="800000"/>
                  <a:headEnd type="none"/>
                  <a:tailEnd type="none"/>
                </a:ln>
                <a:effectLst/>
              </p:spPr>
            </p:cxnSp>
            <p:cxnSp>
              <p:nvCxnSpPr>
                <p:cNvPr id="150" name="Straight Connector 149"/>
                <p:cNvCxnSpPr>
                  <a:cxnSpLocks/>
                </p:cNvCxnSpPr>
                <p:nvPr/>
              </p:nvCxnSpPr>
              <p:spPr>
                <a:xfrm flipV="1">
                  <a:off x="7128988" y="4379180"/>
                  <a:ext cx="233873" cy="72556"/>
                </a:xfrm>
                <a:prstGeom prst="line">
                  <a:avLst/>
                </a:prstGeom>
                <a:grpFill/>
                <a:ln w="12700" cap="flat" cmpd="sng" algn="ctr">
                  <a:solidFill>
                    <a:schemeClr val="tx2"/>
                  </a:solidFill>
                  <a:prstDash val="sysDot"/>
                  <a:miter lim="800000"/>
                  <a:headEnd type="none"/>
                  <a:tailEnd type="none"/>
                </a:ln>
                <a:effectLst/>
              </p:spPr>
            </p:cxnSp>
            <p:sp>
              <p:nvSpPr>
                <p:cNvPr id="151" name="Oval 150"/>
                <p:cNvSpPr/>
                <p:nvPr/>
              </p:nvSpPr>
              <p:spPr bwMode="auto">
                <a:xfrm>
                  <a:off x="7128988" y="4383154"/>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2" name="Straight Connector 151"/>
                <p:cNvCxnSpPr>
                  <a:cxnSpLocks/>
                </p:cNvCxnSpPr>
                <p:nvPr/>
              </p:nvCxnSpPr>
              <p:spPr>
                <a:xfrm>
                  <a:off x="7367095" y="4524292"/>
                  <a:ext cx="241432" cy="108368"/>
                </a:xfrm>
                <a:prstGeom prst="line">
                  <a:avLst/>
                </a:prstGeom>
                <a:grpFill/>
                <a:ln w="12700" cap="flat" cmpd="sng" algn="ctr">
                  <a:solidFill>
                    <a:schemeClr val="tx2"/>
                  </a:solidFill>
                  <a:prstDash val="sysDot"/>
                  <a:miter lim="800000"/>
                  <a:headEnd type="none"/>
                  <a:tailEnd type="none"/>
                </a:ln>
                <a:effectLst/>
              </p:spPr>
            </p:cxnSp>
            <p:cxnSp>
              <p:nvCxnSpPr>
                <p:cNvPr id="153" name="Straight Connector 152"/>
                <p:cNvCxnSpPr>
                  <a:cxnSpLocks/>
                </p:cNvCxnSpPr>
                <p:nvPr/>
              </p:nvCxnSpPr>
              <p:spPr>
                <a:xfrm>
                  <a:off x="7367095" y="4524292"/>
                  <a:ext cx="229638" cy="1361"/>
                </a:xfrm>
                <a:prstGeom prst="line">
                  <a:avLst/>
                </a:prstGeom>
                <a:grpFill/>
                <a:ln w="12700" cap="flat" cmpd="sng" algn="ctr">
                  <a:solidFill>
                    <a:schemeClr val="tx2"/>
                  </a:solidFill>
                  <a:prstDash val="sysDot"/>
                  <a:miter lim="800000"/>
                  <a:headEnd type="none"/>
                  <a:tailEnd type="none"/>
                </a:ln>
                <a:effectLst/>
              </p:spPr>
            </p:cxnSp>
            <p:sp>
              <p:nvSpPr>
                <p:cNvPr id="154" name="Oval 153"/>
                <p:cNvSpPr/>
                <p:nvPr/>
              </p:nvSpPr>
              <p:spPr bwMode="auto">
                <a:xfrm rot="20946206">
                  <a:off x="7596733" y="460253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55" name="Oval 154"/>
                <p:cNvSpPr/>
                <p:nvPr/>
              </p:nvSpPr>
              <p:spPr bwMode="auto">
                <a:xfrm>
                  <a:off x="7596733" y="4457071"/>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6" name="Straight Connector 155"/>
                <p:cNvCxnSpPr>
                  <a:cxnSpLocks/>
                </p:cNvCxnSpPr>
                <p:nvPr/>
              </p:nvCxnSpPr>
              <p:spPr>
                <a:xfrm>
                  <a:off x="7362861" y="4379181"/>
                  <a:ext cx="233872" cy="1013"/>
                </a:xfrm>
                <a:prstGeom prst="line">
                  <a:avLst/>
                </a:prstGeom>
                <a:grpFill/>
                <a:ln w="12700" cap="flat" cmpd="sng" algn="ctr">
                  <a:solidFill>
                    <a:schemeClr val="tx2"/>
                  </a:solidFill>
                  <a:prstDash val="sysDot"/>
                  <a:miter lim="800000"/>
                  <a:headEnd type="none"/>
                  <a:tailEnd type="none"/>
                </a:ln>
                <a:effectLst/>
              </p:spPr>
            </p:cxnSp>
            <p:sp>
              <p:nvSpPr>
                <p:cNvPr id="157" name="Oval 156"/>
                <p:cNvSpPr/>
                <p:nvPr/>
              </p:nvSpPr>
              <p:spPr bwMode="auto">
                <a:xfrm>
                  <a:off x="7367095" y="4455710"/>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cxnSp>
              <p:nvCxnSpPr>
                <p:cNvPr id="158" name="Straight Connector 157"/>
                <p:cNvCxnSpPr>
                  <a:cxnSpLocks/>
                </p:cNvCxnSpPr>
                <p:nvPr/>
              </p:nvCxnSpPr>
              <p:spPr>
                <a:xfrm flipV="1">
                  <a:off x="7362861" y="4277619"/>
                  <a:ext cx="248934" cy="101562"/>
                </a:xfrm>
                <a:prstGeom prst="line">
                  <a:avLst/>
                </a:prstGeom>
                <a:grpFill/>
                <a:ln w="12700" cap="flat" cmpd="sng" algn="ctr">
                  <a:solidFill>
                    <a:schemeClr val="tx2"/>
                  </a:solidFill>
                  <a:prstDash val="sysDot"/>
                  <a:miter lim="800000"/>
                  <a:headEnd type="none"/>
                  <a:tailEnd type="none"/>
                </a:ln>
                <a:effectLst/>
              </p:spPr>
            </p:cxnSp>
            <p:sp>
              <p:nvSpPr>
                <p:cNvPr id="159" name="Oval 158"/>
                <p:cNvSpPr/>
                <p:nvPr/>
              </p:nvSpPr>
              <p:spPr bwMode="auto">
                <a:xfrm>
                  <a:off x="7362861" y="4310599"/>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0" name="Oval 159"/>
                <p:cNvSpPr/>
                <p:nvPr/>
              </p:nvSpPr>
              <p:spPr bwMode="auto">
                <a:xfrm>
                  <a:off x="7596733" y="4311612"/>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sp>
              <p:nvSpPr>
                <p:cNvPr id="161" name="Oval 160"/>
                <p:cNvSpPr/>
                <p:nvPr/>
              </p:nvSpPr>
              <p:spPr bwMode="auto">
                <a:xfrm rot="377738">
                  <a:off x="7596733" y="4166153"/>
                  <a:ext cx="137163" cy="137163"/>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FFFFFF"/>
                    </a:solidFill>
                    <a:effectLst/>
                    <a:uLnTx/>
                    <a:uFillTx/>
                    <a:latin typeface="Segoe UI"/>
                    <a:ea typeface="+mn-ea"/>
                    <a:cs typeface="+mn-cs"/>
                  </a:endParaRPr>
                </a:p>
              </p:txBody>
            </p:sp>
          </p:grpSp>
          <p:sp>
            <p:nvSpPr>
              <p:cNvPr id="163" name="TextBox 162"/>
              <p:cNvSpPr txBox="1"/>
              <p:nvPr/>
            </p:nvSpPr>
            <p:spPr>
              <a:xfrm>
                <a:off x="7002857" y="3567928"/>
                <a:ext cx="81945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ocument</a:t>
                </a:r>
              </a:p>
            </p:txBody>
          </p:sp>
        </p:grpSp>
        <p:grpSp>
          <p:nvGrpSpPr>
            <p:cNvPr id="16" name="Group 15">
              <a:extLst>
                <a:ext uri="{FF2B5EF4-FFF2-40B4-BE49-F238E27FC236}">
                  <a16:creationId xmlns:a16="http://schemas.microsoft.com/office/drawing/2014/main" id="{F0BC2D72-87D6-4750-AD45-6D4CD88B840B}"/>
                </a:ext>
              </a:extLst>
            </p:cNvPr>
            <p:cNvGrpSpPr/>
            <p:nvPr/>
          </p:nvGrpSpPr>
          <p:grpSpPr>
            <a:xfrm>
              <a:off x="4823075" y="3293168"/>
              <a:ext cx="1088760" cy="532323"/>
              <a:chOff x="4983242" y="3293168"/>
              <a:chExt cx="1088760" cy="532323"/>
            </a:xfrm>
          </p:grpSpPr>
          <p:sp>
            <p:nvSpPr>
              <p:cNvPr id="162" name="TextBox 161"/>
              <p:cNvSpPr txBox="1"/>
              <p:nvPr/>
            </p:nvSpPr>
            <p:spPr>
              <a:xfrm>
                <a:off x="4983242" y="3571575"/>
                <a:ext cx="108876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lumn-family</a:t>
                </a:r>
              </a:p>
            </p:txBody>
          </p:sp>
          <p:grpSp>
            <p:nvGrpSpPr>
              <p:cNvPr id="164" name="Group 163">
                <a:extLst>
                  <a:ext uri="{FF2B5EF4-FFF2-40B4-BE49-F238E27FC236}">
                    <a16:creationId xmlns:a16="http://schemas.microsoft.com/office/drawing/2014/main" id="{6694D492-873A-4422-AF4B-BB463C0EB820}"/>
                  </a:ext>
                </a:extLst>
              </p:cNvPr>
              <p:cNvGrpSpPr/>
              <p:nvPr/>
            </p:nvGrpSpPr>
            <p:grpSpPr>
              <a:xfrm>
                <a:off x="5106308" y="3293168"/>
                <a:ext cx="726921" cy="124646"/>
                <a:chOff x="4444077" y="3159364"/>
                <a:chExt cx="726921" cy="124646"/>
              </a:xfrm>
            </p:grpSpPr>
            <p:cxnSp>
              <p:nvCxnSpPr>
                <p:cNvPr id="165" name="Straight Connector 164"/>
                <p:cNvCxnSpPr>
                  <a:cxnSpLocks/>
                </p:cNvCxnSpPr>
                <p:nvPr/>
              </p:nvCxnSpPr>
              <p:spPr>
                <a:xfrm>
                  <a:off x="4567537" y="3221687"/>
                  <a:ext cx="185331" cy="0"/>
                </a:xfrm>
                <a:prstGeom prst="line">
                  <a:avLst/>
                </a:prstGeom>
                <a:noFill/>
                <a:ln w="12700" cap="flat" cmpd="sng" algn="ctr">
                  <a:solidFill>
                    <a:schemeClr val="tx2"/>
                  </a:solidFill>
                  <a:prstDash val="sysDot"/>
                  <a:miter lim="800000"/>
                  <a:headEnd type="none"/>
                  <a:tailEnd type="none"/>
                </a:ln>
                <a:effectLst/>
              </p:spPr>
            </p:cxnSp>
            <p:sp>
              <p:nvSpPr>
                <p:cNvPr id="166" name="Oval 165"/>
                <p:cNvSpPr/>
                <p:nvPr/>
              </p:nvSpPr>
              <p:spPr bwMode="auto">
                <a:xfrm>
                  <a:off x="4444077" y="3159364"/>
                  <a:ext cx="123457"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7" name="Oval 166"/>
                <p:cNvSpPr/>
                <p:nvPr/>
              </p:nvSpPr>
              <p:spPr bwMode="auto">
                <a:xfrm>
                  <a:off x="4752871"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8" name="Oval 167"/>
                <p:cNvSpPr/>
                <p:nvPr/>
              </p:nvSpPr>
              <p:spPr bwMode="auto">
                <a:xfrm>
                  <a:off x="4905809"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9" name="Oval 168"/>
                <p:cNvSpPr/>
                <p:nvPr/>
              </p:nvSpPr>
              <p:spPr bwMode="auto">
                <a:xfrm>
                  <a:off x="5058738" y="3165016"/>
                  <a:ext cx="112260" cy="113342"/>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77285C58-779F-4A9A-BA57-923C71BFD4DE}"/>
                </a:ext>
              </a:extLst>
            </p:cNvPr>
            <p:cNvGrpSpPr/>
            <p:nvPr/>
          </p:nvGrpSpPr>
          <p:grpSpPr>
            <a:xfrm>
              <a:off x="2847286" y="3285344"/>
              <a:ext cx="787396" cy="774671"/>
              <a:chOff x="3250313" y="3055226"/>
              <a:chExt cx="787396" cy="774671"/>
            </a:xfrm>
          </p:grpSpPr>
          <p:grpSp>
            <p:nvGrpSpPr>
              <p:cNvPr id="170" name="Group 169">
                <a:extLst>
                  <a:ext uri="{FF2B5EF4-FFF2-40B4-BE49-F238E27FC236}">
                    <a16:creationId xmlns:a16="http://schemas.microsoft.com/office/drawing/2014/main" id="{DDD7D695-2830-48F0-B20A-C8EBCE02355F}"/>
                  </a:ext>
                </a:extLst>
              </p:cNvPr>
              <p:cNvGrpSpPr/>
              <p:nvPr/>
            </p:nvGrpSpPr>
            <p:grpSpPr>
              <a:xfrm>
                <a:off x="3319100" y="3055226"/>
                <a:ext cx="643737" cy="429517"/>
                <a:chOff x="2573581" y="3248112"/>
                <a:chExt cx="643737" cy="429517"/>
              </a:xfrm>
            </p:grpSpPr>
            <p:cxnSp>
              <p:nvCxnSpPr>
                <p:cNvPr id="171" name="Straight Connector 170"/>
                <p:cNvCxnSpPr>
                  <a:cxnSpLocks/>
                </p:cNvCxnSpPr>
                <p:nvPr/>
              </p:nvCxnSpPr>
              <p:spPr>
                <a:xfrm>
                  <a:off x="2688446" y="3306383"/>
                  <a:ext cx="424425" cy="0"/>
                </a:xfrm>
                <a:prstGeom prst="line">
                  <a:avLst/>
                </a:prstGeom>
                <a:noFill/>
                <a:ln w="12700" cap="flat" cmpd="sng" algn="ctr">
                  <a:solidFill>
                    <a:schemeClr val="tx2"/>
                  </a:solidFill>
                  <a:prstDash val="sysDot"/>
                  <a:miter lim="800000"/>
                  <a:headEnd type="none"/>
                  <a:tailEnd type="none"/>
                </a:ln>
                <a:effectLst/>
              </p:spPr>
            </p:cxnSp>
            <p:sp>
              <p:nvSpPr>
                <p:cNvPr id="172" name="Oval 171"/>
                <p:cNvSpPr/>
                <p:nvPr/>
              </p:nvSpPr>
              <p:spPr bwMode="auto">
                <a:xfrm>
                  <a:off x="2573581" y="3248112"/>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3" name="Oval 172"/>
                <p:cNvSpPr/>
                <p:nvPr/>
              </p:nvSpPr>
              <p:spPr bwMode="auto">
                <a:xfrm>
                  <a:off x="3112870" y="3253396"/>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4" name="Straight Connector 173"/>
                <p:cNvCxnSpPr>
                  <a:cxnSpLocks/>
                </p:cNvCxnSpPr>
                <p:nvPr/>
              </p:nvCxnSpPr>
              <p:spPr>
                <a:xfrm>
                  <a:off x="2688446" y="3460548"/>
                  <a:ext cx="424425" cy="0"/>
                </a:xfrm>
                <a:prstGeom prst="line">
                  <a:avLst/>
                </a:prstGeom>
                <a:noFill/>
                <a:ln w="12700" cap="flat" cmpd="sng" algn="ctr">
                  <a:solidFill>
                    <a:schemeClr val="tx2"/>
                  </a:solidFill>
                  <a:prstDash val="sysDot"/>
                  <a:miter lim="800000"/>
                  <a:headEnd type="none"/>
                  <a:tailEnd type="none"/>
                </a:ln>
                <a:effectLst/>
              </p:spPr>
            </p:cxnSp>
            <p:sp>
              <p:nvSpPr>
                <p:cNvPr id="175" name="Oval 174"/>
                <p:cNvSpPr/>
                <p:nvPr/>
              </p:nvSpPr>
              <p:spPr bwMode="auto">
                <a:xfrm>
                  <a:off x="2573581" y="3402277"/>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6" name="Oval 175"/>
                <p:cNvSpPr/>
                <p:nvPr/>
              </p:nvSpPr>
              <p:spPr bwMode="auto">
                <a:xfrm>
                  <a:off x="3112870" y="3407561"/>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7" name="Straight Connector 176"/>
                <p:cNvCxnSpPr>
                  <a:cxnSpLocks/>
                </p:cNvCxnSpPr>
                <p:nvPr/>
              </p:nvCxnSpPr>
              <p:spPr>
                <a:xfrm>
                  <a:off x="2688446" y="3619357"/>
                  <a:ext cx="424425" cy="0"/>
                </a:xfrm>
                <a:prstGeom prst="line">
                  <a:avLst/>
                </a:prstGeom>
                <a:noFill/>
                <a:ln w="12700" cap="flat" cmpd="sng" algn="ctr">
                  <a:solidFill>
                    <a:schemeClr val="tx2"/>
                  </a:solidFill>
                  <a:prstDash val="sysDot"/>
                  <a:miter lim="800000"/>
                  <a:headEnd type="none"/>
                  <a:tailEnd type="none"/>
                </a:ln>
                <a:effectLst/>
              </p:spPr>
            </p:cxnSp>
            <p:sp>
              <p:nvSpPr>
                <p:cNvPr id="178" name="Oval 177"/>
                <p:cNvSpPr/>
                <p:nvPr/>
              </p:nvSpPr>
              <p:spPr bwMode="auto">
                <a:xfrm>
                  <a:off x="2573581" y="3561085"/>
                  <a:ext cx="114865" cy="11654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9" name="Oval 178"/>
                <p:cNvSpPr/>
                <p:nvPr/>
              </p:nvSpPr>
              <p:spPr bwMode="auto">
                <a:xfrm>
                  <a:off x="3112870" y="3566370"/>
                  <a:ext cx="104448" cy="105974"/>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80" name="TextBox 179"/>
              <p:cNvSpPr txBox="1"/>
              <p:nvPr/>
            </p:nvSpPr>
            <p:spPr>
              <a:xfrm>
                <a:off x="3250313" y="3575981"/>
                <a:ext cx="787396"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Key-value</a:t>
                </a:r>
              </a:p>
            </p:txBody>
          </p:sp>
        </p:grpSp>
        <p:grpSp>
          <p:nvGrpSpPr>
            <p:cNvPr id="18" name="Group 17">
              <a:extLst>
                <a:ext uri="{FF2B5EF4-FFF2-40B4-BE49-F238E27FC236}">
                  <a16:creationId xmlns:a16="http://schemas.microsoft.com/office/drawing/2014/main" id="{C49CBFC8-4151-4394-8CD2-007444BC6534}"/>
                </a:ext>
              </a:extLst>
            </p:cNvPr>
            <p:cNvGrpSpPr/>
            <p:nvPr/>
          </p:nvGrpSpPr>
          <p:grpSpPr>
            <a:xfrm>
              <a:off x="9108078" y="3386915"/>
              <a:ext cx="653698" cy="653234"/>
              <a:chOff x="8667216" y="3156797"/>
              <a:chExt cx="653698" cy="653234"/>
            </a:xfrm>
          </p:grpSpPr>
          <p:grpSp>
            <p:nvGrpSpPr>
              <p:cNvPr id="104" name="Group 103"/>
              <p:cNvGrpSpPr/>
              <p:nvPr/>
            </p:nvGrpSpPr>
            <p:grpSpPr>
              <a:xfrm>
                <a:off x="8667216" y="3156797"/>
                <a:ext cx="586303" cy="377163"/>
                <a:chOff x="7117181" y="5146654"/>
                <a:chExt cx="663064" cy="426544"/>
              </a:xfrm>
              <a:solidFill>
                <a:schemeClr val="tx2"/>
              </a:solidFill>
            </p:grpSpPr>
            <p:sp>
              <p:nvSpPr>
                <p:cNvPr id="105" name="Oval 104"/>
                <p:cNvSpPr/>
                <p:nvPr/>
              </p:nvSpPr>
              <p:spPr bwMode="auto">
                <a:xfrm rot="715722">
                  <a:off x="7117181" y="5146654"/>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7" name="Oval 106"/>
                <p:cNvSpPr/>
                <p:nvPr/>
              </p:nvSpPr>
              <p:spPr bwMode="auto">
                <a:xfrm>
                  <a:off x="7476127" y="5224668"/>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9" name="Oval 108"/>
                <p:cNvSpPr/>
                <p:nvPr/>
              </p:nvSpPr>
              <p:spPr bwMode="auto">
                <a:xfrm>
                  <a:off x="7296654"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8" name="Oval 117"/>
                <p:cNvSpPr/>
                <p:nvPr/>
              </p:nvSpPr>
              <p:spPr bwMode="auto">
                <a:xfrm>
                  <a:off x="7655599" y="5448552"/>
                  <a:ext cx="124646" cy="124646"/>
                </a:xfrm>
                <a:prstGeom prst="ellipse">
                  <a:avLst/>
                </a:prstGeom>
                <a:solidFill>
                  <a:schemeClr val="tx2"/>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19" name="Straight Connector 118"/>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131" name="Straight Connector 13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146" name="Straight Connector 145"/>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147" name="Straight Connector 146"/>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181" name="TextBox 180"/>
              <p:cNvSpPr txBox="1"/>
              <p:nvPr/>
            </p:nvSpPr>
            <p:spPr>
              <a:xfrm>
                <a:off x="8761144" y="3556115"/>
                <a:ext cx="559770"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Graph</a:t>
                </a:r>
              </a:p>
            </p:txBody>
          </p:sp>
        </p:grpSp>
      </p:grpSp>
      <p:pic>
        <p:nvPicPr>
          <p:cNvPr id="127" name="Picture 126">
            <a:extLst>
              <a:ext uri="{FF2B5EF4-FFF2-40B4-BE49-F238E27FC236}">
                <a16:creationId xmlns:a16="http://schemas.microsoft.com/office/drawing/2014/main" id="{1AB9531E-C57A-4C6E-BCE9-73AEDDA0597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8865880" y="2114258"/>
            <a:ext cx="1101486" cy="431956"/>
          </a:xfrm>
          <a:prstGeom prst="rect">
            <a:avLst/>
          </a:prstGeom>
          <a:extLst>
            <a:ext uri="{909E8E84-426E-40DD-AFC4-6F175D3DCCD1}">
              <a14:hiddenFill xmlns:a14="http://schemas.microsoft.com/office/drawing/2010/main">
                <a:solidFill>
                  <a:srgbClr val="FFFFFF"/>
                </a:solidFill>
              </a14:hiddenFill>
            </a:ext>
          </a:extLst>
        </p:spPr>
      </p:pic>
      <p:pic>
        <p:nvPicPr>
          <p:cNvPr id="128" name="Graphic 127">
            <a:extLst>
              <a:ext uri="{FF2B5EF4-FFF2-40B4-BE49-F238E27FC236}">
                <a16:creationId xmlns:a16="http://schemas.microsoft.com/office/drawing/2014/main" id="{B3E90E88-A2D5-5349-BF70-C93BA242CD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7450" y="2730191"/>
            <a:ext cx="1120046" cy="396644"/>
          </a:xfrm>
          <a:prstGeom prst="rect">
            <a:avLst/>
          </a:prstGeom>
        </p:spPr>
      </p:pic>
      <p:sp>
        <p:nvSpPr>
          <p:cNvPr id="129" name="TextBox 128">
            <a:extLst>
              <a:ext uri="{FF2B5EF4-FFF2-40B4-BE49-F238E27FC236}">
                <a16:creationId xmlns:a16="http://schemas.microsoft.com/office/drawing/2014/main" id="{3CD89C3D-A152-4322-93C1-1960C7B7C55B}"/>
              </a:ext>
            </a:extLst>
          </p:cNvPr>
          <p:cNvSpPr txBox="1"/>
          <p:nvPr/>
        </p:nvSpPr>
        <p:spPr>
          <a:xfrm>
            <a:off x="5182777" y="1878221"/>
            <a:ext cx="1567201"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ore (NoSQL) API</a:t>
            </a:r>
          </a:p>
        </p:txBody>
      </p:sp>
      <p:sp>
        <p:nvSpPr>
          <p:cNvPr id="19" name="TextBox 18">
            <a:extLst>
              <a:ext uri="{FF2B5EF4-FFF2-40B4-BE49-F238E27FC236}">
                <a16:creationId xmlns:a16="http://schemas.microsoft.com/office/drawing/2014/main" id="{6E7D5A0B-D934-56A4-8DEB-9F0E28EBEC65}"/>
              </a:ext>
            </a:extLst>
          </p:cNvPr>
          <p:cNvSpPr txBox="1"/>
          <p:nvPr/>
        </p:nvSpPr>
        <p:spPr>
          <a:xfrm>
            <a:off x="10338682" y="2392325"/>
            <a:ext cx="1567201"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Postgres API</a:t>
            </a:r>
          </a:p>
        </p:txBody>
      </p:sp>
      <p:sp>
        <p:nvSpPr>
          <p:cNvPr id="22" name="AutoShape 2">
            <a:extLst>
              <a:ext uri="{FF2B5EF4-FFF2-40B4-BE49-F238E27FC236}">
                <a16:creationId xmlns:a16="http://schemas.microsoft.com/office/drawing/2014/main" id="{F6DB34F6-D415-17B2-4C62-10B512E7391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AutoShape 4">
            <a:extLst>
              <a:ext uri="{FF2B5EF4-FFF2-40B4-BE49-F238E27FC236}">
                <a16:creationId xmlns:a16="http://schemas.microsoft.com/office/drawing/2014/main" id="{8F21803C-1942-E8C6-7876-696C5F9EA540}"/>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5" name="Graphic 2" descr="PostgreSQL Hyperscale icon&#10;">
            <a:extLst>
              <a:ext uri="{FF2B5EF4-FFF2-40B4-BE49-F238E27FC236}">
                <a16:creationId xmlns:a16="http://schemas.microsoft.com/office/drawing/2014/main" id="{AC87932E-CB58-5FE4-A4B3-D6BC5E15B5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43271" y="2698619"/>
            <a:ext cx="528872" cy="528872"/>
          </a:xfrm>
          <a:prstGeom prst="rect">
            <a:avLst/>
          </a:prstGeom>
        </p:spPr>
      </p:pic>
      <p:grpSp>
        <p:nvGrpSpPr>
          <p:cNvPr id="26" name="Group 25">
            <a:extLst>
              <a:ext uri="{FF2B5EF4-FFF2-40B4-BE49-F238E27FC236}">
                <a16:creationId xmlns:a16="http://schemas.microsoft.com/office/drawing/2014/main" id="{BBF864C7-347C-1661-5F3E-56513AFCC1CF}"/>
              </a:ext>
            </a:extLst>
          </p:cNvPr>
          <p:cNvGrpSpPr/>
          <p:nvPr/>
        </p:nvGrpSpPr>
        <p:grpSpPr>
          <a:xfrm>
            <a:off x="10621464" y="3784723"/>
            <a:ext cx="559770" cy="424351"/>
            <a:chOff x="10096404" y="4026609"/>
            <a:chExt cx="1209920" cy="929498"/>
          </a:xfrm>
        </p:grpSpPr>
        <p:sp>
          <p:nvSpPr>
            <p:cNvPr id="27" name="Hexagon 26">
              <a:extLst>
                <a:ext uri="{FF2B5EF4-FFF2-40B4-BE49-F238E27FC236}">
                  <a16:creationId xmlns:a16="http://schemas.microsoft.com/office/drawing/2014/main" id="{D3BC7B4B-A746-73E7-C904-6274A3E6769F}"/>
                </a:ext>
              </a:extLst>
            </p:cNvPr>
            <p:cNvSpPr/>
            <p:nvPr/>
          </p:nvSpPr>
          <p:spPr>
            <a:xfrm>
              <a:off x="10096404" y="4026609"/>
              <a:ext cx="1209920" cy="929498"/>
            </a:xfrm>
            <a:prstGeom prst="hexagon">
              <a:avLst/>
            </a:prstGeom>
            <a:solidFill>
              <a:schemeClr val="accent5">
                <a:lumMod val="40000"/>
                <a:lumOff val="60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8" name="Rectangle 27">
              <a:extLst>
                <a:ext uri="{FF2B5EF4-FFF2-40B4-BE49-F238E27FC236}">
                  <a16:creationId xmlns:a16="http://schemas.microsoft.com/office/drawing/2014/main" id="{E053A5F6-0255-FD8B-40D7-308DE8269019}"/>
                </a:ext>
              </a:extLst>
            </p:cNvPr>
            <p:cNvSpPr/>
            <p:nvPr/>
          </p:nvSpPr>
          <p:spPr>
            <a:xfrm>
              <a:off x="10572335" y="4519851"/>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D453549-C5D7-9050-5FC9-355878105155}"/>
                </a:ext>
              </a:extLst>
            </p:cNvPr>
            <p:cNvSpPr/>
            <p:nvPr/>
          </p:nvSpPr>
          <p:spPr>
            <a:xfrm>
              <a:off x="10277758" y="4519851"/>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E6918F32-ECDD-8EB2-C470-C3F0B9DAF103}"/>
                </a:ext>
              </a:extLst>
            </p:cNvPr>
            <p:cNvSpPr/>
            <p:nvPr/>
          </p:nvSpPr>
          <p:spPr>
            <a:xfrm>
              <a:off x="10889009" y="4228782"/>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CEFDD94-94ED-CA58-9E01-D5DD419956E7}"/>
                </a:ext>
              </a:extLst>
            </p:cNvPr>
            <p:cNvSpPr/>
            <p:nvPr/>
          </p:nvSpPr>
          <p:spPr>
            <a:xfrm>
              <a:off x="10566444" y="4228782"/>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61008D0E-4F4F-203D-163E-608728A67B1D}"/>
                </a:ext>
              </a:extLst>
            </p:cNvPr>
            <p:cNvSpPr/>
            <p:nvPr/>
          </p:nvSpPr>
          <p:spPr>
            <a:xfrm>
              <a:off x="10264992" y="4228782"/>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35633F73-8DB7-069D-4AA8-3CEB5F98300F}"/>
                </a:ext>
              </a:extLst>
            </p:cNvPr>
            <p:cNvSpPr/>
            <p:nvPr/>
          </p:nvSpPr>
          <p:spPr>
            <a:xfrm>
              <a:off x="10888709" y="4505784"/>
              <a:ext cx="217763" cy="1977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4" name="TextBox 33">
            <a:extLst>
              <a:ext uri="{FF2B5EF4-FFF2-40B4-BE49-F238E27FC236}">
                <a16:creationId xmlns:a16="http://schemas.microsoft.com/office/drawing/2014/main" id="{DC0B7A22-C068-DEE9-2FAA-37B913522A81}"/>
              </a:ext>
            </a:extLst>
          </p:cNvPr>
          <p:cNvSpPr txBox="1"/>
          <p:nvPr/>
        </p:nvSpPr>
        <p:spPr>
          <a:xfrm>
            <a:off x="10512229" y="4223626"/>
            <a:ext cx="793808" cy="253916"/>
          </a:xfrm>
          <a:prstGeom prst="rect">
            <a:avLst/>
          </a:prstGeom>
          <a:noFill/>
        </p:spPr>
        <p:txBody>
          <a:bodyPr wrap="none" l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Relational</a:t>
            </a:r>
          </a:p>
        </p:txBody>
      </p:sp>
    </p:spTree>
    <p:extLst>
      <p:ext uri="{BB962C8B-B14F-4D97-AF65-F5344CB8AC3E}">
        <p14:creationId xmlns:p14="http://schemas.microsoft.com/office/powerpoint/2010/main" val="29570994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300"/>
                                  </p:stCondLst>
                                  <p:childTnLst>
                                    <p:set>
                                      <p:cBhvr>
                                        <p:cTn id="9" dur="1" fill="hold">
                                          <p:stCondLst>
                                            <p:cond delay="0"/>
                                          </p:stCondLst>
                                        </p:cTn>
                                        <p:tgtEl>
                                          <p:spTgt spid="20"/>
                                        </p:tgtEl>
                                        <p:attrNameLst>
                                          <p:attrName>style.visibility</p:attrName>
                                        </p:attrNameLst>
                                      </p:cBhvr>
                                      <p:to>
                                        <p:strVal val="visible"/>
                                      </p:to>
                                    </p:set>
                                    <p:animEffect transition="in" filter="dissolve">
                                      <p:cBhvr>
                                        <p:cTn id="10" dur="500"/>
                                        <p:tgtEl>
                                          <p:spTgt spid="20"/>
                                        </p:tgtEl>
                                      </p:cBhvr>
                                    </p:animEffect>
                                  </p:childTnLst>
                                </p:cTn>
                              </p:par>
                              <p:par>
                                <p:cTn id="11" presetID="9" presetClass="entr" presetSubtype="0" fill="hold" nodeType="withEffect">
                                  <p:stCondLst>
                                    <p:cond delay="600"/>
                                  </p:stCondLst>
                                  <p:childTnLst>
                                    <p:set>
                                      <p:cBhvr>
                                        <p:cTn id="12" dur="1" fill="hold">
                                          <p:stCondLst>
                                            <p:cond delay="0"/>
                                          </p:stCondLst>
                                        </p:cTn>
                                        <p:tgtEl>
                                          <p:spTgt spid="99"/>
                                        </p:tgtEl>
                                        <p:attrNameLst>
                                          <p:attrName>style.visibility</p:attrName>
                                        </p:attrNameLst>
                                      </p:cBhvr>
                                      <p:to>
                                        <p:strVal val="visible"/>
                                      </p:to>
                                    </p:set>
                                    <p:animEffect transition="in" filter="dissolve">
                                      <p:cBhvr>
                                        <p:cTn id="13" dur="500"/>
                                        <p:tgtEl>
                                          <p:spTgt spid="99"/>
                                        </p:tgtEl>
                                      </p:cBhvr>
                                    </p:animEffect>
                                  </p:childTnLst>
                                </p:cTn>
                              </p:par>
                              <p:par>
                                <p:cTn id="14" presetID="9" presetClass="entr" presetSubtype="0" fill="hold" grpId="0" nodeType="withEffect">
                                  <p:stCondLst>
                                    <p:cond delay="600"/>
                                  </p:stCondLst>
                                  <p:childTnLst>
                                    <p:set>
                                      <p:cBhvr>
                                        <p:cTn id="15" dur="1" fill="hold">
                                          <p:stCondLst>
                                            <p:cond delay="0"/>
                                          </p:stCondLst>
                                        </p:cTn>
                                        <p:tgtEl>
                                          <p:spTgt spid="102"/>
                                        </p:tgtEl>
                                        <p:attrNameLst>
                                          <p:attrName>style.visibility</p:attrName>
                                        </p:attrNameLst>
                                      </p:cBhvr>
                                      <p:to>
                                        <p:strVal val="visible"/>
                                      </p:to>
                                    </p:set>
                                    <p:animEffect transition="in" filter="dissolve">
                                      <p:cBhvr>
                                        <p:cTn id="16" dur="500"/>
                                        <p:tgtEl>
                                          <p:spTgt spid="102"/>
                                        </p:tgtEl>
                                      </p:cBhvr>
                                    </p:animEffect>
                                  </p:childTnLst>
                                </p:cTn>
                              </p:par>
                              <p:par>
                                <p:cTn id="17" presetID="9" presetClass="entr" presetSubtype="0" fill="hold" nodeType="withEffect">
                                  <p:stCondLst>
                                    <p:cond delay="600"/>
                                  </p:stCondLst>
                                  <p:childTnLst>
                                    <p:set>
                                      <p:cBhvr>
                                        <p:cTn id="18" dur="1" fill="hold">
                                          <p:stCondLst>
                                            <p:cond delay="0"/>
                                          </p:stCondLst>
                                        </p:cTn>
                                        <p:tgtEl>
                                          <p:spTgt spid="127"/>
                                        </p:tgtEl>
                                        <p:attrNameLst>
                                          <p:attrName>style.visibility</p:attrName>
                                        </p:attrNameLst>
                                      </p:cBhvr>
                                      <p:to>
                                        <p:strVal val="visible"/>
                                      </p:to>
                                    </p:set>
                                    <p:animEffect transition="in" filter="dissolve">
                                      <p:cBhvr>
                                        <p:cTn id="19" dur="500"/>
                                        <p:tgtEl>
                                          <p:spTgt spid="127"/>
                                        </p:tgtEl>
                                      </p:cBhvr>
                                    </p:animEffect>
                                  </p:childTnLst>
                                </p:cTn>
                              </p:par>
                              <p:par>
                                <p:cTn id="20" presetID="9" presetClass="entr" presetSubtype="0" fill="hold" nodeType="withEffect">
                                  <p:stCondLst>
                                    <p:cond delay="600"/>
                                  </p:stCondLst>
                                  <p:childTnLst>
                                    <p:set>
                                      <p:cBhvr>
                                        <p:cTn id="21" dur="1" fill="hold">
                                          <p:stCondLst>
                                            <p:cond delay="0"/>
                                          </p:stCondLst>
                                        </p:cTn>
                                        <p:tgtEl>
                                          <p:spTgt spid="14"/>
                                        </p:tgtEl>
                                        <p:attrNameLst>
                                          <p:attrName>style.visibility</p:attrName>
                                        </p:attrNameLst>
                                      </p:cBhvr>
                                      <p:to>
                                        <p:strVal val="visible"/>
                                      </p:to>
                                    </p:set>
                                    <p:animEffect transition="in" filter="dissolve">
                                      <p:cBhvr>
                                        <p:cTn id="22" dur="500"/>
                                        <p:tgtEl>
                                          <p:spTgt spid="14"/>
                                        </p:tgtEl>
                                      </p:cBhvr>
                                    </p:animEffect>
                                  </p:childTnLst>
                                </p:cTn>
                              </p:par>
                              <p:par>
                                <p:cTn id="23" presetID="9" presetClass="entr" presetSubtype="0" fill="hold" grpId="0" nodeType="withEffect">
                                  <p:stCondLst>
                                    <p:cond delay="600"/>
                                  </p:stCondLst>
                                  <p:childTnLst>
                                    <p:set>
                                      <p:cBhvr>
                                        <p:cTn id="24" dur="1" fill="hold">
                                          <p:stCondLst>
                                            <p:cond delay="0"/>
                                          </p:stCondLst>
                                        </p:cTn>
                                        <p:tgtEl>
                                          <p:spTgt spid="129"/>
                                        </p:tgtEl>
                                        <p:attrNameLst>
                                          <p:attrName>style.visibility</p:attrName>
                                        </p:attrNameLst>
                                      </p:cBhvr>
                                      <p:to>
                                        <p:strVal val="visible"/>
                                      </p:to>
                                    </p:set>
                                    <p:animEffect transition="in" filter="dissolve">
                                      <p:cBhvr>
                                        <p:cTn id="25" dur="500"/>
                                        <p:tgtEl>
                                          <p:spTgt spid="129"/>
                                        </p:tgtEl>
                                      </p:cBhvr>
                                    </p:animEffect>
                                  </p:childTnLst>
                                </p:cTn>
                              </p:par>
                              <p:par>
                                <p:cTn id="26" presetID="9" presetClass="entr" presetSubtype="0" fill="hold" grpId="0" nodeType="withEffect">
                                  <p:stCondLst>
                                    <p:cond delay="600"/>
                                  </p:stCondLst>
                                  <p:childTnLst>
                                    <p:set>
                                      <p:cBhvr>
                                        <p:cTn id="27" dur="1" fill="hold">
                                          <p:stCondLst>
                                            <p:cond delay="0"/>
                                          </p:stCondLst>
                                        </p:cTn>
                                        <p:tgtEl>
                                          <p:spTgt spid="19"/>
                                        </p:tgtEl>
                                        <p:attrNameLst>
                                          <p:attrName>style.visibility</p:attrName>
                                        </p:attrNameLst>
                                      </p:cBhvr>
                                      <p:to>
                                        <p:strVal val="visible"/>
                                      </p:to>
                                    </p:set>
                                    <p:animEffect transition="in" filter="dissolve">
                                      <p:cBhvr>
                                        <p:cTn id="2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29" grpId="0"/>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27A0127E-0686-794D-9BC4-29A76883BA65}"/>
              </a:ext>
            </a:extLst>
          </p:cNvPr>
          <p:cNvSpPr/>
          <p:nvPr/>
        </p:nvSpPr>
        <p:spPr bwMode="auto">
          <a:xfrm>
            <a:off x="863" y="487"/>
            <a:ext cx="6768664"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9B048C3-B9D4-4691-959E-5DADD95C68D9}"/>
              </a:ext>
            </a:extLst>
          </p:cNvPr>
          <p:cNvSpPr>
            <a:spLocks noGrp="1"/>
          </p:cNvSpPr>
          <p:nvPr>
            <p:ph type="title"/>
          </p:nvPr>
        </p:nvSpPr>
        <p:spPr>
          <a:xfrm>
            <a:off x="602088" y="225131"/>
            <a:ext cx="5634032" cy="1107996"/>
          </a:xfrm>
        </p:spPr>
        <p:txBody>
          <a:bodyPr/>
          <a:lstStyle/>
          <a:p>
            <a:r>
              <a:rPr lang="en-US" dirty="0">
                <a:solidFill>
                  <a:schemeClr val="accent2"/>
                </a:solidFill>
              </a:rPr>
              <a:t>NewSQL Cloud Native Databases</a:t>
            </a:r>
          </a:p>
        </p:txBody>
      </p:sp>
      <p:sp>
        <p:nvSpPr>
          <p:cNvPr id="3" name="Text Placeholder 2">
            <a:extLst>
              <a:ext uri="{FF2B5EF4-FFF2-40B4-BE49-F238E27FC236}">
                <a16:creationId xmlns:a16="http://schemas.microsoft.com/office/drawing/2014/main" id="{83E262E4-F619-4C2C-B70F-70014EB31B88}"/>
              </a:ext>
            </a:extLst>
          </p:cNvPr>
          <p:cNvSpPr>
            <a:spLocks noGrp="1"/>
          </p:cNvSpPr>
          <p:nvPr>
            <p:ph type="body" sz="quarter" idx="10"/>
          </p:nvPr>
        </p:nvSpPr>
        <p:spPr>
          <a:xfrm>
            <a:off x="602088" y="1460753"/>
            <a:ext cx="5490673" cy="4108817"/>
          </a:xfrm>
        </p:spPr>
        <p:txBody>
          <a:bodyPr/>
          <a:lstStyle/>
          <a:p>
            <a:pPr marL="288870" indent="-288870">
              <a:spcAft>
                <a:spcPts val="600"/>
              </a:spcAft>
              <a:buFont typeface="Arial" panose="020B0604020202020204" pitchFamily="34" charset="0"/>
              <a:buChar char="•"/>
            </a:pPr>
            <a:r>
              <a:rPr lang="en-US" sz="2200" dirty="0">
                <a:solidFill>
                  <a:schemeClr val="bg1"/>
                </a:solidFill>
              </a:rPr>
              <a:t>NoSQL databases are defined by a collection of characteristics that they share rather than having a formal definition:</a:t>
            </a:r>
          </a:p>
          <a:p>
            <a:pPr>
              <a:spcAft>
                <a:spcPts val="600"/>
              </a:spcAft>
            </a:pPr>
            <a:r>
              <a:rPr lang="en-US" sz="2200" dirty="0">
                <a:solidFill>
                  <a:schemeClr val="bg1"/>
                </a:solidFill>
              </a:rPr>
              <a:t>	</a:t>
            </a:r>
            <a:r>
              <a:rPr lang="en-US" sz="2200" dirty="0">
                <a:solidFill>
                  <a:schemeClr val="accent2"/>
                </a:solidFill>
              </a:rPr>
              <a:t>Non-relational</a:t>
            </a:r>
          </a:p>
          <a:p>
            <a:pPr>
              <a:spcAft>
                <a:spcPts val="600"/>
              </a:spcAft>
            </a:pPr>
            <a:r>
              <a:rPr lang="en-US" sz="2200" dirty="0">
                <a:solidFill>
                  <a:schemeClr val="accent2"/>
                </a:solidFill>
              </a:rPr>
              <a:t>	Scale-out</a:t>
            </a:r>
          </a:p>
          <a:p>
            <a:pPr>
              <a:spcAft>
                <a:spcPts val="600"/>
              </a:spcAft>
            </a:pPr>
            <a:r>
              <a:rPr lang="en-US" sz="2200" dirty="0">
                <a:solidFill>
                  <a:schemeClr val="accent2"/>
                </a:solidFill>
              </a:rPr>
              <a:t>	Schema-less </a:t>
            </a:r>
          </a:p>
          <a:p>
            <a:pPr marL="288870" indent="-288870">
              <a:spcAft>
                <a:spcPts val="600"/>
              </a:spcAft>
              <a:buFont typeface="Arial" panose="020B0604020202020204" pitchFamily="34" charset="0"/>
              <a:buChar char="•"/>
            </a:pPr>
            <a:r>
              <a:rPr lang="en-US" sz="2200" dirty="0">
                <a:solidFill>
                  <a:schemeClr val="bg1"/>
                </a:solidFill>
              </a:rPr>
              <a:t>They were all born out of this desire to address new needs to the internet world.</a:t>
            </a:r>
          </a:p>
          <a:p>
            <a:pPr marL="288870" indent="-288870">
              <a:spcAft>
                <a:spcPts val="600"/>
              </a:spcAft>
              <a:buFont typeface="Arial" panose="020B0604020202020204" pitchFamily="34" charset="0"/>
              <a:buChar char="•"/>
            </a:pPr>
            <a:r>
              <a:rPr lang="en-US" sz="2200" dirty="0">
                <a:solidFill>
                  <a:schemeClr val="bg1"/>
                </a:solidFill>
              </a:rPr>
              <a:t>NewSQL / D-SQL databases bring ACID constraints and strong query pushdown</a:t>
            </a:r>
          </a:p>
        </p:txBody>
      </p:sp>
      <p:cxnSp>
        <p:nvCxnSpPr>
          <p:cNvPr id="146" name="Straight Connector 145">
            <a:extLst>
              <a:ext uri="{FF2B5EF4-FFF2-40B4-BE49-F238E27FC236}">
                <a16:creationId xmlns:a16="http://schemas.microsoft.com/office/drawing/2014/main" id="{BFACAE2E-50FD-4A1E-AF57-EDD33B016D7C}"/>
              </a:ext>
            </a:extLst>
          </p:cNvPr>
          <p:cNvCxnSpPr>
            <a:cxnSpLocks/>
          </p:cNvCxnSpPr>
          <p:nvPr/>
        </p:nvCxnSpPr>
        <p:spPr>
          <a:xfrm>
            <a:off x="9572761" y="630017"/>
            <a:ext cx="41151" cy="3643707"/>
          </a:xfrm>
          <a:prstGeom prst="line">
            <a:avLst/>
          </a:prstGeom>
          <a:noFill/>
          <a:ln w="12700" cap="flat" cmpd="sng" algn="ctr">
            <a:solidFill>
              <a:schemeClr val="accent1"/>
            </a:solidFill>
            <a:prstDash val="solid"/>
            <a:headEnd type="none"/>
            <a:tailEnd type="none"/>
          </a:ln>
          <a:effectLst/>
        </p:spPr>
      </p:cxnSp>
      <p:cxnSp>
        <p:nvCxnSpPr>
          <p:cNvPr id="147" name="Straight Connector 146">
            <a:extLst>
              <a:ext uri="{FF2B5EF4-FFF2-40B4-BE49-F238E27FC236}">
                <a16:creationId xmlns:a16="http://schemas.microsoft.com/office/drawing/2014/main" id="{797405D9-47C6-4BEC-9886-41230EC421D3}"/>
              </a:ext>
            </a:extLst>
          </p:cNvPr>
          <p:cNvCxnSpPr>
            <a:cxnSpLocks/>
          </p:cNvCxnSpPr>
          <p:nvPr/>
        </p:nvCxnSpPr>
        <p:spPr>
          <a:xfrm flipH="1">
            <a:off x="7037892" y="2584276"/>
            <a:ext cx="4905134" cy="0"/>
          </a:xfrm>
          <a:prstGeom prst="line">
            <a:avLst/>
          </a:prstGeom>
          <a:noFill/>
          <a:ln w="12700" cap="flat" cmpd="sng" algn="ctr">
            <a:solidFill>
              <a:schemeClr val="accent1"/>
            </a:solidFill>
            <a:prstDash val="solid"/>
            <a:headEnd type="none"/>
            <a:tailEnd type="none"/>
          </a:ln>
          <a:effectLst/>
        </p:spPr>
      </p:cxnSp>
      <p:sp>
        <p:nvSpPr>
          <p:cNvPr id="96" name="TextBox 95">
            <a:extLst>
              <a:ext uri="{FF2B5EF4-FFF2-40B4-BE49-F238E27FC236}">
                <a16:creationId xmlns:a16="http://schemas.microsoft.com/office/drawing/2014/main" id="{842361F7-15E7-4A25-91AE-638C0F18698D}"/>
              </a:ext>
            </a:extLst>
          </p:cNvPr>
          <p:cNvSpPr txBox="1"/>
          <p:nvPr/>
        </p:nvSpPr>
        <p:spPr>
          <a:xfrm>
            <a:off x="7786846" y="1590147"/>
            <a:ext cx="1205999" cy="668198"/>
          </a:xfrm>
          <a:prstGeom prst="rect">
            <a:avLst/>
          </a:prstGeom>
          <a:noFill/>
        </p:spPr>
        <p:txBody>
          <a:bodyPr wrap="square">
            <a:spAutoFit/>
          </a:bodyPr>
          <a:lstStyle/>
          <a:p>
            <a:pPr algn="ctr" defTabSz="914225">
              <a:lnSpc>
                <a:spcPct val="107000"/>
              </a:lnSpc>
            </a:pPr>
            <a:r>
              <a:rPr lang="en-US" dirty="0">
                <a:solidFill>
                  <a:prstClr val="black"/>
                </a:solidFill>
                <a:latin typeface="Segoe UI" panose="020B0502040204020203" pitchFamily="34" charset="0"/>
                <a:ea typeface="Calibri" panose="020F0502020204030204" pitchFamily="34" charset="0"/>
                <a:cs typeface="Times New Roman" panose="02020603050405020304" pitchFamily="18" charset="0"/>
              </a:rPr>
              <a:t>Key–value databases</a:t>
            </a:r>
            <a:endParaRPr lang="en-US"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F8A9FDFA-80C8-433E-898B-0351D7C43539}"/>
              </a:ext>
            </a:extLst>
          </p:cNvPr>
          <p:cNvSpPr txBox="1"/>
          <p:nvPr/>
        </p:nvSpPr>
        <p:spPr>
          <a:xfrm>
            <a:off x="9988072" y="1590146"/>
            <a:ext cx="1696357" cy="681500"/>
          </a:xfrm>
          <a:prstGeom prst="rect">
            <a:avLst/>
          </a:prstGeom>
          <a:noFill/>
        </p:spPr>
        <p:txBody>
          <a:bodyPr wrap="square">
            <a:spAutoFit/>
          </a:bodyPr>
          <a:lstStyle/>
          <a:p>
            <a:pPr algn="ctr" defTabSz="914225">
              <a:lnSpc>
                <a:spcPct val="107000"/>
              </a:lnSpc>
            </a:pPr>
            <a:r>
              <a:rPr lang="en-US">
                <a:solidFill>
                  <a:prstClr val="black"/>
                </a:solidFill>
                <a:latin typeface="Segoe UI" panose="020B0502040204020203" pitchFamily="34" charset="0"/>
                <a:ea typeface="Calibri" panose="020F0502020204030204" pitchFamily="34" charset="0"/>
                <a:cs typeface="Times New Roman" panose="02020603050405020304" pitchFamily="18" charset="0"/>
              </a:rPr>
              <a:t>Column family databases</a:t>
            </a:r>
            <a:endParaRPr lang="en-US">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Box 6">
            <a:extLst>
              <a:ext uri="{FF2B5EF4-FFF2-40B4-BE49-F238E27FC236}">
                <a16:creationId xmlns:a16="http://schemas.microsoft.com/office/drawing/2014/main" id="{14CB3FA9-861C-49CF-B27F-30F7C9E4F0D3}"/>
              </a:ext>
            </a:extLst>
          </p:cNvPr>
          <p:cNvSpPr txBox="1"/>
          <p:nvPr/>
        </p:nvSpPr>
        <p:spPr>
          <a:xfrm>
            <a:off x="7492247" y="3088250"/>
            <a:ext cx="1696357" cy="681500"/>
          </a:xfrm>
          <a:prstGeom prst="rect">
            <a:avLst/>
          </a:prstGeom>
          <a:noFill/>
        </p:spPr>
        <p:txBody>
          <a:bodyPr wrap="square">
            <a:spAutoFit/>
          </a:bodyPr>
          <a:lstStyle/>
          <a:p>
            <a:pPr algn="ctr" defTabSz="914225">
              <a:lnSpc>
                <a:spcPct val="107000"/>
              </a:lnSpc>
            </a:pPr>
            <a:r>
              <a:rPr lang="en-US" dirty="0">
                <a:solidFill>
                  <a:prstClr val="black"/>
                </a:solidFill>
                <a:latin typeface="Segoe UI" panose="020B0502040204020203" pitchFamily="34" charset="0"/>
                <a:ea typeface="Calibri" panose="020F0502020204030204" pitchFamily="34" charset="0"/>
                <a:cs typeface="Times New Roman" panose="02020603050405020304" pitchFamily="18" charset="0"/>
              </a:rPr>
              <a:t>Document databases</a:t>
            </a:r>
            <a:endParaRPr lang="en-US"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FC66DF5F-1BB5-4F84-A304-2F203EC7D591}"/>
              </a:ext>
            </a:extLst>
          </p:cNvPr>
          <p:cNvSpPr txBox="1"/>
          <p:nvPr/>
        </p:nvSpPr>
        <p:spPr>
          <a:xfrm>
            <a:off x="9893555" y="2992007"/>
            <a:ext cx="1696357" cy="681500"/>
          </a:xfrm>
          <a:prstGeom prst="rect">
            <a:avLst/>
          </a:prstGeom>
          <a:noFill/>
        </p:spPr>
        <p:txBody>
          <a:bodyPr wrap="square">
            <a:spAutoFit/>
          </a:bodyPr>
          <a:lstStyle/>
          <a:p>
            <a:pPr algn="ctr" defTabSz="914225">
              <a:lnSpc>
                <a:spcPct val="107000"/>
              </a:lnSpc>
              <a:spcAft>
                <a:spcPts val="800"/>
              </a:spcAft>
            </a:pPr>
            <a:r>
              <a:rPr lang="en-US" dirty="0">
                <a:solidFill>
                  <a:prstClr val="black"/>
                </a:solidFill>
                <a:latin typeface="Segoe UI" panose="020B0502040204020203" pitchFamily="34" charset="0"/>
                <a:ea typeface="Calibri" panose="020F0502020204030204" pitchFamily="34" charset="0"/>
                <a:cs typeface="Times New Roman" panose="02020603050405020304" pitchFamily="18" charset="0"/>
              </a:rPr>
              <a:t>Graph databases</a:t>
            </a:r>
            <a:endParaRPr lang="en-US"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4" name="Straight Connector 3">
            <a:extLst>
              <a:ext uri="{FF2B5EF4-FFF2-40B4-BE49-F238E27FC236}">
                <a16:creationId xmlns:a16="http://schemas.microsoft.com/office/drawing/2014/main" id="{8D94FB51-6E0A-AFE3-5A01-449773F9FBF5}"/>
              </a:ext>
            </a:extLst>
          </p:cNvPr>
          <p:cNvCxnSpPr>
            <a:cxnSpLocks/>
          </p:cNvCxnSpPr>
          <p:nvPr/>
        </p:nvCxnSpPr>
        <p:spPr>
          <a:xfrm flipH="1">
            <a:off x="7242794" y="4285469"/>
            <a:ext cx="4905134" cy="0"/>
          </a:xfrm>
          <a:prstGeom prst="line">
            <a:avLst/>
          </a:prstGeom>
          <a:noFill/>
          <a:ln w="12700" cap="flat" cmpd="sng" algn="ctr">
            <a:solidFill>
              <a:schemeClr val="accent1"/>
            </a:solidFill>
            <a:prstDash val="solid"/>
            <a:headEnd type="none"/>
            <a:tailEnd type="none"/>
          </a:ln>
          <a:effectLst/>
        </p:spPr>
      </p:cxnSp>
      <p:sp>
        <p:nvSpPr>
          <p:cNvPr id="5" name="TextBox 4">
            <a:extLst>
              <a:ext uri="{FF2B5EF4-FFF2-40B4-BE49-F238E27FC236}">
                <a16:creationId xmlns:a16="http://schemas.microsoft.com/office/drawing/2014/main" id="{97B181D9-6C3F-07BB-760A-386933F40A5E}"/>
              </a:ext>
            </a:extLst>
          </p:cNvPr>
          <p:cNvSpPr txBox="1"/>
          <p:nvPr/>
        </p:nvSpPr>
        <p:spPr>
          <a:xfrm>
            <a:off x="8724583" y="4801037"/>
            <a:ext cx="1696357" cy="670055"/>
          </a:xfrm>
          <a:prstGeom prst="rect">
            <a:avLst/>
          </a:prstGeom>
          <a:noFill/>
        </p:spPr>
        <p:txBody>
          <a:bodyPr wrap="square">
            <a:spAutoFit/>
          </a:bodyPr>
          <a:lstStyle/>
          <a:p>
            <a:pPr algn="ctr" defTabSz="914225">
              <a:lnSpc>
                <a:spcPct val="107000"/>
              </a:lnSpc>
            </a:pPr>
            <a:r>
              <a:rPr lang="en-US" dirty="0">
                <a:solidFill>
                  <a:prstClr val="black"/>
                </a:solidFill>
                <a:latin typeface="Segoe UI" panose="020B0502040204020203" pitchFamily="34" charset="0"/>
                <a:ea typeface="Calibri" panose="020F0502020204030204" pitchFamily="34" charset="0"/>
                <a:cs typeface="Times New Roman" panose="02020603050405020304" pitchFamily="18" charset="0"/>
              </a:rPr>
              <a:t>Distributed Relational</a:t>
            </a:r>
            <a:endParaRPr lang="en-US"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8705559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2|92.4|24.7|92.6"/>
</p:tagLst>
</file>

<file path=ppt/tags/tag3.xml><?xml version="1.0" encoding="utf-8"?>
<p:tagLst xmlns:a="http://schemas.openxmlformats.org/drawingml/2006/main" xmlns:r="http://schemas.openxmlformats.org/officeDocument/2006/relationships" xmlns:p="http://schemas.openxmlformats.org/presentationml/2006/main">
  <p:tag name="TIMING" val="|2|92.4|24.7|92.6"/>
</p:tagLst>
</file>

<file path=ppt/theme/theme1.xml><?xml version="1.0" encoding="utf-8"?>
<a:theme xmlns:a="http://schemas.openxmlformats.org/drawingml/2006/main" name="3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4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6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lumMod val="50000"/>
            </a:schemeClr>
          </a:solidFill>
          <a:miter lim="800000"/>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4.xml><?xml version="1.0" encoding="utf-8"?>
<a:theme xmlns:a="http://schemas.openxmlformats.org/drawingml/2006/main" name="TCL-WC Template | White">
  <a:themeElements>
    <a:clrScheme name="TCL WC light">
      <a:dk1>
        <a:srgbClr val="000000"/>
      </a:dk1>
      <a:lt1>
        <a:srgbClr val="FFFFFF"/>
      </a:lt1>
      <a:dk2>
        <a:srgbClr val="2F2F2F"/>
      </a:dk2>
      <a:lt2>
        <a:srgbClr val="505050"/>
      </a:lt2>
      <a:accent1>
        <a:srgbClr val="737373"/>
      </a:accent1>
      <a:accent2>
        <a:srgbClr val="D2D2D2"/>
      </a:accent2>
      <a:accent3>
        <a:srgbClr val="BAD80A"/>
      </a:accent3>
      <a:accent4>
        <a:srgbClr val="107C10"/>
      </a:accent4>
      <a:accent5>
        <a:srgbClr val="FF9349"/>
      </a:accent5>
      <a:accent6>
        <a:srgbClr val="0078D4"/>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2F2F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chemeClr val="tx1"/>
                </a:gs>
                <a:gs pos="100000">
                  <a:schemeClr val="tx1"/>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3"/>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mester of Azure - PowerPoint Template" id="{D0E5D71C-4B06-4EDF-8746-532E90431523}" vid="{0F473DCE-BAE4-49BF-A9D6-580037576407}"/>
    </a:ext>
  </a:extLst>
</a:theme>
</file>

<file path=ppt/theme/theme15.xml><?xml version="1.0" encoding="utf-8"?>
<a:theme xmlns:a="http://schemas.openxmlformats.org/drawingml/2006/main" name="2_Azure CXP White Template">
  <a:themeElements>
    <a:clrScheme name="Azure">
      <a:dk1>
        <a:srgbClr val="000000"/>
      </a:dk1>
      <a:lt1>
        <a:srgbClr val="FFFFFF"/>
      </a:lt1>
      <a:dk2>
        <a:srgbClr val="0078D4"/>
      </a:dk2>
      <a:lt2>
        <a:srgbClr val="F2F2F2"/>
      </a:lt2>
      <a:accent1>
        <a:srgbClr val="0078D4"/>
      </a:accent1>
      <a:accent2>
        <a:srgbClr val="50E6FF"/>
      </a:accent2>
      <a:accent3>
        <a:srgbClr val="E6E6E6"/>
      </a:accent3>
      <a:accent4>
        <a:srgbClr val="ACACAC"/>
      </a:accent4>
      <a:accent5>
        <a:srgbClr val="737373"/>
      </a:accent5>
      <a:accent6>
        <a:srgbClr val="243A5E"/>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23A41B-D65A-40FC-A331-B00493CEBA9D}" vid="{8CAB63E1-8B6F-4DCC-9CC1-EEA3E8F3D2BA}"/>
    </a:ext>
  </a:extLst>
</a:theme>
</file>

<file path=ppt/theme/theme16.xml><?xml version="1.0" encoding="utf-8"?>
<a:theme xmlns:a="http://schemas.openxmlformats.org/drawingml/2006/main" name="Document template - Corp grid">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1A99765A-B52B-45C8-8F60-BFFF66046259}" vid="{C5B0352E-D9F5-475F-BFE9-E2A1178029C1}"/>
    </a:ext>
  </a:extLst>
</a:theme>
</file>

<file path=ppt/theme/theme17.xml><?xml version="1.0" encoding="utf-8"?>
<a:theme xmlns:a="http://schemas.openxmlformats.org/drawingml/2006/main" name="1_Document template - Corp grid">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1A99765A-B52B-45C8-8F60-BFFF66046259}" vid="{C5B0352E-D9F5-475F-BFE9-E2A1178029C1}"/>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7A738DDF-EF2E-41FA-9228-B2E944E70D9C}" vid="{C5A588B5-CA04-40F0-8170-DE3B1CFBB902}"/>
    </a:ext>
  </a:extLst>
</a:theme>
</file>

<file path=ppt/theme/theme4.xml><?xml version="1.0" encoding="utf-8"?>
<a:theme xmlns:a="http://schemas.openxmlformats.org/drawingml/2006/main" name="2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5.xml><?xml version="1.0" encoding="utf-8"?>
<a:theme xmlns:a="http://schemas.openxmlformats.org/drawingml/2006/main" name="5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6.xml><?xml version="1.0" encoding="utf-8"?>
<a:theme xmlns:a="http://schemas.openxmlformats.org/drawingml/2006/main" name="2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7.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8.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549</TotalTime>
  <Words>6165</Words>
  <Application>Microsoft Office PowerPoint</Application>
  <PresentationFormat>Widescreen</PresentationFormat>
  <Paragraphs>858</Paragraphs>
  <Slides>61</Slides>
  <Notes>46</Notes>
  <HiddenSlides>6</HiddenSlides>
  <MMClips>0</MMClips>
  <ScaleCrop>false</ScaleCrop>
  <HeadingPairs>
    <vt:vector size="8" baseType="variant">
      <vt:variant>
        <vt:lpstr>Fonts Used</vt:lpstr>
      </vt:variant>
      <vt:variant>
        <vt:i4>15</vt:i4>
      </vt:variant>
      <vt:variant>
        <vt:lpstr>Theme</vt:lpstr>
      </vt:variant>
      <vt:variant>
        <vt:i4>17</vt:i4>
      </vt:variant>
      <vt:variant>
        <vt:lpstr>Embedded OLE Servers</vt:lpstr>
      </vt:variant>
      <vt:variant>
        <vt:i4>1</vt:i4>
      </vt:variant>
      <vt:variant>
        <vt:lpstr>Slide Titles</vt:lpstr>
      </vt:variant>
      <vt:variant>
        <vt:i4>61</vt:i4>
      </vt:variant>
    </vt:vector>
  </HeadingPairs>
  <TitlesOfParts>
    <vt:vector size="94" baseType="lpstr">
      <vt:lpstr>Arial</vt:lpstr>
      <vt:lpstr>Calibri</vt:lpstr>
      <vt:lpstr>Calibri body</vt:lpstr>
      <vt:lpstr>Calibri Light</vt:lpstr>
      <vt:lpstr>Consolas</vt:lpstr>
      <vt:lpstr>Poppins</vt:lpstr>
      <vt:lpstr>Poppins Light</vt:lpstr>
      <vt:lpstr>Segoe UI</vt:lpstr>
      <vt:lpstr>Segoe UI Light</vt:lpstr>
      <vt:lpstr>Segoe UI Semibold</vt:lpstr>
      <vt:lpstr>Segoe UI Semibold (Headings)</vt:lpstr>
      <vt:lpstr>Segoe UI Semilight</vt:lpstr>
      <vt:lpstr>Symbol</vt:lpstr>
      <vt:lpstr>Times New Roman</vt:lpstr>
      <vt:lpstr>Wingdings</vt:lpstr>
      <vt:lpstr>3_Microsoft 365 PPT Template - 2018</vt:lpstr>
      <vt:lpstr>2_WHITE TEMPLATE</vt:lpstr>
      <vt:lpstr>9-51052_Microsoft_Ready_Template_Light</vt:lpstr>
      <vt:lpstr>2_Black Template</vt:lpstr>
      <vt:lpstr>5_WHITE TEMPLATE</vt:lpstr>
      <vt:lpstr>2_Microsoft 365 PPT Template - 2018</vt:lpstr>
      <vt:lpstr>1_Black Template</vt:lpstr>
      <vt:lpstr>6_Office Theme</vt:lpstr>
      <vt:lpstr>1_Office Theme</vt:lpstr>
      <vt:lpstr>2_Office Theme</vt:lpstr>
      <vt:lpstr>4_Microsoft 365 PPT Template - 2018</vt:lpstr>
      <vt:lpstr>3_Office Theme</vt:lpstr>
      <vt:lpstr>6_WHITE TEMPLATE</vt:lpstr>
      <vt:lpstr>TCL-WC Template | White</vt:lpstr>
      <vt:lpstr>2_Azure CXP White Template</vt:lpstr>
      <vt:lpstr>Document template - Corp grid</vt:lpstr>
      <vt:lpstr>1_Document template - Corp grid</vt:lpstr>
      <vt:lpstr>think-cell Slide</vt:lpstr>
      <vt:lpstr>PowerPoint Presentation</vt:lpstr>
      <vt:lpstr>Saranya Sriram</vt:lpstr>
      <vt:lpstr>Overview and Latest Improvements on Azure Cosmos DB </vt:lpstr>
      <vt:lpstr>PowerPoint Presentation</vt:lpstr>
      <vt:lpstr>Introduction to Azure Cosmos DB  </vt:lpstr>
      <vt:lpstr>Azure Cosmos DB </vt:lpstr>
      <vt:lpstr>PowerPoint Presentation</vt:lpstr>
      <vt:lpstr>Azure Cosmos DB </vt:lpstr>
      <vt:lpstr>NewSQL Cloud Native Databases</vt:lpstr>
      <vt:lpstr>Azure Cosmos DB </vt:lpstr>
      <vt:lpstr>Guaranteed speed at any scale </vt:lpstr>
      <vt:lpstr>Simplified app development</vt:lpstr>
      <vt:lpstr>PowerPoint Presentation</vt:lpstr>
      <vt:lpstr>PowerPoint Presentation</vt:lpstr>
      <vt:lpstr>What is Cosmos DB : Database for Modern Applications</vt:lpstr>
      <vt:lpstr>Use Cases and Customer References </vt:lpstr>
      <vt:lpstr>Powering global solutions -  Use Cases</vt:lpstr>
      <vt:lpstr>Top use cases for Azure Cosmos DB</vt:lpstr>
      <vt:lpstr>REAL-TIME TELEMETRY (IoT and user actions)</vt:lpstr>
      <vt:lpstr>Real-time personalized recommendations</vt:lpstr>
      <vt:lpstr>Geo-distributed or  mission-critical apps</vt:lpstr>
      <vt:lpstr>MIGRATE nosql</vt:lpstr>
      <vt:lpstr>All Common Use Cases &amp; Scenarios</vt:lpstr>
      <vt:lpstr>Azure Cosmos DB customer spanning industries</vt:lpstr>
      <vt:lpstr>Demo Azure Portal &amp; System Internals </vt:lpstr>
      <vt:lpstr>PowerPoint Presentation</vt:lpstr>
      <vt:lpstr>PowerPoint Presentation</vt:lpstr>
      <vt:lpstr>Partitioning </vt:lpstr>
      <vt:lpstr>PowerPoint Presentation</vt:lpstr>
      <vt:lpstr>Partitioning</vt:lpstr>
      <vt:lpstr>Logical  to Physical Partition Mapping</vt:lpstr>
      <vt:lpstr>Partitions</vt:lpstr>
      <vt:lpstr>Partitions</vt:lpstr>
      <vt:lpstr>Partitions</vt:lpstr>
      <vt:lpstr>PowerPoint Presentation</vt:lpstr>
      <vt:lpstr>PowerPoint Presentation</vt:lpstr>
      <vt:lpstr>RU’s divided among Partitions</vt:lpstr>
      <vt:lpstr>Partitions</vt:lpstr>
      <vt:lpstr>Partition Key Storage Limits</vt:lpstr>
      <vt:lpstr>Request Unit &amp; Elasticity</vt:lpstr>
      <vt:lpstr>Request Units (1 of 3)</vt:lpstr>
      <vt:lpstr>Request Units (2 of 3)</vt:lpstr>
      <vt:lpstr>Request Units (3 of 3)</vt:lpstr>
      <vt:lpstr>Measuring RU CHARGE (1 of 2)</vt:lpstr>
      <vt:lpstr>Measuring RU CHARGE (2 of 2)</vt:lpstr>
      <vt:lpstr>RU Charge Measurement Example (1 of 3)</vt:lpstr>
      <vt:lpstr>RU Charge Measurement Example (2 of 3)</vt:lpstr>
      <vt:lpstr>RU Charge Measurement Example (3 of 3)</vt:lpstr>
      <vt:lpstr>Request Unit Pricing Example</vt:lpstr>
      <vt:lpstr>RU Provisioning – Provisioned Throughput</vt:lpstr>
      <vt:lpstr>Burst capacity</vt:lpstr>
      <vt:lpstr>RU Provisioning – Serverless</vt:lpstr>
      <vt:lpstr>Other Elasticity Preview features</vt:lpstr>
      <vt:lpstr>Azure Cosmos DB HTAP for OLTP &amp; OLAP  </vt:lpstr>
      <vt:lpstr>Running OLTP and OLAP workloads on the same database</vt:lpstr>
      <vt:lpstr>Benefits of running HTAP in Cosmos DB and Synapse</vt:lpstr>
      <vt:lpstr>PowerPoint Presentation</vt:lpstr>
      <vt:lpstr>Azure Cosmos DB: What Comes Next</vt:lpstr>
      <vt:lpstr>PowerPoint Presentation</vt:lpstr>
      <vt:lpstr>Q &amp; 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smos DB Partner Tech Connect</dc:title>
  <cp:lastModifiedBy>Saranya Sriram</cp:lastModifiedBy>
  <cp:revision>7</cp:revision>
  <dcterms:modified xsi:type="dcterms:W3CDTF">2022-10-28T04:2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179f820-d535-4b2f-b252-8a9c4ac14ec6_Enabled">
    <vt:lpwstr>True</vt:lpwstr>
  </property>
  <property fmtid="{D5CDD505-2E9C-101B-9397-08002B2CF9AE}" pid="3" name="MSIP_Label_c179f820-d535-4b2f-b252-8a9c4ac14ec6_SiteId">
    <vt:lpwstr>72f988bf-86f1-41af-91ab-2d7cd011db47</vt:lpwstr>
  </property>
  <property fmtid="{D5CDD505-2E9C-101B-9397-08002B2CF9AE}" pid="4" name="MSIP_Label_c179f820-d535-4b2f-b252-8a9c4ac14ec6_SetDate">
    <vt:lpwstr>2020-09-03T21:59:57Z</vt:lpwstr>
  </property>
  <property fmtid="{D5CDD505-2E9C-101B-9397-08002B2CF9AE}" pid="5" name="MSIP_Label_c179f820-d535-4b2f-b252-8a9c4ac14ec6_Name">
    <vt:lpwstr/>
  </property>
  <property fmtid="{D5CDD505-2E9C-101B-9397-08002B2CF9AE}" pid="6" name="MSIP_Label_c179f820-d535-4b2f-b252-8a9c4ac14ec6_Extended_MSFT_Method">
    <vt:lpwstr>Privileged</vt:lpwstr>
  </property>
</Properties>
</file>